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5.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6.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7.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8.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9.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Override7.xml" ContentType="application/vnd.openxmlformats-officedocument.themeOverride+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theme/theme10.xml" ContentType="application/vnd.openxmlformats-officedocument.theme+xml"/>
  <Override PartName="/ppt/theme/themeOverride8.xml" ContentType="application/vnd.openxmlformats-officedocument.themeOverride+xml"/>
  <Override PartName="/ppt/theme/themeOverride9.xml" ContentType="application/vnd.openxmlformats-officedocument.themeOverride+xml"/>
  <Override PartName="/ppt/theme/themeOverride10.xml" ContentType="application/vnd.openxmlformats-officedocument.themeOverride+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3" r:id="rId2"/>
    <p:sldMasterId id="2147483696" r:id="rId3"/>
    <p:sldMasterId id="2147483709" r:id="rId4"/>
    <p:sldMasterId id="2147483740" r:id="rId5"/>
    <p:sldMasterId id="2147483748" r:id="rId6"/>
    <p:sldMasterId id="2147483752" r:id="rId7"/>
    <p:sldMasterId id="2147483782" r:id="rId8"/>
    <p:sldMasterId id="2147483806" r:id="rId9"/>
    <p:sldMasterId id="2147483839" r:id="rId10"/>
    <p:sldMasterId id="2147483855" r:id="rId11"/>
  </p:sldMasterIdLst>
  <p:notesMasterIdLst>
    <p:notesMasterId r:id="rId68"/>
  </p:notesMasterIdLst>
  <p:sldIdLst>
    <p:sldId id="262" r:id="rId12"/>
    <p:sldId id="383" r:id="rId13"/>
    <p:sldId id="1446" r:id="rId14"/>
    <p:sldId id="301" r:id="rId15"/>
    <p:sldId id="364" r:id="rId16"/>
    <p:sldId id="339" r:id="rId17"/>
    <p:sldId id="341" r:id="rId18"/>
    <p:sldId id="370" r:id="rId19"/>
    <p:sldId id="395" r:id="rId20"/>
    <p:sldId id="400" r:id="rId21"/>
    <p:sldId id="369" r:id="rId22"/>
    <p:sldId id="367" r:id="rId23"/>
    <p:sldId id="375" r:id="rId24"/>
    <p:sldId id="319" r:id="rId25"/>
    <p:sldId id="337" r:id="rId26"/>
    <p:sldId id="374" r:id="rId27"/>
    <p:sldId id="371" r:id="rId28"/>
    <p:sldId id="372" r:id="rId29"/>
    <p:sldId id="373" r:id="rId30"/>
    <p:sldId id="376" r:id="rId31"/>
    <p:sldId id="257" r:id="rId32"/>
    <p:sldId id="258" r:id="rId33"/>
    <p:sldId id="259" r:id="rId34"/>
    <p:sldId id="1456" r:id="rId35"/>
    <p:sldId id="1457" r:id="rId36"/>
    <p:sldId id="1458" r:id="rId37"/>
    <p:sldId id="263" r:id="rId38"/>
    <p:sldId id="264" r:id="rId39"/>
    <p:sldId id="384" r:id="rId40"/>
    <p:sldId id="378" r:id="rId41"/>
    <p:sldId id="379" r:id="rId42"/>
    <p:sldId id="363" r:id="rId43"/>
    <p:sldId id="292" r:id="rId44"/>
    <p:sldId id="1445" r:id="rId45"/>
    <p:sldId id="382" r:id="rId46"/>
    <p:sldId id="394" r:id="rId47"/>
    <p:sldId id="387" r:id="rId48"/>
    <p:sldId id="386" r:id="rId49"/>
    <p:sldId id="388" r:id="rId50"/>
    <p:sldId id="389" r:id="rId51"/>
    <p:sldId id="1449" r:id="rId52"/>
    <p:sldId id="256" r:id="rId53"/>
    <p:sldId id="260" r:id="rId54"/>
    <p:sldId id="330" r:id="rId55"/>
    <p:sldId id="261" r:id="rId56"/>
    <p:sldId id="282" r:id="rId57"/>
    <p:sldId id="390" r:id="rId58"/>
    <p:sldId id="1443" r:id="rId59"/>
    <p:sldId id="1444" r:id="rId60"/>
    <p:sldId id="1450" r:id="rId61"/>
    <p:sldId id="1451" r:id="rId62"/>
    <p:sldId id="1452" r:id="rId63"/>
    <p:sldId id="1453" r:id="rId64"/>
    <p:sldId id="1442" r:id="rId65"/>
    <p:sldId id="392" r:id="rId66"/>
    <p:sldId id="391" r:id="rId67"/>
  </p:sldIdLst>
  <p:sldSz cx="12192000" cy="6858000"/>
  <p:notesSz cx="6858000" cy="91440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80C76C3-7684-466C-816D-9F78CA8C249B}">
          <p14:sldIdLst>
            <p14:sldId id="262"/>
            <p14:sldId id="383"/>
            <p14:sldId id="1446"/>
            <p14:sldId id="301"/>
            <p14:sldId id="364"/>
            <p14:sldId id="339"/>
            <p14:sldId id="341"/>
            <p14:sldId id="370"/>
            <p14:sldId id="395"/>
            <p14:sldId id="400"/>
            <p14:sldId id="369"/>
            <p14:sldId id="367"/>
            <p14:sldId id="375"/>
            <p14:sldId id="319"/>
            <p14:sldId id="337"/>
            <p14:sldId id="374"/>
            <p14:sldId id="371"/>
            <p14:sldId id="372"/>
            <p14:sldId id="373"/>
            <p14:sldId id="376"/>
            <p14:sldId id="257"/>
            <p14:sldId id="258"/>
            <p14:sldId id="259"/>
            <p14:sldId id="1456"/>
            <p14:sldId id="1457"/>
            <p14:sldId id="1458"/>
            <p14:sldId id="263"/>
            <p14:sldId id="264"/>
            <p14:sldId id="384"/>
            <p14:sldId id="378"/>
            <p14:sldId id="379"/>
            <p14:sldId id="363"/>
            <p14:sldId id="292"/>
            <p14:sldId id="1445"/>
            <p14:sldId id="382"/>
            <p14:sldId id="394"/>
            <p14:sldId id="387"/>
            <p14:sldId id="386"/>
            <p14:sldId id="388"/>
            <p14:sldId id="389"/>
            <p14:sldId id="1449"/>
            <p14:sldId id="256"/>
            <p14:sldId id="260"/>
            <p14:sldId id="330"/>
            <p14:sldId id="261"/>
            <p14:sldId id="282"/>
            <p14:sldId id="390"/>
            <p14:sldId id="1443"/>
            <p14:sldId id="1444"/>
            <p14:sldId id="1450"/>
            <p14:sldId id="1451"/>
            <p14:sldId id="1452"/>
            <p14:sldId id="1453"/>
            <p14:sldId id="1442"/>
            <p14:sldId id="392"/>
            <p14:sldId id="391"/>
          </p14:sldIdLst>
        </p14:section>
        <p14:section name="Untitled Section" id="{72C50DFD-4A3F-4F6A-9EBA-F058800F40ED}">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LLGREN Jan" initials="HJ" lastIdx="4" clrIdx="0">
    <p:extLst>
      <p:ext uri="{19B8F6BF-5375-455C-9EA6-DF929625EA0E}">
        <p15:presenceInfo xmlns:p15="http://schemas.microsoft.com/office/powerpoint/2012/main" userId="HELLGREN Ja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F7880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30" autoAdjust="0"/>
    <p:restoredTop sz="92009" autoAdjust="0"/>
  </p:normalViewPr>
  <p:slideViewPr>
    <p:cSldViewPr snapToGrid="0">
      <p:cViewPr>
        <p:scale>
          <a:sx n="100" d="100"/>
          <a:sy n="100" d="100"/>
        </p:scale>
        <p:origin x="1236" y="1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slide" Target="slides/slide44.xml"/><Relationship Id="rId63" Type="http://schemas.openxmlformats.org/officeDocument/2006/relationships/slide" Target="slides/slide52.xml"/><Relationship Id="rId68" Type="http://schemas.openxmlformats.org/officeDocument/2006/relationships/notesMaster" Target="notesMasters/notesMaster1.xml"/><Relationship Id="rId7" Type="http://schemas.openxmlformats.org/officeDocument/2006/relationships/slideMaster" Target="slideMasters/slideMaster7.xml"/><Relationship Id="rId71"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66" Type="http://schemas.openxmlformats.org/officeDocument/2006/relationships/slide" Target="slides/slide55.xml"/><Relationship Id="rId5" Type="http://schemas.openxmlformats.org/officeDocument/2006/relationships/slideMaster" Target="slideMasters/slideMaster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61" Type="http://schemas.openxmlformats.org/officeDocument/2006/relationships/slide" Target="slides/slide50.xml"/><Relationship Id="rId10" Type="http://schemas.openxmlformats.org/officeDocument/2006/relationships/slideMaster" Target="slideMasters/slideMaster10.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slide" Target="slides/slide54.xml"/><Relationship Id="rId73"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slide" Target="slides/slide53.xml"/><Relationship Id="rId69" Type="http://schemas.openxmlformats.org/officeDocument/2006/relationships/commentAuthors" Target="commentAuthors.xml"/><Relationship Id="rId8" Type="http://schemas.openxmlformats.org/officeDocument/2006/relationships/slideMaster" Target="slideMasters/slideMaster8.xml"/><Relationship Id="rId51" Type="http://schemas.openxmlformats.org/officeDocument/2006/relationships/slide" Target="slides/slide40.xml"/><Relationship Id="rId72"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slide" Target="slides/slide56.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DCFD13E-D155-4A84-A7F6-52D5A3CCB0DA}" type="datetimeFigureOut">
              <a:rPr lang="sv-SE" smtClean="0"/>
              <a:t>2019-05-02</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582D880-3289-409C-9545-399DFD56AFFC}" type="slidenum">
              <a:rPr lang="sv-SE" smtClean="0"/>
              <a:t>‹#›</a:t>
            </a:fld>
            <a:endParaRPr lang="sv-SE"/>
          </a:p>
        </p:txBody>
      </p:sp>
    </p:spTree>
    <p:extLst>
      <p:ext uri="{BB962C8B-B14F-4D97-AF65-F5344CB8AC3E}">
        <p14:creationId xmlns:p14="http://schemas.microsoft.com/office/powerpoint/2010/main" val="25980855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1</a:t>
            </a:fld>
            <a:endParaRPr lang="sv-SE"/>
          </a:p>
        </p:txBody>
      </p:sp>
    </p:spTree>
    <p:extLst>
      <p:ext uri="{BB962C8B-B14F-4D97-AF65-F5344CB8AC3E}">
        <p14:creationId xmlns:p14="http://schemas.microsoft.com/office/powerpoint/2010/main" val="23483278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5</a:t>
            </a:fld>
            <a:endParaRPr lang="sv-SE"/>
          </a:p>
        </p:txBody>
      </p:sp>
    </p:spTree>
    <p:extLst>
      <p:ext uri="{BB962C8B-B14F-4D97-AF65-F5344CB8AC3E}">
        <p14:creationId xmlns:p14="http://schemas.microsoft.com/office/powerpoint/2010/main" val="13586247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6</a:t>
            </a:fld>
            <a:endParaRPr lang="sv-SE"/>
          </a:p>
        </p:txBody>
      </p:sp>
    </p:spTree>
    <p:extLst>
      <p:ext uri="{BB962C8B-B14F-4D97-AF65-F5344CB8AC3E}">
        <p14:creationId xmlns:p14="http://schemas.microsoft.com/office/powerpoint/2010/main" val="40778601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15</a:t>
            </a:fld>
            <a:endParaRPr lang="sv-SE"/>
          </a:p>
        </p:txBody>
      </p:sp>
    </p:spTree>
    <p:extLst>
      <p:ext uri="{BB962C8B-B14F-4D97-AF65-F5344CB8AC3E}">
        <p14:creationId xmlns:p14="http://schemas.microsoft.com/office/powerpoint/2010/main" val="5380784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8DECD19-2C3C-45EF-BA43-9EE3BA6BC8F4}" type="slidenum">
              <a:rPr lang="en-US" smtClean="0"/>
              <a:t>32</a:t>
            </a:fld>
            <a:endParaRPr lang="en-US"/>
          </a:p>
        </p:txBody>
      </p:sp>
    </p:spTree>
    <p:extLst>
      <p:ext uri="{BB962C8B-B14F-4D97-AF65-F5344CB8AC3E}">
        <p14:creationId xmlns:p14="http://schemas.microsoft.com/office/powerpoint/2010/main" val="37630610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10"/>
          </p:nvPr>
        </p:nvSpPr>
        <p:spPr/>
        <p:txBody>
          <a:bodyPr/>
          <a:lstStyle/>
          <a:p>
            <a:fld id="{7FB44AF9-6A08-4C3A-94E4-CB0AC0068279}" type="slidenum">
              <a:rPr lang="sv-SE" smtClean="0"/>
              <a:t>42</a:t>
            </a:fld>
            <a:endParaRPr lang="sv-SE"/>
          </a:p>
        </p:txBody>
      </p:sp>
    </p:spTree>
    <p:extLst>
      <p:ext uri="{BB962C8B-B14F-4D97-AF65-F5344CB8AC3E}">
        <p14:creationId xmlns:p14="http://schemas.microsoft.com/office/powerpoint/2010/main" val="2874238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a:t>High-level</a:t>
            </a:r>
            <a:r>
              <a:rPr lang="sv-SE" baseline="0" dirty="0"/>
              <a:t> … förlåtande</a:t>
            </a:r>
            <a:endParaRPr lang="sv-SE" dirty="0"/>
          </a:p>
          <a:p>
            <a:endParaRPr lang="sv-SE" dirty="0"/>
          </a:p>
          <a:p>
            <a:r>
              <a:rPr lang="sv-SE" dirty="0"/>
              <a:t>Förklara att </a:t>
            </a:r>
            <a:r>
              <a:rPr lang="sv-SE" dirty="0" err="1"/>
              <a:t>javascript</a:t>
            </a:r>
            <a:r>
              <a:rPr lang="sv-SE" dirty="0"/>
              <a:t> är ett JIT kompilerat</a:t>
            </a:r>
            <a:r>
              <a:rPr lang="sv-SE" baseline="0" dirty="0"/>
              <a:t> språk</a:t>
            </a:r>
            <a:endParaRPr lang="sv-SE" dirty="0"/>
          </a:p>
          <a:p>
            <a:r>
              <a:rPr lang="sv-SE" dirty="0"/>
              <a:t>var a = 2;</a:t>
            </a:r>
          </a:p>
          <a:p>
            <a:r>
              <a:rPr lang="sv-SE" dirty="0"/>
              <a:t>console.log(a);</a:t>
            </a:r>
          </a:p>
          <a:p>
            <a:r>
              <a:rPr lang="sv-SE" dirty="0"/>
              <a:t>3();</a:t>
            </a:r>
          </a:p>
        </p:txBody>
      </p:sp>
      <p:sp>
        <p:nvSpPr>
          <p:cNvPr id="4" name="Slide Number Placeholder 3"/>
          <p:cNvSpPr>
            <a:spLocks noGrp="1"/>
          </p:cNvSpPr>
          <p:nvPr>
            <p:ph type="sldNum" sz="quarter" idx="10"/>
          </p:nvPr>
        </p:nvSpPr>
        <p:spPr/>
        <p:txBody>
          <a:bodyPr/>
          <a:lstStyle/>
          <a:p>
            <a:fld id="{7FB44AF9-6A08-4C3A-94E4-CB0AC0068279}" type="slidenum">
              <a:rPr lang="sv-SE" smtClean="0"/>
              <a:t>45</a:t>
            </a:fld>
            <a:endParaRPr lang="sv-SE"/>
          </a:p>
        </p:txBody>
      </p:sp>
    </p:spTree>
    <p:extLst>
      <p:ext uri="{BB962C8B-B14F-4D97-AF65-F5344CB8AC3E}">
        <p14:creationId xmlns:p14="http://schemas.microsoft.com/office/powerpoint/2010/main" val="37976544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err="1"/>
              <a:t>Understryk</a:t>
            </a:r>
            <a:r>
              <a:rPr lang="en-US" dirty="0"/>
              <a:t> </a:t>
            </a:r>
            <a:r>
              <a:rPr lang="en-US" dirty="0" err="1"/>
              <a:t>att</a:t>
            </a:r>
            <a:r>
              <a:rPr lang="en-US" dirty="0"/>
              <a:t> </a:t>
            </a:r>
            <a:r>
              <a:rPr lang="en-US" dirty="0" err="1"/>
              <a:t>detta</a:t>
            </a:r>
            <a:r>
              <a:rPr lang="en-US" dirty="0"/>
              <a:t> </a:t>
            </a:r>
            <a:r>
              <a:rPr lang="en-US" dirty="0" err="1"/>
              <a:t>inte</a:t>
            </a:r>
            <a:r>
              <a:rPr lang="en-US" dirty="0"/>
              <a:t> </a:t>
            </a:r>
            <a:r>
              <a:rPr lang="en-US" dirty="0" err="1"/>
              <a:t>är</a:t>
            </a:r>
            <a:r>
              <a:rPr lang="en-US" dirty="0"/>
              <a:t> </a:t>
            </a:r>
            <a:r>
              <a:rPr lang="en-US" dirty="0" err="1"/>
              <a:t>en</a:t>
            </a:r>
            <a:r>
              <a:rPr lang="en-US" dirty="0"/>
              <a:t> JS </a:t>
            </a:r>
            <a:r>
              <a:rPr lang="en-US" dirty="0" err="1"/>
              <a:t>kurs</a:t>
            </a:r>
            <a:r>
              <a:rPr lang="en-US" dirty="0"/>
              <a:t>. All </a:t>
            </a:r>
            <a:r>
              <a:rPr lang="en-US" dirty="0" err="1"/>
              <a:t>kod</a:t>
            </a:r>
            <a:r>
              <a:rPr lang="en-US" dirty="0"/>
              <a:t> </a:t>
            </a:r>
            <a:r>
              <a:rPr lang="en-US" dirty="0" err="1"/>
              <a:t>kan</a:t>
            </a:r>
            <a:r>
              <a:rPr lang="en-US" dirty="0"/>
              <a:t> </a:t>
            </a:r>
            <a:r>
              <a:rPr lang="en-US" dirty="0" err="1"/>
              <a:t>kopieras</a:t>
            </a:r>
            <a:endParaRPr lang="en-US"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console.log via terminal</a:t>
            </a:r>
          </a:p>
          <a:p>
            <a:pPr marL="171450" indent="-171450">
              <a:buFont typeface="Arial" panose="020B0604020202020204" pitchFamily="34" charset="0"/>
              <a:buChar char="•"/>
            </a:pPr>
            <a:r>
              <a:rPr lang="en-US" dirty="0"/>
              <a:t>console.log via app.js</a:t>
            </a:r>
          </a:p>
          <a:p>
            <a:pPr marL="171450" indent="-171450">
              <a:buFont typeface="Arial" panose="020B0604020202020204" pitchFamily="34" charset="0"/>
              <a:buChar char="•"/>
            </a:pPr>
            <a:r>
              <a:rPr lang="en-US" dirty="0"/>
              <a:t>npm i </a:t>
            </a:r>
            <a:r>
              <a:rPr lang="en-US" dirty="0" err="1"/>
              <a:t>colosrs</a:t>
            </a: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console.log via app.js w/ colo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7582D880-3289-409C-9545-399DFD56AFFC}" type="slidenum">
              <a:rPr lang="sv-SE" smtClean="0"/>
              <a:t>47</a:t>
            </a:fld>
            <a:endParaRPr lang="sv-SE"/>
          </a:p>
        </p:txBody>
      </p:sp>
    </p:spTree>
    <p:extLst>
      <p:ext uri="{BB962C8B-B14F-4D97-AF65-F5344CB8AC3E}">
        <p14:creationId xmlns:p14="http://schemas.microsoft.com/office/powerpoint/2010/main" val="2920802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B44AF9-6A08-4C3A-94E4-CB0AC0068279}"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72820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xml"/><Relationship Id="rId1" Type="http://schemas.openxmlformats.org/officeDocument/2006/relationships/vmlDrawing" Target="../drawings/vmlDrawing2.vml"/><Relationship Id="rId5" Type="http://schemas.openxmlformats.org/officeDocument/2006/relationships/image" Target="../media/image26.emf"/><Relationship Id="rId4" Type="http://schemas.openxmlformats.org/officeDocument/2006/relationships/oleObject" Target="../embeddings/oleObject2.bin"/></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2.jpeg"/><Relationship Id="rId1" Type="http://schemas.openxmlformats.org/officeDocument/2006/relationships/slideMaster" Target="../slideMasters/slideMaster8.xml"/><Relationship Id="rId4" Type="http://schemas.openxmlformats.org/officeDocument/2006/relationships/image" Target="../media/image13.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30.jpg"/><Relationship Id="rId1" Type="http://schemas.openxmlformats.org/officeDocument/2006/relationships/slideMaster" Target="../slideMasters/slideMaster8.xml"/><Relationship Id="rId4" Type="http://schemas.openxmlformats.org/officeDocument/2006/relationships/image" Target="../media/image2.jpg"/></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0.xml"/><Relationship Id="rId1" Type="http://schemas.openxmlformats.org/officeDocument/2006/relationships/tags" Target="../tags/tag19.xml"/></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2.xml"/><Relationship Id="rId1" Type="http://schemas.openxmlformats.org/officeDocument/2006/relationships/tags" Target="../tags/tag21.xml"/></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4.xml"/><Relationship Id="rId1" Type="http://schemas.openxmlformats.org/officeDocument/2006/relationships/tags" Target="../tags/tag23.xml"/></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6.xml"/><Relationship Id="rId1" Type="http://schemas.openxmlformats.org/officeDocument/2006/relationships/tags" Target="../tags/tag2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image" Target="../media/image15.emf"/><Relationship Id="rId7" Type="http://schemas.openxmlformats.org/officeDocument/2006/relationships/image" Target="../media/image19.emf"/><Relationship Id="rId12" Type="http://schemas.openxmlformats.org/officeDocument/2006/relationships/image" Target="../media/image2.jpg"/><Relationship Id="rId2" Type="http://schemas.openxmlformats.org/officeDocument/2006/relationships/image" Target="../media/image14.jpeg"/><Relationship Id="rId1" Type="http://schemas.openxmlformats.org/officeDocument/2006/relationships/slideMaster" Target="../slideMasters/slideMaster2.xml"/><Relationship Id="rId6" Type="http://schemas.openxmlformats.org/officeDocument/2006/relationships/image" Target="../media/image18.emf"/><Relationship Id="rId11" Type="http://schemas.openxmlformats.org/officeDocument/2006/relationships/image" Target="../media/image23.png"/><Relationship Id="rId5" Type="http://schemas.openxmlformats.org/officeDocument/2006/relationships/image" Target="../media/image17.emf"/><Relationship Id="rId10" Type="http://schemas.openxmlformats.org/officeDocument/2006/relationships/image" Target="../media/image22.emf"/><Relationship Id="rId4" Type="http://schemas.openxmlformats.org/officeDocument/2006/relationships/image" Target="../media/image16.emf"/><Relationship Id="rId9" Type="http://schemas.openxmlformats.org/officeDocument/2006/relationships/image" Target="../media/image21.emf"/></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7.xml"/><Relationship Id="rId1" Type="http://schemas.openxmlformats.org/officeDocument/2006/relationships/vmlDrawing" Target="../drawings/vmlDrawing3.vml"/><Relationship Id="rId5" Type="http://schemas.openxmlformats.org/officeDocument/2006/relationships/image" Target="../media/image26.emf"/><Relationship Id="rId4" Type="http://schemas.openxmlformats.org/officeDocument/2006/relationships/oleObject" Target="../embeddings/oleObject3.bin"/></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9.xml"/><Relationship Id="rId1" Type="http://schemas.openxmlformats.org/officeDocument/2006/relationships/themeOverride" Target="../theme/themeOverride7.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3.png"/><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10.xml"/><Relationship Id="rId1" Type="http://schemas.openxmlformats.org/officeDocument/2006/relationships/themeOverride" Target="../theme/themeOverride8.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10.xml"/><Relationship Id="rId1" Type="http://schemas.openxmlformats.org/officeDocument/2006/relationships/themeOverride" Target="../theme/themeOverride9.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10.xml"/><Relationship Id="rId1" Type="http://schemas.openxmlformats.org/officeDocument/2006/relationships/themeOverride" Target="../theme/themeOverride10.xml"/><Relationship Id="rId4" Type="http://schemas.openxmlformats.org/officeDocument/2006/relationships/image" Target="../media/image7.png"/></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5.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3.xml"/><Relationship Id="rId1" Type="http://schemas.openxmlformats.org/officeDocument/2006/relationships/themeOverride" Target="../theme/themeOverride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tags" Target="../tags/tag1.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xml"/><Relationship Id="rId1" Type="http://schemas.openxmlformats.org/officeDocument/2006/relationships/tags" Target="../tags/tag3.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tags" Target="../tags/tag5.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tags" Target="../tags/tag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xml"/><Relationship Id="rId1" Type="http://schemas.openxmlformats.org/officeDocument/2006/relationships/vmlDrawing" Target="../drawings/vmlDrawing1.vml"/><Relationship Id="rId5" Type="http://schemas.openxmlformats.org/officeDocument/2006/relationships/image" Target="../media/image26.emf"/><Relationship Id="rId4" Type="http://schemas.openxmlformats.org/officeDocument/2006/relationships/oleObject" Target="../embeddings/oleObject1.bin"/></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hemeOverride" Target="../theme/themeOverride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hemeOverride" Target="../theme/themeOverride3.xml"/><Relationship Id="rId4" Type="http://schemas.openxmlformats.org/officeDocument/2006/relationships/image" Target="../media/image2.jp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xml"/><Relationship Id="rId1" Type="http://schemas.openxmlformats.org/officeDocument/2006/relationships/tags" Target="../tags/tag10.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xml"/><Relationship Id="rId1" Type="http://schemas.openxmlformats.org/officeDocument/2006/relationships/tags" Target="../tags/tag12.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5.xml"/><Relationship Id="rId1" Type="http://schemas.openxmlformats.org/officeDocument/2006/relationships/tags" Target="../tags/tag14.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7.xml"/><Relationship Id="rId1" Type="http://schemas.openxmlformats.org/officeDocument/2006/relationships/tags" Target="../tags/tag1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 name="Rectangle 35"/>
          <p:cNvSpPr/>
          <p:nvPr userDrawn="1"/>
        </p:nvSpPr>
        <p:spPr>
          <a:xfrm>
            <a:off x="-2676" y="-3047"/>
            <a:ext cx="12192000" cy="6858000"/>
          </a:xfrm>
          <a:prstGeom prst="rect">
            <a:avLst/>
          </a:prstGeom>
          <a:gradFill>
            <a:gsLst>
              <a:gs pos="0">
                <a:srgbClr val="032145">
                  <a:lumMod val="75000"/>
                  <a:lumOff val="25000"/>
                  <a:alpha val="40000"/>
                </a:srgbClr>
              </a:gs>
              <a:gs pos="100000">
                <a:srgbClr val="032145">
                  <a:alpha val="86000"/>
                </a:srgbClr>
              </a:gs>
            </a:gsLst>
            <a:path path="circle">
              <a:fillToRect l="50000" t="50000" r="50000" b="50000"/>
            </a:path>
          </a:gradFill>
          <a:ln w="254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Segoe UI"/>
              <a:ea typeface="+mn-ea"/>
              <a:cs typeface="+mn-cs"/>
            </a:endParaRPr>
          </a:p>
        </p:txBody>
      </p:sp>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prstClr val="white"/>
              </a:solidFill>
            </a:endParaRPr>
          </a:p>
        </p:txBody>
      </p:sp>
      <p:pic>
        <p:nvPicPr>
          <p:cNvPr id="23" name="Imag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13243" y="375126"/>
            <a:ext cx="4565515" cy="1044997"/>
          </a:xfrm>
          <a:prstGeom prst="rect">
            <a:avLst/>
          </a:prstGeom>
        </p:spPr>
      </p:pic>
      <p:sp>
        <p:nvSpPr>
          <p:cNvPr id="28" name="Forme libre 27"/>
          <p:cNvSpPr/>
          <p:nvPr userDrawn="1"/>
        </p:nvSpPr>
        <p:spPr>
          <a:xfrm>
            <a:off x="2" y="3072651"/>
            <a:ext cx="7728180" cy="2609987"/>
          </a:xfrm>
          <a:custGeom>
            <a:avLst/>
            <a:gdLst>
              <a:gd name="connsiteX0" fmla="*/ 0 w 5299780"/>
              <a:gd name="connsiteY0" fmla="*/ 0 h 1789859"/>
              <a:gd name="connsiteX1" fmla="*/ 4404851 w 5299780"/>
              <a:gd name="connsiteY1" fmla="*/ 0 h 1789859"/>
              <a:gd name="connsiteX2" fmla="*/ 5299780 w 5299780"/>
              <a:gd name="connsiteY2" fmla="*/ 894930 h 1789859"/>
              <a:gd name="connsiteX3" fmla="*/ 4404851 w 5299780"/>
              <a:gd name="connsiteY3" fmla="*/ 1789859 h 1789859"/>
              <a:gd name="connsiteX4" fmla="*/ 0 w 5299780"/>
              <a:gd name="connsiteY4" fmla="*/ 1789859 h 1789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9780" h="1789859">
                <a:moveTo>
                  <a:pt x="0" y="0"/>
                </a:moveTo>
                <a:lnTo>
                  <a:pt x="4404851" y="0"/>
                </a:lnTo>
                <a:cubicBezTo>
                  <a:pt x="4899107" y="0"/>
                  <a:pt x="5299780" y="400673"/>
                  <a:pt x="5299780" y="894930"/>
                </a:cubicBezTo>
                <a:cubicBezTo>
                  <a:pt x="5299780" y="1389186"/>
                  <a:pt x="4899107" y="1789859"/>
                  <a:pt x="4404851" y="1789859"/>
                </a:cubicBezTo>
                <a:lnTo>
                  <a:pt x="0" y="1789859"/>
                </a:lnTo>
                <a:close/>
              </a:path>
            </a:pathLst>
          </a:custGeom>
          <a:gradFill flip="none" rotWithShape="1">
            <a:gsLst>
              <a:gs pos="0">
                <a:schemeClr val="tx2">
                  <a:lumMod val="90000"/>
                  <a:lumOff val="10000"/>
                  <a:alpha val="57000"/>
                </a:schemeClr>
              </a:gs>
              <a:gs pos="100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25" name="Forme libre 24"/>
          <p:cNvSpPr/>
          <p:nvPr userDrawn="1"/>
        </p:nvSpPr>
        <p:spPr>
          <a:xfrm>
            <a:off x="1" y="3525011"/>
            <a:ext cx="7424216" cy="2016224"/>
          </a:xfrm>
          <a:custGeom>
            <a:avLst/>
            <a:gdLst>
              <a:gd name="connsiteX0" fmla="*/ 0 w 5177583"/>
              <a:gd name="connsiteY0" fmla="*/ 0 h 1512168"/>
              <a:gd name="connsiteX1" fmla="*/ 4421499 w 5177583"/>
              <a:gd name="connsiteY1" fmla="*/ 0 h 1512168"/>
              <a:gd name="connsiteX2" fmla="*/ 5177583 w 5177583"/>
              <a:gd name="connsiteY2" fmla="*/ 756084 h 1512168"/>
              <a:gd name="connsiteX3" fmla="*/ 4421499 w 5177583"/>
              <a:gd name="connsiteY3" fmla="*/ 1512168 h 1512168"/>
              <a:gd name="connsiteX4" fmla="*/ 0 w 5177583"/>
              <a:gd name="connsiteY4" fmla="*/ 1512168 h 151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7583" h="1512168">
                <a:moveTo>
                  <a:pt x="0" y="0"/>
                </a:moveTo>
                <a:lnTo>
                  <a:pt x="4421499" y="0"/>
                </a:lnTo>
                <a:cubicBezTo>
                  <a:pt x="4839073" y="0"/>
                  <a:pt x="5177583" y="338510"/>
                  <a:pt x="5177583" y="756084"/>
                </a:cubicBezTo>
                <a:cubicBezTo>
                  <a:pt x="5177583" y="1173658"/>
                  <a:pt x="4839073" y="1512168"/>
                  <a:pt x="4421499" y="1512168"/>
                </a:cubicBezTo>
                <a:lnTo>
                  <a:pt x="0" y="15121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5" name="Titre 4"/>
          <p:cNvSpPr>
            <a:spLocks noGrp="1"/>
          </p:cNvSpPr>
          <p:nvPr>
            <p:ph type="title"/>
          </p:nvPr>
        </p:nvSpPr>
        <p:spPr>
          <a:xfrm>
            <a:off x="214768" y="3621477"/>
            <a:ext cx="6694032" cy="1022580"/>
          </a:xfrm>
          <a:prstGeom prst="rect">
            <a:avLst/>
          </a:prstGeom>
        </p:spPr>
        <p:txBody>
          <a:bodyPr anchor="b">
            <a:noAutofit/>
          </a:bodyPr>
          <a:lstStyle>
            <a:lvl1pPr>
              <a:defRPr sz="3733">
                <a:solidFill>
                  <a:schemeClr val="accent1"/>
                </a:solidFill>
              </a:defRPr>
            </a:lvl1pPr>
          </a:lstStyle>
          <a:p>
            <a:r>
              <a:rPr lang="en-GB"/>
              <a:t>Modifiez le style du titre</a:t>
            </a:r>
          </a:p>
        </p:txBody>
      </p:sp>
      <p:sp>
        <p:nvSpPr>
          <p:cNvPr id="26" name="Ellipse 25"/>
          <p:cNvSpPr/>
          <p:nvPr/>
        </p:nvSpPr>
        <p:spPr>
          <a:xfrm rot="20057793">
            <a:off x="6283262" y="2986485"/>
            <a:ext cx="1340429" cy="134043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fr-FR" sz="2400"/>
          </a:p>
        </p:txBody>
      </p:sp>
      <p:sp>
        <p:nvSpPr>
          <p:cNvPr id="29" name="Oval 5"/>
          <p:cNvSpPr>
            <a:spLocks noChangeArrowheads="1"/>
          </p:cNvSpPr>
          <p:nvPr userDrawn="1"/>
        </p:nvSpPr>
        <p:spPr bwMode="auto">
          <a:xfrm rot="20057793">
            <a:off x="6803877" y="3506199"/>
            <a:ext cx="297547" cy="297548"/>
          </a:xfrm>
          <a:prstGeom prst="ellipse">
            <a:avLst/>
          </a:pr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2" name="Freeform 6"/>
          <p:cNvSpPr>
            <a:spLocks noEditPoints="1"/>
          </p:cNvSpPr>
          <p:nvPr userDrawn="1"/>
        </p:nvSpPr>
        <p:spPr bwMode="auto">
          <a:xfrm rot="20057793">
            <a:off x="6492041" y="3211173"/>
            <a:ext cx="921219" cy="887600"/>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3" name="Freeform 7"/>
          <p:cNvSpPr>
            <a:spLocks noEditPoints="1"/>
          </p:cNvSpPr>
          <p:nvPr userDrawn="1"/>
        </p:nvSpPr>
        <p:spPr bwMode="auto">
          <a:xfrm rot="20057793">
            <a:off x="6599629" y="3301110"/>
            <a:ext cx="706043" cy="70772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4" name="Freeform 8"/>
          <p:cNvSpPr>
            <a:spLocks noEditPoints="1"/>
          </p:cNvSpPr>
          <p:nvPr userDrawn="1"/>
        </p:nvSpPr>
        <p:spPr bwMode="auto">
          <a:xfrm rot="20057793">
            <a:off x="6680810" y="3384786"/>
            <a:ext cx="542140" cy="542983"/>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5" name="Freeform 9"/>
          <p:cNvSpPr>
            <a:spLocks noEditPoints="1"/>
          </p:cNvSpPr>
          <p:nvPr userDrawn="1"/>
        </p:nvSpPr>
        <p:spPr bwMode="auto">
          <a:xfrm rot="20057793">
            <a:off x="6412557" y="3113589"/>
            <a:ext cx="1080919" cy="1084284"/>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4" name="Espace réservé du texte 3"/>
          <p:cNvSpPr>
            <a:spLocks noGrp="1"/>
          </p:cNvSpPr>
          <p:nvPr>
            <p:ph type="body" sz="quarter" idx="10"/>
          </p:nvPr>
        </p:nvSpPr>
        <p:spPr>
          <a:xfrm>
            <a:off x="213784" y="4593698"/>
            <a:ext cx="6695152" cy="912381"/>
          </a:xfrm>
        </p:spPr>
        <p:txBody>
          <a:bodyPr>
            <a:normAutofit/>
          </a:bodyPr>
          <a:lstStyle>
            <a:lvl1pPr marL="0" indent="0" algn="ctr">
              <a:buFontTx/>
              <a:buNone/>
              <a:defRPr sz="2667" b="0">
                <a:solidFill>
                  <a:schemeClr val="tx1"/>
                </a:solidFill>
              </a:defRPr>
            </a:lvl1pPr>
          </a:lstStyle>
          <a:p>
            <a:pPr lvl="0"/>
            <a:endParaRPr lang="en-GB"/>
          </a:p>
        </p:txBody>
      </p:sp>
      <p:sp>
        <p:nvSpPr>
          <p:cNvPr id="6" name="Espace réservé du numéro de diapositive 5"/>
          <p:cNvSpPr>
            <a:spLocks noGrp="1"/>
          </p:cNvSpPr>
          <p:nvPr>
            <p:ph type="sldNum" sz="quarter" idx="12"/>
          </p:nvPr>
        </p:nvSpPr>
        <p:spPr/>
        <p:txBody>
          <a:bodyPr/>
          <a:lstStyle/>
          <a:p>
            <a:fld id="{88A6B057-71F2-43BA-98BD-164F4E914A39}" type="slidenum">
              <a:rPr lang="en-GB" smtClean="0"/>
              <a:pPr/>
              <a:t>‹#›</a:t>
            </a:fld>
            <a:endParaRPr lang="en-GB"/>
          </a:p>
        </p:txBody>
      </p:sp>
    </p:spTree>
    <p:extLst>
      <p:ext uri="{BB962C8B-B14F-4D97-AF65-F5344CB8AC3E}">
        <p14:creationId xmlns:p14="http://schemas.microsoft.com/office/powerpoint/2010/main" val="1170807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6" presetClass="emph" presetSubtype="0" fill="hold" nodeType="withEffect">
                                  <p:stCondLst>
                                    <p:cond delay="0"/>
                                  </p:stCondLst>
                                  <p:childTnLst>
                                    <p:animScale>
                                      <p:cBhvr>
                                        <p:cTn id="9" dur="10" fill="hold"/>
                                        <p:tgtEl>
                                          <p:spTgt spid="23"/>
                                        </p:tgtEl>
                                      </p:cBhvr>
                                      <p:by x="50000" y="50000"/>
                                    </p:animScale>
                                  </p:childTnLst>
                                </p:cTn>
                              </p:par>
                              <p:par>
                                <p:cTn id="10" presetID="6" presetClass="emph" presetSubtype="0" decel="100000" fill="hold" nodeType="withEffect">
                                  <p:stCondLst>
                                    <p:cond delay="0"/>
                                  </p:stCondLst>
                                  <p:childTnLst>
                                    <p:animScale>
                                      <p:cBhvr>
                                        <p:cTn id="11" dur="1000" fill="hold"/>
                                        <p:tgtEl>
                                          <p:spTgt spid="23"/>
                                        </p:tgtEl>
                                      </p:cBhvr>
                                      <p:by x="200000" y="200000"/>
                                    </p:animScale>
                                  </p:childTnLst>
                                </p:cTn>
                              </p:par>
                              <p:par>
                                <p:cTn id="12" presetID="2" presetClass="entr" presetSubtype="8" decel="10000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 calcmode="lin" valueType="num">
                                      <p:cBhvr additive="base">
                                        <p:cTn id="14" dur="500" fill="hold"/>
                                        <p:tgtEl>
                                          <p:spTgt spid="25"/>
                                        </p:tgtEl>
                                        <p:attrNameLst>
                                          <p:attrName>ppt_x</p:attrName>
                                        </p:attrNameLst>
                                      </p:cBhvr>
                                      <p:tavLst>
                                        <p:tav tm="0">
                                          <p:val>
                                            <p:strVal val="0-#ppt_w/2"/>
                                          </p:val>
                                        </p:tav>
                                        <p:tav tm="100000">
                                          <p:val>
                                            <p:strVal val="#ppt_x"/>
                                          </p:val>
                                        </p:tav>
                                      </p:tavLst>
                                    </p:anim>
                                    <p:anim calcmode="lin" valueType="num">
                                      <p:cBhvr additive="base">
                                        <p:cTn id="15" dur="500" fill="hold"/>
                                        <p:tgtEl>
                                          <p:spTgt spid="25"/>
                                        </p:tgtEl>
                                        <p:attrNameLst>
                                          <p:attrName>ppt_y</p:attrName>
                                        </p:attrNameLst>
                                      </p:cBhvr>
                                      <p:tavLst>
                                        <p:tav tm="0">
                                          <p:val>
                                            <p:strVal val="#ppt_y"/>
                                          </p:val>
                                        </p:tav>
                                        <p:tav tm="100000">
                                          <p:val>
                                            <p:strVal val="#ppt_y"/>
                                          </p:val>
                                        </p:tav>
                                      </p:tavLst>
                                    </p:anim>
                                  </p:childTnLst>
                                </p:cTn>
                              </p:par>
                              <p:par>
                                <p:cTn id="16" presetID="2" presetClass="entr" presetSubtype="8" decel="100000" fill="hold" grpId="0" nodeType="withEffect">
                                  <p:stCondLst>
                                    <p:cond delay="100"/>
                                  </p:stCondLst>
                                  <p:childTnLst>
                                    <p:set>
                                      <p:cBhvr>
                                        <p:cTn id="17" dur="1" fill="hold">
                                          <p:stCondLst>
                                            <p:cond delay="0"/>
                                          </p:stCondLst>
                                        </p:cTn>
                                        <p:tgtEl>
                                          <p:spTgt spid="28"/>
                                        </p:tgtEl>
                                        <p:attrNameLst>
                                          <p:attrName>style.visibility</p:attrName>
                                        </p:attrNameLst>
                                      </p:cBhvr>
                                      <p:to>
                                        <p:strVal val="visible"/>
                                      </p:to>
                                    </p:set>
                                    <p:anim calcmode="lin" valueType="num">
                                      <p:cBhvr additive="base">
                                        <p:cTn id="18" dur="500" fill="hold"/>
                                        <p:tgtEl>
                                          <p:spTgt spid="28"/>
                                        </p:tgtEl>
                                        <p:attrNameLst>
                                          <p:attrName>ppt_x</p:attrName>
                                        </p:attrNameLst>
                                      </p:cBhvr>
                                      <p:tavLst>
                                        <p:tav tm="0">
                                          <p:val>
                                            <p:strVal val="0-#ppt_w/2"/>
                                          </p:val>
                                        </p:tav>
                                        <p:tav tm="100000">
                                          <p:val>
                                            <p:strVal val="#ppt_x"/>
                                          </p:val>
                                        </p:tav>
                                      </p:tavLst>
                                    </p:anim>
                                    <p:anim calcmode="lin" valueType="num">
                                      <p:cBhvr additive="base">
                                        <p:cTn id="19" dur="500" fill="hold"/>
                                        <p:tgtEl>
                                          <p:spTgt spid="28"/>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6" presetClass="emph" presetSubtype="0" fill="hold" grpId="1" nodeType="withEffect">
                                  <p:stCondLst>
                                    <p:cond delay="500"/>
                                  </p:stCondLst>
                                  <p:childTnLst>
                                    <p:animScale>
                                      <p:cBhvr>
                                        <p:cTn id="30" dur="10" fill="hold"/>
                                        <p:tgtEl>
                                          <p:spTgt spid="29"/>
                                        </p:tgtEl>
                                      </p:cBhvr>
                                      <p:by x="50000" y="50000"/>
                                    </p:animScale>
                                  </p:childTnLst>
                                </p:cTn>
                              </p:par>
                              <p:par>
                                <p:cTn id="31" presetID="6" presetClass="emph" presetSubtype="0" decel="100000" fill="hold" grpId="2" nodeType="withEffect">
                                  <p:stCondLst>
                                    <p:cond delay="500"/>
                                  </p:stCondLst>
                                  <p:childTnLst>
                                    <p:animScale>
                                      <p:cBhvr>
                                        <p:cTn id="32" dur="1000" fill="hold"/>
                                        <p:tgtEl>
                                          <p:spTgt spid="29"/>
                                        </p:tgtEl>
                                      </p:cBhvr>
                                      <p:by x="200000" y="200000"/>
                                    </p:animScale>
                                  </p:childTnLst>
                                </p:cTn>
                              </p:par>
                              <p:par>
                                <p:cTn id="33" presetID="10" presetClass="entr" presetSubtype="0" fill="hold" grpId="0" nodeType="withEffect">
                                  <p:stCondLst>
                                    <p:cond delay="50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8" presetClass="emph" presetSubtype="0" repeatCount="indefinite" fill="hold" grpId="1" nodeType="withEffect">
                                  <p:stCondLst>
                                    <p:cond delay="500"/>
                                  </p:stCondLst>
                                  <p:childTnLst>
                                    <p:animRot by="-21600000">
                                      <p:cBhvr>
                                        <p:cTn id="37" dur="2000" fill="hold"/>
                                        <p:tgtEl>
                                          <p:spTgt spid="33"/>
                                        </p:tgtEl>
                                        <p:attrNameLst>
                                          <p:attrName>r</p:attrName>
                                        </p:attrNameLst>
                                      </p:cBhvr>
                                    </p:animRot>
                                  </p:childTnLst>
                                </p:cTn>
                              </p:par>
                              <p:par>
                                <p:cTn id="38" presetID="10" presetClass="entr" presetSubtype="0" fill="hold" grpId="0" nodeType="withEffect">
                                  <p:stCondLst>
                                    <p:cond delay="50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8" presetClass="emph" presetSubtype="0" repeatCount="indefinite" fill="hold" grpId="1" nodeType="withEffect">
                                  <p:stCondLst>
                                    <p:cond delay="500"/>
                                  </p:stCondLst>
                                  <p:childTnLst>
                                    <p:animRot by="-21600000">
                                      <p:cBhvr>
                                        <p:cTn id="42" dur="2000" fill="hold"/>
                                        <p:tgtEl>
                                          <p:spTgt spid="35"/>
                                        </p:tgtEl>
                                        <p:attrNameLst>
                                          <p:attrName>r</p:attrName>
                                        </p:attrNameLst>
                                      </p:cBhvr>
                                    </p:animRot>
                                  </p:childTnLst>
                                </p:cTn>
                              </p:par>
                              <p:par>
                                <p:cTn id="43" presetID="10" presetClass="entr" presetSubtype="0" fill="hold" grpId="0" nodeType="withEffect">
                                  <p:stCondLst>
                                    <p:cond delay="500"/>
                                  </p:stCondLst>
                                  <p:childTnLst>
                                    <p:set>
                                      <p:cBhvr>
                                        <p:cTn id="44" dur="1" fill="hold">
                                          <p:stCondLst>
                                            <p:cond delay="0"/>
                                          </p:stCondLst>
                                        </p:cTn>
                                        <p:tgtEl>
                                          <p:spTgt spid="32"/>
                                        </p:tgtEl>
                                        <p:attrNameLst>
                                          <p:attrName>style.visibility</p:attrName>
                                        </p:attrNameLst>
                                      </p:cBhvr>
                                      <p:to>
                                        <p:strVal val="visible"/>
                                      </p:to>
                                    </p:set>
                                    <p:animEffect transition="in" filter="fade">
                                      <p:cBhvr>
                                        <p:cTn id="45" dur="500"/>
                                        <p:tgtEl>
                                          <p:spTgt spid="32"/>
                                        </p:tgtEl>
                                      </p:cBhvr>
                                    </p:animEffect>
                                  </p:childTnLst>
                                </p:cTn>
                              </p:par>
                              <p:par>
                                <p:cTn id="46" presetID="8" presetClass="emph" presetSubtype="0" repeatCount="indefinite" fill="hold" grpId="1" nodeType="withEffect">
                                  <p:stCondLst>
                                    <p:cond delay="500"/>
                                  </p:stCondLst>
                                  <p:childTnLst>
                                    <p:animRot by="21600000">
                                      <p:cBhvr>
                                        <p:cTn id="47" dur="2000" fill="hold"/>
                                        <p:tgtEl>
                                          <p:spTgt spid="32"/>
                                        </p:tgtEl>
                                        <p:attrNameLst>
                                          <p:attrName>r</p:attrName>
                                        </p:attrNameLst>
                                      </p:cBhvr>
                                    </p:animRot>
                                  </p:childTnLst>
                                </p:cTn>
                              </p:par>
                              <p:par>
                                <p:cTn id="48" presetID="10" presetClass="entr" presetSubtype="0" fill="hold" grpId="0" nodeType="withEffect">
                                  <p:stCondLst>
                                    <p:cond delay="50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par>
                                <p:cTn id="51" presetID="8" presetClass="emph" presetSubtype="0" repeatCount="indefinite" fill="hold" grpId="1" nodeType="withEffect">
                                  <p:stCondLst>
                                    <p:cond delay="500"/>
                                  </p:stCondLst>
                                  <p:childTnLst>
                                    <p:animRot by="21600000">
                                      <p:cBhvr>
                                        <p:cTn id="52" dur="2000" fill="hold"/>
                                        <p:tgtEl>
                                          <p:spTgt spid="3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5" grpId="0"/>
      <p:bldP spid="26" grpId="0" animBg="1"/>
      <p:bldP spid="29" grpId="0" animBg="1"/>
      <p:bldP spid="29" grpId="1" animBg="1"/>
      <p:bldP spid="29" grpId="2" animBg="1"/>
      <p:bldP spid="32" grpId="0" animBg="1"/>
      <p:bldP spid="32" grpId="1" animBg="1"/>
      <p:bldP spid="33" grpId="0" animBg="1"/>
      <p:bldP spid="33" grpId="1" animBg="1"/>
      <p:bldP spid="34" grpId="0" animBg="1"/>
      <p:bldP spid="34" grpId="1" animBg="1"/>
      <p:bldP spid="35" grpId="0" animBg="1"/>
      <p:bldP spid="35" grpId="1" animBg="1"/>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7"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8"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9"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20" name="Rectangle 19"/>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21"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4" name="Titre 3"/>
          <p:cNvSpPr>
            <a:spLocks noGrp="1"/>
          </p:cNvSpPr>
          <p:nvPr>
            <p:ph type="title"/>
          </p:nvPr>
        </p:nvSpPr>
        <p:spPr/>
        <p:txBody>
          <a:bodyPr/>
          <a:lstStyle>
            <a:lvl1pPr>
              <a:defRPr>
                <a:solidFill>
                  <a:schemeClr val="accent1"/>
                </a:solidFill>
              </a:defRPr>
            </a:lvl1pPr>
          </a:lstStyle>
          <a:p>
            <a:r>
              <a:rPr lang="en-GB"/>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2" name="Espace réservé du pied de page 1"/>
          <p:cNvSpPr>
            <a:spLocks noGrp="1"/>
          </p:cNvSpPr>
          <p:nvPr>
            <p:ph type="ftr" sz="quarter" idx="10"/>
          </p:nvPr>
        </p:nvSpPr>
        <p:spPr>
          <a:xfrm>
            <a:off x="1826652" y="6356351"/>
            <a:ext cx="4114800" cy="366183"/>
          </a:xfrm>
          <a:prstGeom prst="rect">
            <a:avLst/>
          </a:prstGeom>
        </p:spPr>
        <p:txBody>
          <a:bodyPr/>
          <a:lstStyle/>
          <a:p>
            <a:r>
              <a:rPr lang="fr-FR"/>
              <a:t>| Improving industrial performance</a:t>
            </a:r>
          </a:p>
        </p:txBody>
      </p:sp>
    </p:spTree>
    <p:extLst>
      <p:ext uri="{BB962C8B-B14F-4D97-AF65-F5344CB8AC3E}">
        <p14:creationId xmlns:p14="http://schemas.microsoft.com/office/powerpoint/2010/main" val="493453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1799367"/>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167571"/>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40443466"/>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3"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12607552"/>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61969953"/>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4"/>
            <a:ext cx="11294896"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Tree>
    <p:extLst>
      <p:ext uri="{BB962C8B-B14F-4D97-AF65-F5344CB8AC3E}">
        <p14:creationId xmlns:p14="http://schemas.microsoft.com/office/powerpoint/2010/main" val="283875676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4"/>
            <a:ext cx="11175844"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09" y="4146553"/>
            <a:ext cx="10487801" cy="910337"/>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1857572468"/>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16985473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6003645"/>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0205" y="3083652"/>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72868812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Tree>
    <p:extLst>
      <p:ext uri="{BB962C8B-B14F-4D97-AF65-F5344CB8AC3E}">
        <p14:creationId xmlns:p14="http://schemas.microsoft.com/office/powerpoint/2010/main" val="2842675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9"/>
            <a:ext cx="11653523" cy="2424715"/>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1459082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8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107939450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Tree>
    <p:extLst>
      <p:ext uri="{BB962C8B-B14F-4D97-AF65-F5344CB8AC3E}">
        <p14:creationId xmlns:p14="http://schemas.microsoft.com/office/powerpoint/2010/main" val="4073170701"/>
      </p:ext>
    </p:extLst>
  </p:cSld>
  <p:clrMapOvr>
    <a:masterClrMapping/>
  </p:clrMapOvr>
  <p:transition>
    <p:fade/>
  </p:transition>
  <p:hf sldNum="0" hdr="0" dt="0"/>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defRPr sz="2800"/>
            </a:lvl1pPr>
          </a:lstStyle>
          <a:p>
            <a:r>
              <a:rPr lang="en-US"/>
              <a:t>Click to edit Master title style</a:t>
            </a:r>
            <a:endParaRPr lang="en-US" dirty="0"/>
          </a:p>
        </p:txBody>
      </p:sp>
      <p:sp>
        <p:nvSpPr>
          <p:cNvPr id="6" name="Text Placeholder 5"/>
          <p:cNvSpPr>
            <a:spLocks noGrp="1"/>
          </p:cNvSpPr>
          <p:nvPr>
            <p:ph type="body" sz="quarter" idx="10"/>
          </p:nvPr>
        </p:nvSpPr>
        <p:spPr>
          <a:xfrm>
            <a:off x="5761038" y="1905001"/>
            <a:ext cx="6164042" cy="1323196"/>
          </a:xfrm>
        </p:spPr>
        <p:txBody>
          <a:bodyPr/>
          <a:lstStyle>
            <a:lvl1pPr marL="0" indent="0">
              <a:spcBef>
                <a:spcPts val="1200"/>
              </a:spcBef>
              <a:buNone/>
              <a:defRPr sz="1600">
                <a:solidFill>
                  <a:schemeClr val="tx1"/>
                </a:solidFill>
                <a:latin typeface="Segoe Semibold" panose="020B0702040504020203" pitchFamily="34" charset="0"/>
              </a:defRPr>
            </a:lvl1pPr>
            <a:lvl2pPr marL="0" indent="0">
              <a:spcBef>
                <a:spcPts val="600"/>
              </a:spcBef>
              <a:buNone/>
              <a:defRPr sz="1400">
                <a:solidFill>
                  <a:schemeClr val="tx1"/>
                </a:solidFill>
              </a:defRPr>
            </a:lvl2pPr>
            <a:lvl3pPr marL="344422" indent="-223795">
              <a:defRPr sz="1200">
                <a:solidFill>
                  <a:schemeClr val="tx1"/>
                </a:solidFill>
              </a:defRPr>
            </a:lvl3pPr>
            <a:lvl4pPr marL="509490" indent="-165068">
              <a:defRPr sz="1100">
                <a:solidFill>
                  <a:schemeClr val="tx1"/>
                </a:solidFill>
              </a:defRPr>
            </a:lvl4pPr>
            <a:lvl5pPr marL="974538" indent="-223795">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69241" y="1475440"/>
            <a:ext cx="5033554" cy="500715"/>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00">
                <a:solidFill>
                  <a:schemeClr val="accent1"/>
                </a:solidFill>
                <a:latin typeface="+mn-lt"/>
              </a:defRPr>
            </a:lvl2pPr>
          </a:lstStyle>
          <a:p>
            <a:pPr lvl="0" fontAlgn="base">
              <a:spcBef>
                <a:spcPts val="600"/>
              </a:spcBef>
              <a:spcAft>
                <a:spcPct val="0"/>
              </a:spcAft>
            </a:pPr>
            <a:r>
              <a:rPr lang="en-US" dirty="0"/>
              <a:t>Click to edit Master text styles</a:t>
            </a:r>
          </a:p>
          <a:p>
            <a:pPr lvl="1" fontAlgn="base">
              <a:spcBef>
                <a:spcPts val="600"/>
              </a:spcBef>
              <a:spcAft>
                <a:spcPct val="0"/>
              </a:spcAft>
            </a:pPr>
            <a:r>
              <a:rPr lang="en-US" dirty="0"/>
              <a:t>VNVN</a:t>
            </a:r>
          </a:p>
        </p:txBody>
      </p:sp>
      <p:sp>
        <p:nvSpPr>
          <p:cNvPr id="12" name="Text Placeholder 8"/>
          <p:cNvSpPr>
            <a:spLocks noGrp="1"/>
          </p:cNvSpPr>
          <p:nvPr>
            <p:ph type="body" sz="quarter" idx="12"/>
          </p:nvPr>
        </p:nvSpPr>
        <p:spPr>
          <a:xfrm>
            <a:off x="5761037" y="1475439"/>
            <a:ext cx="6218237" cy="221599"/>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00"/>
              </a:spcBef>
              <a:spcAft>
                <a:spcPct val="0"/>
              </a:spcAft>
            </a:pPr>
            <a:r>
              <a:rPr lang="en-US" dirty="0"/>
              <a:t>Click to edit Master text styles</a:t>
            </a:r>
          </a:p>
        </p:txBody>
      </p:sp>
    </p:spTree>
    <p:extLst>
      <p:ext uri="{BB962C8B-B14F-4D97-AF65-F5344CB8AC3E}">
        <p14:creationId xmlns:p14="http://schemas.microsoft.com/office/powerpoint/2010/main" val="171326035"/>
      </p:ext>
    </p:extLst>
  </p:cSld>
  <p:clrMapOvr>
    <a:masterClrMapping/>
  </p:clrMapOvr>
  <p:transition>
    <p:fade/>
  </p:transition>
  <p:hf sldNum="0" hdr="0" dt="0"/>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iapositive de titre-V1">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133" dirty="0"/>
          </a:p>
        </p:txBody>
      </p:sp>
      <p:sp>
        <p:nvSpPr>
          <p:cNvPr id="2" name="Titre 1"/>
          <p:cNvSpPr>
            <a:spLocks noGrp="1"/>
          </p:cNvSpPr>
          <p:nvPr>
            <p:ph type="ctrTitle"/>
          </p:nvPr>
        </p:nvSpPr>
        <p:spPr>
          <a:xfrm>
            <a:off x="866366"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dirty="0"/>
          </a:p>
        </p:txBody>
      </p:sp>
      <p:sp>
        <p:nvSpPr>
          <p:cNvPr id="3" name="Sous-titre 2"/>
          <p:cNvSpPr>
            <a:spLocks noGrp="1"/>
          </p:cNvSpPr>
          <p:nvPr>
            <p:ph type="subTitle" idx="1"/>
          </p:nvPr>
        </p:nvSpPr>
        <p:spPr>
          <a:xfrm>
            <a:off x="858676" y="3985273"/>
            <a:ext cx="5802475"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dirty="0"/>
          </a:p>
        </p:txBody>
      </p:sp>
      <p:sp>
        <p:nvSpPr>
          <p:cNvPr id="8" name="Espace réservé du texte 15"/>
          <p:cNvSpPr>
            <a:spLocks noGrp="1"/>
          </p:cNvSpPr>
          <p:nvPr>
            <p:ph type="body" sz="quarter" idx="12"/>
          </p:nvPr>
        </p:nvSpPr>
        <p:spPr>
          <a:xfrm>
            <a:off x="872862" y="6210695"/>
            <a:ext cx="5788289"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Forme libre 9"/>
          <p:cNvSpPr>
            <a:spLocks noChangeAspect="1"/>
          </p:cNvSpPr>
          <p:nvPr userDrawn="1"/>
        </p:nvSpPr>
        <p:spPr bwMode="auto">
          <a:xfrm rot="10800000">
            <a:off x="7960507" y="1118246"/>
            <a:ext cx="4281084" cy="4646479"/>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bg1"/>
          </a:solid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dirty="0"/>
          </a:p>
        </p:txBody>
      </p:sp>
      <p:pic>
        <p:nvPicPr>
          <p:cNvPr id="17" name="Image 16"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100206159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iapositive de titre-V2">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2" name="Titre 1"/>
          <p:cNvSpPr>
            <a:spLocks noGrp="1"/>
          </p:cNvSpPr>
          <p:nvPr>
            <p:ph type="ctrTitle"/>
          </p:nvPr>
        </p:nvSpPr>
        <p:spPr>
          <a:xfrm>
            <a:off x="866365"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dirty="0"/>
          </a:p>
        </p:txBody>
      </p:sp>
      <p:sp>
        <p:nvSpPr>
          <p:cNvPr id="3" name="Sous-titre 2"/>
          <p:cNvSpPr>
            <a:spLocks noGrp="1"/>
          </p:cNvSpPr>
          <p:nvPr>
            <p:ph type="subTitle" idx="1"/>
          </p:nvPr>
        </p:nvSpPr>
        <p:spPr>
          <a:xfrm>
            <a:off x="858676" y="3985273"/>
            <a:ext cx="5969691"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dirty="0"/>
          </a:p>
        </p:txBody>
      </p:sp>
      <p:sp>
        <p:nvSpPr>
          <p:cNvPr id="8" name="Espace réservé du texte 15"/>
          <p:cNvSpPr>
            <a:spLocks noGrp="1"/>
          </p:cNvSpPr>
          <p:nvPr>
            <p:ph type="body" sz="quarter" idx="12"/>
          </p:nvPr>
        </p:nvSpPr>
        <p:spPr>
          <a:xfrm>
            <a:off x="872861" y="6210695"/>
            <a:ext cx="5955504"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Espace réservé pour une image  20"/>
          <p:cNvSpPr>
            <a:spLocks noGrp="1" noChangeAspect="1"/>
          </p:cNvSpPr>
          <p:nvPr>
            <p:ph type="pic" sz="quarter" idx="10"/>
          </p:nvPr>
        </p:nvSpPr>
        <p:spPr>
          <a:xfrm>
            <a:off x="7897202" y="1118250"/>
            <a:ext cx="4311428" cy="4734863"/>
          </a:xfrm>
          <a:custGeom>
            <a:avLst/>
            <a:gdLst>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0 w 6044400"/>
              <a:gd name="connsiteY22" fmla="*/ 1424179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9412"/>
              <a:gd name="connsiteY0" fmla="*/ 0 h 4143153"/>
              <a:gd name="connsiteX1" fmla="*/ 2442246 w 6049412"/>
              <a:gd name="connsiteY1" fmla="*/ 2597 h 4143153"/>
              <a:gd name="connsiteX2" fmla="*/ 5615266 w 6049412"/>
              <a:gd name="connsiteY2" fmla="*/ 354124 h 4143153"/>
              <a:gd name="connsiteX3" fmla="*/ 5976734 w 6049412"/>
              <a:gd name="connsiteY3" fmla="*/ 368537 h 4143153"/>
              <a:gd name="connsiteX4" fmla="*/ 6044400 w 6049412"/>
              <a:gd name="connsiteY4" fmla="*/ 511023 h 4143153"/>
              <a:gd name="connsiteX5" fmla="*/ 6044400 w 6049412"/>
              <a:gd name="connsiteY5" fmla="*/ 1228503 h 4143153"/>
              <a:gd name="connsiteX6" fmla="*/ 6044400 w 6049412"/>
              <a:gd name="connsiteY6" fmla="*/ 1254629 h 4143153"/>
              <a:gd name="connsiteX7" fmla="*/ 6044400 w 6049412"/>
              <a:gd name="connsiteY7" fmla="*/ 1302554 h 4143153"/>
              <a:gd name="connsiteX8" fmla="*/ 6044400 w 6049412"/>
              <a:gd name="connsiteY8" fmla="*/ 1339878 h 4143153"/>
              <a:gd name="connsiteX9" fmla="*/ 6044400 w 6049412"/>
              <a:gd name="connsiteY9" fmla="*/ 1367926 h 4143153"/>
              <a:gd name="connsiteX10" fmla="*/ 6044400 w 6049412"/>
              <a:gd name="connsiteY10" fmla="*/ 1388023 h 4143153"/>
              <a:gd name="connsiteX11" fmla="*/ 6044400 w 6049412"/>
              <a:gd name="connsiteY11" fmla="*/ 1401495 h 4143153"/>
              <a:gd name="connsiteX12" fmla="*/ 6044400 w 6049412"/>
              <a:gd name="connsiteY12" fmla="*/ 1413863 h 4143153"/>
              <a:gd name="connsiteX13" fmla="*/ 6044400 w 6049412"/>
              <a:gd name="connsiteY13" fmla="*/ 1415630 h 4143153"/>
              <a:gd name="connsiteX14" fmla="*/ 6044400 w 6049412"/>
              <a:gd name="connsiteY14" fmla="*/ 4143153 h 4143153"/>
              <a:gd name="connsiteX15" fmla="*/ 0 w 6049412"/>
              <a:gd name="connsiteY15" fmla="*/ 4143153 h 4143153"/>
              <a:gd name="connsiteX16" fmla="*/ 0 w 6049412"/>
              <a:gd name="connsiteY16" fmla="*/ 3959500 h 4143153"/>
              <a:gd name="connsiteX17" fmla="*/ 0 w 6049412"/>
              <a:gd name="connsiteY17" fmla="*/ 1494981 h 4143153"/>
              <a:gd name="connsiteX18" fmla="*/ 0 w 6049412"/>
              <a:gd name="connsiteY18" fmla="*/ 1492359 h 4143153"/>
              <a:gd name="connsiteX19" fmla="*/ 0 w 6049412"/>
              <a:gd name="connsiteY19" fmla="*/ 1486131 h 4143153"/>
              <a:gd name="connsiteX20" fmla="*/ 1684243 w 6049412"/>
              <a:gd name="connsiteY20" fmla="*/ 2271145 h 4143153"/>
              <a:gd name="connsiteX21" fmla="*/ 1917876 w 6049412"/>
              <a:gd name="connsiteY21" fmla="*/ 2053203 h 4143153"/>
              <a:gd name="connsiteX22" fmla="*/ 2134576 w 6049412"/>
              <a:gd name="connsiteY22" fmla="*/ 1868604 h 4143153"/>
              <a:gd name="connsiteX23" fmla="*/ 2251663 w 6049412"/>
              <a:gd name="connsiteY23" fmla="*/ 1780374 h 4143153"/>
              <a:gd name="connsiteX24" fmla="*/ 2368749 w 6049412"/>
              <a:gd name="connsiteY24" fmla="*/ 1692940 h 4143153"/>
              <a:gd name="connsiteX25" fmla="*/ 0 w 6049412"/>
              <a:gd name="connsiteY25" fmla="*/ 1327153 h 4143153"/>
              <a:gd name="connsiteX26" fmla="*/ 0 w 6049412"/>
              <a:gd name="connsiteY26" fmla="*/ 1256023 h 4143153"/>
              <a:gd name="connsiteX27" fmla="*/ 0 w 6049412"/>
              <a:gd name="connsiteY27" fmla="*/ 1231417 h 4143153"/>
              <a:gd name="connsiteX28" fmla="*/ 0 w 6049412"/>
              <a:gd name="connsiteY28" fmla="*/ 1228503 h 4143153"/>
              <a:gd name="connsiteX29" fmla="*/ 0 w 6049412"/>
              <a:gd name="connsiteY29" fmla="*/ 1085073 h 4143153"/>
              <a:gd name="connsiteX30" fmla="*/ 0 w 6049412"/>
              <a:gd name="connsiteY30" fmla="*/ 1058721 h 4143153"/>
              <a:gd name="connsiteX31" fmla="*/ 0 w 6049412"/>
              <a:gd name="connsiteY31" fmla="*/ 952655 h 4143153"/>
              <a:gd name="connsiteX32" fmla="*/ 0 w 6049412"/>
              <a:gd name="connsiteY32" fmla="*/ 951862 h 4143153"/>
              <a:gd name="connsiteX33" fmla="*/ 0 w 6049412"/>
              <a:gd name="connsiteY33" fmla="*/ 833468 h 4143153"/>
              <a:gd name="connsiteX34" fmla="*/ 0 w 6049412"/>
              <a:gd name="connsiteY34" fmla="*/ 828840 h 4143153"/>
              <a:gd name="connsiteX35" fmla="*/ 0 w 6049412"/>
              <a:gd name="connsiteY35" fmla="*/ 726814 h 4143153"/>
              <a:gd name="connsiteX36" fmla="*/ 0 w 6049412"/>
              <a:gd name="connsiteY36" fmla="*/ 688517 h 4143153"/>
              <a:gd name="connsiteX37" fmla="*/ 0 w 6049412"/>
              <a:gd name="connsiteY37" fmla="*/ 631998 h 4143153"/>
              <a:gd name="connsiteX38" fmla="*/ 0 w 6049412"/>
              <a:gd name="connsiteY38" fmla="*/ 529754 h 4143153"/>
              <a:gd name="connsiteX39" fmla="*/ 0 w 6049412"/>
              <a:gd name="connsiteY39" fmla="*/ 475093 h 4143153"/>
              <a:gd name="connsiteX40" fmla="*/ 0 w 6049412"/>
              <a:gd name="connsiteY40" fmla="*/ 351413 h 4143153"/>
              <a:gd name="connsiteX41" fmla="*/ 0 w 6049412"/>
              <a:gd name="connsiteY41" fmla="*/ 311109 h 4143153"/>
              <a:gd name="connsiteX42" fmla="*/ 0 w 6049412"/>
              <a:gd name="connsiteY42" fmla="*/ 156641 h 4143153"/>
              <a:gd name="connsiteX43" fmla="*/ 832114 w 6049412"/>
              <a:gd name="connsiteY43" fmla="*/ 61160 h 4143153"/>
              <a:gd name="connsiteX44" fmla="*/ 1108528 w 6049412"/>
              <a:gd name="connsiteY44" fmla="*/ 38207 h 4143153"/>
              <a:gd name="connsiteX45" fmla="*/ 1165665 w 6049412"/>
              <a:gd name="connsiteY45" fmla="*/ 33908 h 4143153"/>
              <a:gd name="connsiteX46" fmla="*/ 2227385 w 6049412"/>
              <a:gd name="connsiteY46" fmla="*/ 0 h 4143153"/>
              <a:gd name="connsiteX0" fmla="*/ 2227385 w 6048785"/>
              <a:gd name="connsiteY0" fmla="*/ 0 h 4143153"/>
              <a:gd name="connsiteX1" fmla="*/ 2442246 w 6048785"/>
              <a:gd name="connsiteY1" fmla="*/ 2597 h 4143153"/>
              <a:gd name="connsiteX2" fmla="*/ 5615266 w 6048785"/>
              <a:gd name="connsiteY2" fmla="*/ 354124 h 4143153"/>
              <a:gd name="connsiteX3" fmla="*/ 5985200 w 6048785"/>
              <a:gd name="connsiteY3" fmla="*/ 371853 h 4143153"/>
              <a:gd name="connsiteX4" fmla="*/ 6044400 w 6048785"/>
              <a:gd name="connsiteY4" fmla="*/ 511023 h 4143153"/>
              <a:gd name="connsiteX5" fmla="*/ 6044400 w 6048785"/>
              <a:gd name="connsiteY5" fmla="*/ 1228503 h 4143153"/>
              <a:gd name="connsiteX6" fmla="*/ 6044400 w 6048785"/>
              <a:gd name="connsiteY6" fmla="*/ 1254629 h 4143153"/>
              <a:gd name="connsiteX7" fmla="*/ 6044400 w 6048785"/>
              <a:gd name="connsiteY7" fmla="*/ 1302554 h 4143153"/>
              <a:gd name="connsiteX8" fmla="*/ 6044400 w 6048785"/>
              <a:gd name="connsiteY8" fmla="*/ 1339878 h 4143153"/>
              <a:gd name="connsiteX9" fmla="*/ 6044400 w 6048785"/>
              <a:gd name="connsiteY9" fmla="*/ 1367926 h 4143153"/>
              <a:gd name="connsiteX10" fmla="*/ 6044400 w 6048785"/>
              <a:gd name="connsiteY10" fmla="*/ 1388023 h 4143153"/>
              <a:gd name="connsiteX11" fmla="*/ 6044400 w 6048785"/>
              <a:gd name="connsiteY11" fmla="*/ 1401495 h 4143153"/>
              <a:gd name="connsiteX12" fmla="*/ 6044400 w 6048785"/>
              <a:gd name="connsiteY12" fmla="*/ 1413863 h 4143153"/>
              <a:gd name="connsiteX13" fmla="*/ 6044400 w 6048785"/>
              <a:gd name="connsiteY13" fmla="*/ 1415630 h 4143153"/>
              <a:gd name="connsiteX14" fmla="*/ 6044400 w 6048785"/>
              <a:gd name="connsiteY14" fmla="*/ 4143153 h 4143153"/>
              <a:gd name="connsiteX15" fmla="*/ 0 w 6048785"/>
              <a:gd name="connsiteY15" fmla="*/ 4143153 h 4143153"/>
              <a:gd name="connsiteX16" fmla="*/ 0 w 6048785"/>
              <a:gd name="connsiteY16" fmla="*/ 3959500 h 4143153"/>
              <a:gd name="connsiteX17" fmla="*/ 0 w 6048785"/>
              <a:gd name="connsiteY17" fmla="*/ 1494981 h 4143153"/>
              <a:gd name="connsiteX18" fmla="*/ 0 w 6048785"/>
              <a:gd name="connsiteY18" fmla="*/ 1492359 h 4143153"/>
              <a:gd name="connsiteX19" fmla="*/ 0 w 6048785"/>
              <a:gd name="connsiteY19" fmla="*/ 1486131 h 4143153"/>
              <a:gd name="connsiteX20" fmla="*/ 1684243 w 6048785"/>
              <a:gd name="connsiteY20" fmla="*/ 2271145 h 4143153"/>
              <a:gd name="connsiteX21" fmla="*/ 1917876 w 6048785"/>
              <a:gd name="connsiteY21" fmla="*/ 2053203 h 4143153"/>
              <a:gd name="connsiteX22" fmla="*/ 2134576 w 6048785"/>
              <a:gd name="connsiteY22" fmla="*/ 1868604 h 4143153"/>
              <a:gd name="connsiteX23" fmla="*/ 2251663 w 6048785"/>
              <a:gd name="connsiteY23" fmla="*/ 1780374 h 4143153"/>
              <a:gd name="connsiteX24" fmla="*/ 2368749 w 6048785"/>
              <a:gd name="connsiteY24" fmla="*/ 1692940 h 4143153"/>
              <a:gd name="connsiteX25" fmla="*/ 0 w 6048785"/>
              <a:gd name="connsiteY25" fmla="*/ 1327153 h 4143153"/>
              <a:gd name="connsiteX26" fmla="*/ 0 w 6048785"/>
              <a:gd name="connsiteY26" fmla="*/ 1256023 h 4143153"/>
              <a:gd name="connsiteX27" fmla="*/ 0 w 6048785"/>
              <a:gd name="connsiteY27" fmla="*/ 1231417 h 4143153"/>
              <a:gd name="connsiteX28" fmla="*/ 0 w 6048785"/>
              <a:gd name="connsiteY28" fmla="*/ 1228503 h 4143153"/>
              <a:gd name="connsiteX29" fmla="*/ 0 w 6048785"/>
              <a:gd name="connsiteY29" fmla="*/ 1085073 h 4143153"/>
              <a:gd name="connsiteX30" fmla="*/ 0 w 6048785"/>
              <a:gd name="connsiteY30" fmla="*/ 1058721 h 4143153"/>
              <a:gd name="connsiteX31" fmla="*/ 0 w 6048785"/>
              <a:gd name="connsiteY31" fmla="*/ 952655 h 4143153"/>
              <a:gd name="connsiteX32" fmla="*/ 0 w 6048785"/>
              <a:gd name="connsiteY32" fmla="*/ 951862 h 4143153"/>
              <a:gd name="connsiteX33" fmla="*/ 0 w 6048785"/>
              <a:gd name="connsiteY33" fmla="*/ 833468 h 4143153"/>
              <a:gd name="connsiteX34" fmla="*/ 0 w 6048785"/>
              <a:gd name="connsiteY34" fmla="*/ 828840 h 4143153"/>
              <a:gd name="connsiteX35" fmla="*/ 0 w 6048785"/>
              <a:gd name="connsiteY35" fmla="*/ 726814 h 4143153"/>
              <a:gd name="connsiteX36" fmla="*/ 0 w 6048785"/>
              <a:gd name="connsiteY36" fmla="*/ 688517 h 4143153"/>
              <a:gd name="connsiteX37" fmla="*/ 0 w 6048785"/>
              <a:gd name="connsiteY37" fmla="*/ 631998 h 4143153"/>
              <a:gd name="connsiteX38" fmla="*/ 0 w 6048785"/>
              <a:gd name="connsiteY38" fmla="*/ 529754 h 4143153"/>
              <a:gd name="connsiteX39" fmla="*/ 0 w 6048785"/>
              <a:gd name="connsiteY39" fmla="*/ 475093 h 4143153"/>
              <a:gd name="connsiteX40" fmla="*/ 0 w 6048785"/>
              <a:gd name="connsiteY40" fmla="*/ 351413 h 4143153"/>
              <a:gd name="connsiteX41" fmla="*/ 0 w 6048785"/>
              <a:gd name="connsiteY41" fmla="*/ 311109 h 4143153"/>
              <a:gd name="connsiteX42" fmla="*/ 0 w 6048785"/>
              <a:gd name="connsiteY42" fmla="*/ 156641 h 4143153"/>
              <a:gd name="connsiteX43" fmla="*/ 832114 w 6048785"/>
              <a:gd name="connsiteY43" fmla="*/ 61160 h 4143153"/>
              <a:gd name="connsiteX44" fmla="*/ 1108528 w 6048785"/>
              <a:gd name="connsiteY44" fmla="*/ 38207 h 4143153"/>
              <a:gd name="connsiteX45" fmla="*/ 1165665 w 6048785"/>
              <a:gd name="connsiteY45" fmla="*/ 33908 h 4143153"/>
              <a:gd name="connsiteX46" fmla="*/ 2227385 w 6048785"/>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4466"/>
              <a:gd name="connsiteY0" fmla="*/ 0 h 4143153"/>
              <a:gd name="connsiteX1" fmla="*/ 2442246 w 6044466"/>
              <a:gd name="connsiteY1" fmla="*/ 2597 h 4143153"/>
              <a:gd name="connsiteX2" fmla="*/ 5615266 w 6044466"/>
              <a:gd name="connsiteY2" fmla="*/ 354124 h 4143153"/>
              <a:gd name="connsiteX3" fmla="*/ 6044466 w 6044466"/>
              <a:gd name="connsiteY3" fmla="*/ 388431 h 4143153"/>
              <a:gd name="connsiteX4" fmla="*/ 6044400 w 6044466"/>
              <a:gd name="connsiteY4" fmla="*/ 511023 h 4143153"/>
              <a:gd name="connsiteX5" fmla="*/ 6044400 w 6044466"/>
              <a:gd name="connsiteY5" fmla="*/ 1228503 h 4143153"/>
              <a:gd name="connsiteX6" fmla="*/ 6044400 w 6044466"/>
              <a:gd name="connsiteY6" fmla="*/ 1254629 h 4143153"/>
              <a:gd name="connsiteX7" fmla="*/ 6044400 w 6044466"/>
              <a:gd name="connsiteY7" fmla="*/ 1302554 h 4143153"/>
              <a:gd name="connsiteX8" fmla="*/ 6044400 w 6044466"/>
              <a:gd name="connsiteY8" fmla="*/ 1339878 h 4143153"/>
              <a:gd name="connsiteX9" fmla="*/ 6044400 w 6044466"/>
              <a:gd name="connsiteY9" fmla="*/ 1367926 h 4143153"/>
              <a:gd name="connsiteX10" fmla="*/ 6044400 w 6044466"/>
              <a:gd name="connsiteY10" fmla="*/ 1388023 h 4143153"/>
              <a:gd name="connsiteX11" fmla="*/ 6044400 w 6044466"/>
              <a:gd name="connsiteY11" fmla="*/ 1401495 h 4143153"/>
              <a:gd name="connsiteX12" fmla="*/ 6044400 w 6044466"/>
              <a:gd name="connsiteY12" fmla="*/ 1413863 h 4143153"/>
              <a:gd name="connsiteX13" fmla="*/ 6044400 w 6044466"/>
              <a:gd name="connsiteY13" fmla="*/ 1415630 h 4143153"/>
              <a:gd name="connsiteX14" fmla="*/ 6044400 w 6044466"/>
              <a:gd name="connsiteY14" fmla="*/ 4143153 h 4143153"/>
              <a:gd name="connsiteX15" fmla="*/ 0 w 6044466"/>
              <a:gd name="connsiteY15" fmla="*/ 4143153 h 4143153"/>
              <a:gd name="connsiteX16" fmla="*/ 0 w 6044466"/>
              <a:gd name="connsiteY16" fmla="*/ 3959500 h 4143153"/>
              <a:gd name="connsiteX17" fmla="*/ 0 w 6044466"/>
              <a:gd name="connsiteY17" fmla="*/ 1494981 h 4143153"/>
              <a:gd name="connsiteX18" fmla="*/ 0 w 6044466"/>
              <a:gd name="connsiteY18" fmla="*/ 1492359 h 4143153"/>
              <a:gd name="connsiteX19" fmla="*/ 0 w 6044466"/>
              <a:gd name="connsiteY19" fmla="*/ 1486131 h 4143153"/>
              <a:gd name="connsiteX20" fmla="*/ 1684243 w 6044466"/>
              <a:gd name="connsiteY20" fmla="*/ 2271145 h 4143153"/>
              <a:gd name="connsiteX21" fmla="*/ 1917876 w 6044466"/>
              <a:gd name="connsiteY21" fmla="*/ 2053203 h 4143153"/>
              <a:gd name="connsiteX22" fmla="*/ 2134576 w 6044466"/>
              <a:gd name="connsiteY22" fmla="*/ 1868604 h 4143153"/>
              <a:gd name="connsiteX23" fmla="*/ 2251663 w 6044466"/>
              <a:gd name="connsiteY23" fmla="*/ 1780374 h 4143153"/>
              <a:gd name="connsiteX24" fmla="*/ 2368749 w 6044466"/>
              <a:gd name="connsiteY24" fmla="*/ 1692940 h 4143153"/>
              <a:gd name="connsiteX25" fmla="*/ 0 w 6044466"/>
              <a:gd name="connsiteY25" fmla="*/ 1327153 h 4143153"/>
              <a:gd name="connsiteX26" fmla="*/ 0 w 6044466"/>
              <a:gd name="connsiteY26" fmla="*/ 1256023 h 4143153"/>
              <a:gd name="connsiteX27" fmla="*/ 0 w 6044466"/>
              <a:gd name="connsiteY27" fmla="*/ 1231417 h 4143153"/>
              <a:gd name="connsiteX28" fmla="*/ 0 w 6044466"/>
              <a:gd name="connsiteY28" fmla="*/ 1228503 h 4143153"/>
              <a:gd name="connsiteX29" fmla="*/ 0 w 6044466"/>
              <a:gd name="connsiteY29" fmla="*/ 1085073 h 4143153"/>
              <a:gd name="connsiteX30" fmla="*/ 0 w 6044466"/>
              <a:gd name="connsiteY30" fmla="*/ 1058721 h 4143153"/>
              <a:gd name="connsiteX31" fmla="*/ 0 w 6044466"/>
              <a:gd name="connsiteY31" fmla="*/ 952655 h 4143153"/>
              <a:gd name="connsiteX32" fmla="*/ 0 w 6044466"/>
              <a:gd name="connsiteY32" fmla="*/ 951862 h 4143153"/>
              <a:gd name="connsiteX33" fmla="*/ 0 w 6044466"/>
              <a:gd name="connsiteY33" fmla="*/ 833468 h 4143153"/>
              <a:gd name="connsiteX34" fmla="*/ 0 w 6044466"/>
              <a:gd name="connsiteY34" fmla="*/ 828840 h 4143153"/>
              <a:gd name="connsiteX35" fmla="*/ 0 w 6044466"/>
              <a:gd name="connsiteY35" fmla="*/ 726814 h 4143153"/>
              <a:gd name="connsiteX36" fmla="*/ 0 w 6044466"/>
              <a:gd name="connsiteY36" fmla="*/ 688517 h 4143153"/>
              <a:gd name="connsiteX37" fmla="*/ 0 w 6044466"/>
              <a:gd name="connsiteY37" fmla="*/ 631998 h 4143153"/>
              <a:gd name="connsiteX38" fmla="*/ 0 w 6044466"/>
              <a:gd name="connsiteY38" fmla="*/ 529754 h 4143153"/>
              <a:gd name="connsiteX39" fmla="*/ 0 w 6044466"/>
              <a:gd name="connsiteY39" fmla="*/ 475093 h 4143153"/>
              <a:gd name="connsiteX40" fmla="*/ 0 w 6044466"/>
              <a:gd name="connsiteY40" fmla="*/ 351413 h 4143153"/>
              <a:gd name="connsiteX41" fmla="*/ 0 w 6044466"/>
              <a:gd name="connsiteY41" fmla="*/ 311109 h 4143153"/>
              <a:gd name="connsiteX42" fmla="*/ 0 w 6044466"/>
              <a:gd name="connsiteY42" fmla="*/ 156641 h 4143153"/>
              <a:gd name="connsiteX43" fmla="*/ 832114 w 6044466"/>
              <a:gd name="connsiteY43" fmla="*/ 61160 h 4143153"/>
              <a:gd name="connsiteX44" fmla="*/ 1108528 w 6044466"/>
              <a:gd name="connsiteY44" fmla="*/ 38207 h 4143153"/>
              <a:gd name="connsiteX45" fmla="*/ 1165665 w 6044466"/>
              <a:gd name="connsiteY45" fmla="*/ 33908 h 4143153"/>
              <a:gd name="connsiteX46" fmla="*/ 2227385 w 6044466"/>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172"/>
              <a:gd name="connsiteY0" fmla="*/ 0 h 4143153"/>
              <a:gd name="connsiteX1" fmla="*/ 2442246 w 6093172"/>
              <a:gd name="connsiteY1" fmla="*/ 2597 h 4143153"/>
              <a:gd name="connsiteX2" fmla="*/ 5386666 w 6093172"/>
              <a:gd name="connsiteY2" fmla="*/ 430379 h 4143153"/>
              <a:gd name="connsiteX3" fmla="*/ 6044466 w 6093172"/>
              <a:gd name="connsiteY3" fmla="*/ 388431 h 4143153"/>
              <a:gd name="connsiteX4" fmla="*/ 6044400 w 6093172"/>
              <a:gd name="connsiteY4" fmla="*/ 511023 h 4143153"/>
              <a:gd name="connsiteX5" fmla="*/ 6044400 w 6093172"/>
              <a:gd name="connsiteY5" fmla="*/ 1228503 h 4143153"/>
              <a:gd name="connsiteX6" fmla="*/ 6044400 w 6093172"/>
              <a:gd name="connsiteY6" fmla="*/ 1254629 h 4143153"/>
              <a:gd name="connsiteX7" fmla="*/ 6044400 w 6093172"/>
              <a:gd name="connsiteY7" fmla="*/ 1302554 h 4143153"/>
              <a:gd name="connsiteX8" fmla="*/ 6044400 w 6093172"/>
              <a:gd name="connsiteY8" fmla="*/ 1339878 h 4143153"/>
              <a:gd name="connsiteX9" fmla="*/ 6044400 w 6093172"/>
              <a:gd name="connsiteY9" fmla="*/ 1367926 h 4143153"/>
              <a:gd name="connsiteX10" fmla="*/ 6044400 w 6093172"/>
              <a:gd name="connsiteY10" fmla="*/ 1388023 h 4143153"/>
              <a:gd name="connsiteX11" fmla="*/ 6044400 w 6093172"/>
              <a:gd name="connsiteY11" fmla="*/ 1401495 h 4143153"/>
              <a:gd name="connsiteX12" fmla="*/ 6044400 w 6093172"/>
              <a:gd name="connsiteY12" fmla="*/ 1413863 h 4143153"/>
              <a:gd name="connsiteX13" fmla="*/ 6044400 w 6093172"/>
              <a:gd name="connsiteY13" fmla="*/ 1415630 h 4143153"/>
              <a:gd name="connsiteX14" fmla="*/ 6044400 w 6093172"/>
              <a:gd name="connsiteY14" fmla="*/ 4143153 h 4143153"/>
              <a:gd name="connsiteX15" fmla="*/ 0 w 6093172"/>
              <a:gd name="connsiteY15" fmla="*/ 4143153 h 4143153"/>
              <a:gd name="connsiteX16" fmla="*/ 0 w 6093172"/>
              <a:gd name="connsiteY16" fmla="*/ 3959500 h 4143153"/>
              <a:gd name="connsiteX17" fmla="*/ 0 w 6093172"/>
              <a:gd name="connsiteY17" fmla="*/ 1494981 h 4143153"/>
              <a:gd name="connsiteX18" fmla="*/ 0 w 6093172"/>
              <a:gd name="connsiteY18" fmla="*/ 1492359 h 4143153"/>
              <a:gd name="connsiteX19" fmla="*/ 0 w 6093172"/>
              <a:gd name="connsiteY19" fmla="*/ 1486131 h 4143153"/>
              <a:gd name="connsiteX20" fmla="*/ 1684243 w 6093172"/>
              <a:gd name="connsiteY20" fmla="*/ 2271145 h 4143153"/>
              <a:gd name="connsiteX21" fmla="*/ 1917876 w 6093172"/>
              <a:gd name="connsiteY21" fmla="*/ 2053203 h 4143153"/>
              <a:gd name="connsiteX22" fmla="*/ 2134576 w 6093172"/>
              <a:gd name="connsiteY22" fmla="*/ 1868604 h 4143153"/>
              <a:gd name="connsiteX23" fmla="*/ 2251663 w 6093172"/>
              <a:gd name="connsiteY23" fmla="*/ 1780374 h 4143153"/>
              <a:gd name="connsiteX24" fmla="*/ 2368749 w 6093172"/>
              <a:gd name="connsiteY24" fmla="*/ 1692940 h 4143153"/>
              <a:gd name="connsiteX25" fmla="*/ 0 w 6093172"/>
              <a:gd name="connsiteY25" fmla="*/ 1327153 h 4143153"/>
              <a:gd name="connsiteX26" fmla="*/ 0 w 6093172"/>
              <a:gd name="connsiteY26" fmla="*/ 1256023 h 4143153"/>
              <a:gd name="connsiteX27" fmla="*/ 0 w 6093172"/>
              <a:gd name="connsiteY27" fmla="*/ 1231417 h 4143153"/>
              <a:gd name="connsiteX28" fmla="*/ 0 w 6093172"/>
              <a:gd name="connsiteY28" fmla="*/ 1228503 h 4143153"/>
              <a:gd name="connsiteX29" fmla="*/ 0 w 6093172"/>
              <a:gd name="connsiteY29" fmla="*/ 1085073 h 4143153"/>
              <a:gd name="connsiteX30" fmla="*/ 0 w 6093172"/>
              <a:gd name="connsiteY30" fmla="*/ 1058721 h 4143153"/>
              <a:gd name="connsiteX31" fmla="*/ 0 w 6093172"/>
              <a:gd name="connsiteY31" fmla="*/ 952655 h 4143153"/>
              <a:gd name="connsiteX32" fmla="*/ 0 w 6093172"/>
              <a:gd name="connsiteY32" fmla="*/ 951862 h 4143153"/>
              <a:gd name="connsiteX33" fmla="*/ 0 w 6093172"/>
              <a:gd name="connsiteY33" fmla="*/ 833468 h 4143153"/>
              <a:gd name="connsiteX34" fmla="*/ 0 w 6093172"/>
              <a:gd name="connsiteY34" fmla="*/ 828840 h 4143153"/>
              <a:gd name="connsiteX35" fmla="*/ 0 w 6093172"/>
              <a:gd name="connsiteY35" fmla="*/ 726814 h 4143153"/>
              <a:gd name="connsiteX36" fmla="*/ 0 w 6093172"/>
              <a:gd name="connsiteY36" fmla="*/ 688517 h 4143153"/>
              <a:gd name="connsiteX37" fmla="*/ 0 w 6093172"/>
              <a:gd name="connsiteY37" fmla="*/ 631998 h 4143153"/>
              <a:gd name="connsiteX38" fmla="*/ 0 w 6093172"/>
              <a:gd name="connsiteY38" fmla="*/ 529754 h 4143153"/>
              <a:gd name="connsiteX39" fmla="*/ 0 w 6093172"/>
              <a:gd name="connsiteY39" fmla="*/ 475093 h 4143153"/>
              <a:gd name="connsiteX40" fmla="*/ 0 w 6093172"/>
              <a:gd name="connsiteY40" fmla="*/ 351413 h 4143153"/>
              <a:gd name="connsiteX41" fmla="*/ 0 w 6093172"/>
              <a:gd name="connsiteY41" fmla="*/ 311109 h 4143153"/>
              <a:gd name="connsiteX42" fmla="*/ 0 w 6093172"/>
              <a:gd name="connsiteY42" fmla="*/ 156641 h 4143153"/>
              <a:gd name="connsiteX43" fmla="*/ 832114 w 6093172"/>
              <a:gd name="connsiteY43" fmla="*/ 61160 h 4143153"/>
              <a:gd name="connsiteX44" fmla="*/ 1108528 w 6093172"/>
              <a:gd name="connsiteY44" fmla="*/ 38207 h 4143153"/>
              <a:gd name="connsiteX45" fmla="*/ 1165665 w 6093172"/>
              <a:gd name="connsiteY45" fmla="*/ 33908 h 4143153"/>
              <a:gd name="connsiteX46" fmla="*/ 2227385 w 6093172"/>
              <a:gd name="connsiteY46"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88154"/>
              <a:gd name="connsiteY0" fmla="*/ 0 h 4143153"/>
              <a:gd name="connsiteX1" fmla="*/ 2442246 w 6088154"/>
              <a:gd name="connsiteY1" fmla="*/ 2597 h 4143153"/>
              <a:gd name="connsiteX2" fmla="*/ 4770167 w 6088154"/>
              <a:gd name="connsiteY2" fmla="*/ 467173 h 4143153"/>
              <a:gd name="connsiteX3" fmla="*/ 5454400 w 6088154"/>
              <a:gd name="connsiteY3" fmla="*/ 596151 h 4143153"/>
              <a:gd name="connsiteX4" fmla="*/ 6044466 w 6088154"/>
              <a:gd name="connsiteY4" fmla="*/ 388431 h 4143153"/>
              <a:gd name="connsiteX5" fmla="*/ 6044400 w 6088154"/>
              <a:gd name="connsiteY5" fmla="*/ 511023 h 4143153"/>
              <a:gd name="connsiteX6" fmla="*/ 6044400 w 6088154"/>
              <a:gd name="connsiteY6" fmla="*/ 1228503 h 4143153"/>
              <a:gd name="connsiteX7" fmla="*/ 6044400 w 6088154"/>
              <a:gd name="connsiteY7" fmla="*/ 1254629 h 4143153"/>
              <a:gd name="connsiteX8" fmla="*/ 6044400 w 6088154"/>
              <a:gd name="connsiteY8" fmla="*/ 1302554 h 4143153"/>
              <a:gd name="connsiteX9" fmla="*/ 6044400 w 6088154"/>
              <a:gd name="connsiteY9" fmla="*/ 1339878 h 4143153"/>
              <a:gd name="connsiteX10" fmla="*/ 6044400 w 6088154"/>
              <a:gd name="connsiteY10" fmla="*/ 1367926 h 4143153"/>
              <a:gd name="connsiteX11" fmla="*/ 6044400 w 6088154"/>
              <a:gd name="connsiteY11" fmla="*/ 1388023 h 4143153"/>
              <a:gd name="connsiteX12" fmla="*/ 6044400 w 6088154"/>
              <a:gd name="connsiteY12" fmla="*/ 1401495 h 4143153"/>
              <a:gd name="connsiteX13" fmla="*/ 6044400 w 6088154"/>
              <a:gd name="connsiteY13" fmla="*/ 1413863 h 4143153"/>
              <a:gd name="connsiteX14" fmla="*/ 6044400 w 6088154"/>
              <a:gd name="connsiteY14" fmla="*/ 1415630 h 4143153"/>
              <a:gd name="connsiteX15" fmla="*/ 6044400 w 6088154"/>
              <a:gd name="connsiteY15" fmla="*/ 4143153 h 4143153"/>
              <a:gd name="connsiteX16" fmla="*/ 0 w 6088154"/>
              <a:gd name="connsiteY16" fmla="*/ 4143153 h 4143153"/>
              <a:gd name="connsiteX17" fmla="*/ 0 w 6088154"/>
              <a:gd name="connsiteY17" fmla="*/ 3959500 h 4143153"/>
              <a:gd name="connsiteX18" fmla="*/ 0 w 6088154"/>
              <a:gd name="connsiteY18" fmla="*/ 1494981 h 4143153"/>
              <a:gd name="connsiteX19" fmla="*/ 0 w 6088154"/>
              <a:gd name="connsiteY19" fmla="*/ 1492359 h 4143153"/>
              <a:gd name="connsiteX20" fmla="*/ 0 w 6088154"/>
              <a:gd name="connsiteY20" fmla="*/ 1486131 h 4143153"/>
              <a:gd name="connsiteX21" fmla="*/ 1684243 w 6088154"/>
              <a:gd name="connsiteY21" fmla="*/ 2271145 h 4143153"/>
              <a:gd name="connsiteX22" fmla="*/ 1917876 w 6088154"/>
              <a:gd name="connsiteY22" fmla="*/ 2053203 h 4143153"/>
              <a:gd name="connsiteX23" fmla="*/ 2134576 w 6088154"/>
              <a:gd name="connsiteY23" fmla="*/ 1868604 h 4143153"/>
              <a:gd name="connsiteX24" fmla="*/ 2251663 w 6088154"/>
              <a:gd name="connsiteY24" fmla="*/ 1780374 h 4143153"/>
              <a:gd name="connsiteX25" fmla="*/ 2368749 w 6088154"/>
              <a:gd name="connsiteY25" fmla="*/ 1692940 h 4143153"/>
              <a:gd name="connsiteX26" fmla="*/ 0 w 6088154"/>
              <a:gd name="connsiteY26" fmla="*/ 1327153 h 4143153"/>
              <a:gd name="connsiteX27" fmla="*/ 0 w 6088154"/>
              <a:gd name="connsiteY27" fmla="*/ 1256023 h 4143153"/>
              <a:gd name="connsiteX28" fmla="*/ 0 w 6088154"/>
              <a:gd name="connsiteY28" fmla="*/ 1231417 h 4143153"/>
              <a:gd name="connsiteX29" fmla="*/ 0 w 6088154"/>
              <a:gd name="connsiteY29" fmla="*/ 1228503 h 4143153"/>
              <a:gd name="connsiteX30" fmla="*/ 0 w 6088154"/>
              <a:gd name="connsiteY30" fmla="*/ 1085073 h 4143153"/>
              <a:gd name="connsiteX31" fmla="*/ 0 w 6088154"/>
              <a:gd name="connsiteY31" fmla="*/ 1058721 h 4143153"/>
              <a:gd name="connsiteX32" fmla="*/ 0 w 6088154"/>
              <a:gd name="connsiteY32" fmla="*/ 952655 h 4143153"/>
              <a:gd name="connsiteX33" fmla="*/ 0 w 6088154"/>
              <a:gd name="connsiteY33" fmla="*/ 951862 h 4143153"/>
              <a:gd name="connsiteX34" fmla="*/ 0 w 6088154"/>
              <a:gd name="connsiteY34" fmla="*/ 833468 h 4143153"/>
              <a:gd name="connsiteX35" fmla="*/ 0 w 6088154"/>
              <a:gd name="connsiteY35" fmla="*/ 828840 h 4143153"/>
              <a:gd name="connsiteX36" fmla="*/ 0 w 6088154"/>
              <a:gd name="connsiteY36" fmla="*/ 726814 h 4143153"/>
              <a:gd name="connsiteX37" fmla="*/ 0 w 6088154"/>
              <a:gd name="connsiteY37" fmla="*/ 688517 h 4143153"/>
              <a:gd name="connsiteX38" fmla="*/ 0 w 6088154"/>
              <a:gd name="connsiteY38" fmla="*/ 631998 h 4143153"/>
              <a:gd name="connsiteX39" fmla="*/ 0 w 6088154"/>
              <a:gd name="connsiteY39" fmla="*/ 529754 h 4143153"/>
              <a:gd name="connsiteX40" fmla="*/ 0 w 6088154"/>
              <a:gd name="connsiteY40" fmla="*/ 475093 h 4143153"/>
              <a:gd name="connsiteX41" fmla="*/ 0 w 6088154"/>
              <a:gd name="connsiteY41" fmla="*/ 351413 h 4143153"/>
              <a:gd name="connsiteX42" fmla="*/ 0 w 6088154"/>
              <a:gd name="connsiteY42" fmla="*/ 311109 h 4143153"/>
              <a:gd name="connsiteX43" fmla="*/ 0 w 6088154"/>
              <a:gd name="connsiteY43" fmla="*/ 156641 h 4143153"/>
              <a:gd name="connsiteX44" fmla="*/ 832114 w 6088154"/>
              <a:gd name="connsiteY44" fmla="*/ 61160 h 4143153"/>
              <a:gd name="connsiteX45" fmla="*/ 1108528 w 6088154"/>
              <a:gd name="connsiteY45" fmla="*/ 38207 h 4143153"/>
              <a:gd name="connsiteX46" fmla="*/ 1165665 w 6088154"/>
              <a:gd name="connsiteY46" fmla="*/ 33908 h 4143153"/>
              <a:gd name="connsiteX47" fmla="*/ 2227385 w 6088154"/>
              <a:gd name="connsiteY47" fmla="*/ 0 h 4143153"/>
              <a:gd name="connsiteX0" fmla="*/ 2227385 w 6068854"/>
              <a:gd name="connsiteY0" fmla="*/ 0 h 4143153"/>
              <a:gd name="connsiteX1" fmla="*/ 2442246 w 6068854"/>
              <a:gd name="connsiteY1" fmla="*/ 2597 h 4143153"/>
              <a:gd name="connsiteX2" fmla="*/ 4770167 w 6068854"/>
              <a:gd name="connsiteY2" fmla="*/ 467173 h 4143153"/>
              <a:gd name="connsiteX3" fmla="*/ 5454400 w 6068854"/>
              <a:gd name="connsiteY3" fmla="*/ 596151 h 4143153"/>
              <a:gd name="connsiteX4" fmla="*/ 5714266 w 6068854"/>
              <a:gd name="connsiteY4" fmla="*/ 166297 h 4143153"/>
              <a:gd name="connsiteX5" fmla="*/ 6044400 w 6068854"/>
              <a:gd name="connsiteY5" fmla="*/ 511023 h 4143153"/>
              <a:gd name="connsiteX6" fmla="*/ 6044400 w 6068854"/>
              <a:gd name="connsiteY6" fmla="*/ 1228503 h 4143153"/>
              <a:gd name="connsiteX7" fmla="*/ 6044400 w 6068854"/>
              <a:gd name="connsiteY7" fmla="*/ 1254629 h 4143153"/>
              <a:gd name="connsiteX8" fmla="*/ 6044400 w 6068854"/>
              <a:gd name="connsiteY8" fmla="*/ 1302554 h 4143153"/>
              <a:gd name="connsiteX9" fmla="*/ 6044400 w 6068854"/>
              <a:gd name="connsiteY9" fmla="*/ 1339878 h 4143153"/>
              <a:gd name="connsiteX10" fmla="*/ 6044400 w 6068854"/>
              <a:gd name="connsiteY10" fmla="*/ 1367926 h 4143153"/>
              <a:gd name="connsiteX11" fmla="*/ 6044400 w 6068854"/>
              <a:gd name="connsiteY11" fmla="*/ 1388023 h 4143153"/>
              <a:gd name="connsiteX12" fmla="*/ 6044400 w 6068854"/>
              <a:gd name="connsiteY12" fmla="*/ 1401495 h 4143153"/>
              <a:gd name="connsiteX13" fmla="*/ 6044400 w 6068854"/>
              <a:gd name="connsiteY13" fmla="*/ 1413863 h 4143153"/>
              <a:gd name="connsiteX14" fmla="*/ 6044400 w 6068854"/>
              <a:gd name="connsiteY14" fmla="*/ 1415630 h 4143153"/>
              <a:gd name="connsiteX15" fmla="*/ 6044400 w 6068854"/>
              <a:gd name="connsiteY15" fmla="*/ 4143153 h 4143153"/>
              <a:gd name="connsiteX16" fmla="*/ 0 w 6068854"/>
              <a:gd name="connsiteY16" fmla="*/ 4143153 h 4143153"/>
              <a:gd name="connsiteX17" fmla="*/ 0 w 6068854"/>
              <a:gd name="connsiteY17" fmla="*/ 3959500 h 4143153"/>
              <a:gd name="connsiteX18" fmla="*/ 0 w 6068854"/>
              <a:gd name="connsiteY18" fmla="*/ 1494981 h 4143153"/>
              <a:gd name="connsiteX19" fmla="*/ 0 w 6068854"/>
              <a:gd name="connsiteY19" fmla="*/ 1492359 h 4143153"/>
              <a:gd name="connsiteX20" fmla="*/ 0 w 6068854"/>
              <a:gd name="connsiteY20" fmla="*/ 1486131 h 4143153"/>
              <a:gd name="connsiteX21" fmla="*/ 1684243 w 6068854"/>
              <a:gd name="connsiteY21" fmla="*/ 2271145 h 4143153"/>
              <a:gd name="connsiteX22" fmla="*/ 1917876 w 6068854"/>
              <a:gd name="connsiteY22" fmla="*/ 2053203 h 4143153"/>
              <a:gd name="connsiteX23" fmla="*/ 2134576 w 6068854"/>
              <a:gd name="connsiteY23" fmla="*/ 1868604 h 4143153"/>
              <a:gd name="connsiteX24" fmla="*/ 2251663 w 6068854"/>
              <a:gd name="connsiteY24" fmla="*/ 1780374 h 4143153"/>
              <a:gd name="connsiteX25" fmla="*/ 2368749 w 6068854"/>
              <a:gd name="connsiteY25" fmla="*/ 1692940 h 4143153"/>
              <a:gd name="connsiteX26" fmla="*/ 0 w 6068854"/>
              <a:gd name="connsiteY26" fmla="*/ 1327153 h 4143153"/>
              <a:gd name="connsiteX27" fmla="*/ 0 w 6068854"/>
              <a:gd name="connsiteY27" fmla="*/ 1256023 h 4143153"/>
              <a:gd name="connsiteX28" fmla="*/ 0 w 6068854"/>
              <a:gd name="connsiteY28" fmla="*/ 1231417 h 4143153"/>
              <a:gd name="connsiteX29" fmla="*/ 0 w 6068854"/>
              <a:gd name="connsiteY29" fmla="*/ 1228503 h 4143153"/>
              <a:gd name="connsiteX30" fmla="*/ 0 w 6068854"/>
              <a:gd name="connsiteY30" fmla="*/ 1085073 h 4143153"/>
              <a:gd name="connsiteX31" fmla="*/ 0 w 6068854"/>
              <a:gd name="connsiteY31" fmla="*/ 1058721 h 4143153"/>
              <a:gd name="connsiteX32" fmla="*/ 0 w 6068854"/>
              <a:gd name="connsiteY32" fmla="*/ 952655 h 4143153"/>
              <a:gd name="connsiteX33" fmla="*/ 0 w 6068854"/>
              <a:gd name="connsiteY33" fmla="*/ 951862 h 4143153"/>
              <a:gd name="connsiteX34" fmla="*/ 0 w 6068854"/>
              <a:gd name="connsiteY34" fmla="*/ 833468 h 4143153"/>
              <a:gd name="connsiteX35" fmla="*/ 0 w 6068854"/>
              <a:gd name="connsiteY35" fmla="*/ 828840 h 4143153"/>
              <a:gd name="connsiteX36" fmla="*/ 0 w 6068854"/>
              <a:gd name="connsiteY36" fmla="*/ 726814 h 4143153"/>
              <a:gd name="connsiteX37" fmla="*/ 0 w 6068854"/>
              <a:gd name="connsiteY37" fmla="*/ 688517 h 4143153"/>
              <a:gd name="connsiteX38" fmla="*/ 0 w 6068854"/>
              <a:gd name="connsiteY38" fmla="*/ 631998 h 4143153"/>
              <a:gd name="connsiteX39" fmla="*/ 0 w 6068854"/>
              <a:gd name="connsiteY39" fmla="*/ 529754 h 4143153"/>
              <a:gd name="connsiteX40" fmla="*/ 0 w 6068854"/>
              <a:gd name="connsiteY40" fmla="*/ 475093 h 4143153"/>
              <a:gd name="connsiteX41" fmla="*/ 0 w 6068854"/>
              <a:gd name="connsiteY41" fmla="*/ 351413 h 4143153"/>
              <a:gd name="connsiteX42" fmla="*/ 0 w 6068854"/>
              <a:gd name="connsiteY42" fmla="*/ 311109 h 4143153"/>
              <a:gd name="connsiteX43" fmla="*/ 0 w 6068854"/>
              <a:gd name="connsiteY43" fmla="*/ 156641 h 4143153"/>
              <a:gd name="connsiteX44" fmla="*/ 832114 w 6068854"/>
              <a:gd name="connsiteY44" fmla="*/ 61160 h 4143153"/>
              <a:gd name="connsiteX45" fmla="*/ 1108528 w 6068854"/>
              <a:gd name="connsiteY45" fmla="*/ 38207 h 4143153"/>
              <a:gd name="connsiteX46" fmla="*/ 1165665 w 6068854"/>
              <a:gd name="connsiteY46" fmla="*/ 33908 h 4143153"/>
              <a:gd name="connsiteX47" fmla="*/ 2227385 w 6068854"/>
              <a:gd name="connsiteY47" fmla="*/ 0 h 4143153"/>
              <a:gd name="connsiteX0" fmla="*/ 2227385 w 6050247"/>
              <a:gd name="connsiteY0" fmla="*/ 0 h 4143153"/>
              <a:gd name="connsiteX1" fmla="*/ 2442246 w 6050247"/>
              <a:gd name="connsiteY1" fmla="*/ 2597 h 4143153"/>
              <a:gd name="connsiteX2" fmla="*/ 4770167 w 6050247"/>
              <a:gd name="connsiteY2" fmla="*/ 467173 h 4143153"/>
              <a:gd name="connsiteX3" fmla="*/ 5454400 w 6050247"/>
              <a:gd name="connsiteY3" fmla="*/ 596151 h 4143153"/>
              <a:gd name="connsiteX4" fmla="*/ 5714266 w 6050247"/>
              <a:gd name="connsiteY4" fmla="*/ 166297 h 4143153"/>
              <a:gd name="connsiteX5" fmla="*/ 6014766 w 6050247"/>
              <a:gd name="connsiteY5" fmla="*/ 385037 h 4143153"/>
              <a:gd name="connsiteX6" fmla="*/ 6044400 w 6050247"/>
              <a:gd name="connsiteY6" fmla="*/ 1228503 h 4143153"/>
              <a:gd name="connsiteX7" fmla="*/ 6044400 w 6050247"/>
              <a:gd name="connsiteY7" fmla="*/ 1254629 h 4143153"/>
              <a:gd name="connsiteX8" fmla="*/ 6044400 w 6050247"/>
              <a:gd name="connsiteY8" fmla="*/ 1302554 h 4143153"/>
              <a:gd name="connsiteX9" fmla="*/ 6044400 w 6050247"/>
              <a:gd name="connsiteY9" fmla="*/ 1339878 h 4143153"/>
              <a:gd name="connsiteX10" fmla="*/ 6044400 w 6050247"/>
              <a:gd name="connsiteY10" fmla="*/ 1367926 h 4143153"/>
              <a:gd name="connsiteX11" fmla="*/ 6044400 w 6050247"/>
              <a:gd name="connsiteY11" fmla="*/ 1388023 h 4143153"/>
              <a:gd name="connsiteX12" fmla="*/ 6044400 w 6050247"/>
              <a:gd name="connsiteY12" fmla="*/ 1401495 h 4143153"/>
              <a:gd name="connsiteX13" fmla="*/ 6044400 w 6050247"/>
              <a:gd name="connsiteY13" fmla="*/ 1413863 h 4143153"/>
              <a:gd name="connsiteX14" fmla="*/ 6044400 w 6050247"/>
              <a:gd name="connsiteY14" fmla="*/ 1415630 h 4143153"/>
              <a:gd name="connsiteX15" fmla="*/ 6044400 w 6050247"/>
              <a:gd name="connsiteY15" fmla="*/ 4143153 h 4143153"/>
              <a:gd name="connsiteX16" fmla="*/ 0 w 6050247"/>
              <a:gd name="connsiteY16" fmla="*/ 4143153 h 4143153"/>
              <a:gd name="connsiteX17" fmla="*/ 0 w 6050247"/>
              <a:gd name="connsiteY17" fmla="*/ 3959500 h 4143153"/>
              <a:gd name="connsiteX18" fmla="*/ 0 w 6050247"/>
              <a:gd name="connsiteY18" fmla="*/ 1494981 h 4143153"/>
              <a:gd name="connsiteX19" fmla="*/ 0 w 6050247"/>
              <a:gd name="connsiteY19" fmla="*/ 1492359 h 4143153"/>
              <a:gd name="connsiteX20" fmla="*/ 0 w 6050247"/>
              <a:gd name="connsiteY20" fmla="*/ 1486131 h 4143153"/>
              <a:gd name="connsiteX21" fmla="*/ 1684243 w 6050247"/>
              <a:gd name="connsiteY21" fmla="*/ 2271145 h 4143153"/>
              <a:gd name="connsiteX22" fmla="*/ 1917876 w 6050247"/>
              <a:gd name="connsiteY22" fmla="*/ 2053203 h 4143153"/>
              <a:gd name="connsiteX23" fmla="*/ 2134576 w 6050247"/>
              <a:gd name="connsiteY23" fmla="*/ 1868604 h 4143153"/>
              <a:gd name="connsiteX24" fmla="*/ 2251663 w 6050247"/>
              <a:gd name="connsiteY24" fmla="*/ 1780374 h 4143153"/>
              <a:gd name="connsiteX25" fmla="*/ 2368749 w 6050247"/>
              <a:gd name="connsiteY25" fmla="*/ 1692940 h 4143153"/>
              <a:gd name="connsiteX26" fmla="*/ 0 w 6050247"/>
              <a:gd name="connsiteY26" fmla="*/ 1327153 h 4143153"/>
              <a:gd name="connsiteX27" fmla="*/ 0 w 6050247"/>
              <a:gd name="connsiteY27" fmla="*/ 1256023 h 4143153"/>
              <a:gd name="connsiteX28" fmla="*/ 0 w 6050247"/>
              <a:gd name="connsiteY28" fmla="*/ 1231417 h 4143153"/>
              <a:gd name="connsiteX29" fmla="*/ 0 w 6050247"/>
              <a:gd name="connsiteY29" fmla="*/ 1228503 h 4143153"/>
              <a:gd name="connsiteX30" fmla="*/ 0 w 6050247"/>
              <a:gd name="connsiteY30" fmla="*/ 1085073 h 4143153"/>
              <a:gd name="connsiteX31" fmla="*/ 0 w 6050247"/>
              <a:gd name="connsiteY31" fmla="*/ 1058721 h 4143153"/>
              <a:gd name="connsiteX32" fmla="*/ 0 w 6050247"/>
              <a:gd name="connsiteY32" fmla="*/ 952655 h 4143153"/>
              <a:gd name="connsiteX33" fmla="*/ 0 w 6050247"/>
              <a:gd name="connsiteY33" fmla="*/ 951862 h 4143153"/>
              <a:gd name="connsiteX34" fmla="*/ 0 w 6050247"/>
              <a:gd name="connsiteY34" fmla="*/ 833468 h 4143153"/>
              <a:gd name="connsiteX35" fmla="*/ 0 w 6050247"/>
              <a:gd name="connsiteY35" fmla="*/ 828840 h 4143153"/>
              <a:gd name="connsiteX36" fmla="*/ 0 w 6050247"/>
              <a:gd name="connsiteY36" fmla="*/ 726814 h 4143153"/>
              <a:gd name="connsiteX37" fmla="*/ 0 w 6050247"/>
              <a:gd name="connsiteY37" fmla="*/ 688517 h 4143153"/>
              <a:gd name="connsiteX38" fmla="*/ 0 w 6050247"/>
              <a:gd name="connsiteY38" fmla="*/ 631998 h 4143153"/>
              <a:gd name="connsiteX39" fmla="*/ 0 w 6050247"/>
              <a:gd name="connsiteY39" fmla="*/ 529754 h 4143153"/>
              <a:gd name="connsiteX40" fmla="*/ 0 w 6050247"/>
              <a:gd name="connsiteY40" fmla="*/ 475093 h 4143153"/>
              <a:gd name="connsiteX41" fmla="*/ 0 w 6050247"/>
              <a:gd name="connsiteY41" fmla="*/ 351413 h 4143153"/>
              <a:gd name="connsiteX42" fmla="*/ 0 w 6050247"/>
              <a:gd name="connsiteY42" fmla="*/ 311109 h 4143153"/>
              <a:gd name="connsiteX43" fmla="*/ 0 w 6050247"/>
              <a:gd name="connsiteY43" fmla="*/ 156641 h 4143153"/>
              <a:gd name="connsiteX44" fmla="*/ 832114 w 6050247"/>
              <a:gd name="connsiteY44" fmla="*/ 61160 h 4143153"/>
              <a:gd name="connsiteX45" fmla="*/ 1108528 w 6050247"/>
              <a:gd name="connsiteY45" fmla="*/ 38207 h 4143153"/>
              <a:gd name="connsiteX46" fmla="*/ 1165665 w 6050247"/>
              <a:gd name="connsiteY46" fmla="*/ 33908 h 4143153"/>
              <a:gd name="connsiteX47" fmla="*/ 2227385 w 6050247"/>
              <a:gd name="connsiteY47"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714266 w 6044400"/>
              <a:gd name="connsiteY4" fmla="*/ 166297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0 w 6048699"/>
              <a:gd name="connsiteY26" fmla="*/ 1327153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4475285 w 6050425"/>
              <a:gd name="connsiteY0" fmla="*/ 586078 h 4109247"/>
              <a:gd name="connsiteX1" fmla="*/ 4639346 w 6050425"/>
              <a:gd name="connsiteY1" fmla="*/ 552206 h 4109247"/>
              <a:gd name="connsiteX2" fmla="*/ 4846367 w 6050425"/>
              <a:gd name="connsiteY2" fmla="*/ 506205 h 4109247"/>
              <a:gd name="connsiteX3" fmla="*/ 5121534 w 6050425"/>
              <a:gd name="connsiteY3" fmla="*/ 449842 h 4109247"/>
              <a:gd name="connsiteX4" fmla="*/ 5429000 w 6050425"/>
              <a:gd name="connsiteY4" fmla="*/ 409733 h 4109247"/>
              <a:gd name="connsiteX5" fmla="*/ 6048699 w 6050425"/>
              <a:gd name="connsiteY5" fmla="*/ 361154 h 4109247"/>
              <a:gd name="connsiteX6" fmla="*/ 6044400 w 6050425"/>
              <a:gd name="connsiteY6" fmla="*/ 1194595 h 4109247"/>
              <a:gd name="connsiteX7" fmla="*/ 6044400 w 6050425"/>
              <a:gd name="connsiteY7" fmla="*/ 1220721 h 4109247"/>
              <a:gd name="connsiteX8" fmla="*/ 6044400 w 6050425"/>
              <a:gd name="connsiteY8" fmla="*/ 1268646 h 4109247"/>
              <a:gd name="connsiteX9" fmla="*/ 6044400 w 6050425"/>
              <a:gd name="connsiteY9" fmla="*/ 1305970 h 4109247"/>
              <a:gd name="connsiteX10" fmla="*/ 6044400 w 6050425"/>
              <a:gd name="connsiteY10" fmla="*/ 1334018 h 4109247"/>
              <a:gd name="connsiteX11" fmla="*/ 6044400 w 6050425"/>
              <a:gd name="connsiteY11" fmla="*/ 1354115 h 4109247"/>
              <a:gd name="connsiteX12" fmla="*/ 6044400 w 6050425"/>
              <a:gd name="connsiteY12" fmla="*/ 1367587 h 4109247"/>
              <a:gd name="connsiteX13" fmla="*/ 6044400 w 6050425"/>
              <a:gd name="connsiteY13" fmla="*/ 1379955 h 4109247"/>
              <a:gd name="connsiteX14" fmla="*/ 6044400 w 6050425"/>
              <a:gd name="connsiteY14" fmla="*/ 1381722 h 4109247"/>
              <a:gd name="connsiteX15" fmla="*/ 6044400 w 6050425"/>
              <a:gd name="connsiteY15" fmla="*/ 4109245 h 4109247"/>
              <a:gd name="connsiteX16" fmla="*/ 5557568 w 6050425"/>
              <a:gd name="connsiteY16" fmla="*/ 4090191 h 4109247"/>
              <a:gd name="connsiteX17" fmla="*/ 0 w 6050425"/>
              <a:gd name="connsiteY17" fmla="*/ 4109245 h 4109247"/>
              <a:gd name="connsiteX18" fmla="*/ 0 w 6050425"/>
              <a:gd name="connsiteY18" fmla="*/ 3925592 h 4109247"/>
              <a:gd name="connsiteX19" fmla="*/ 0 w 6050425"/>
              <a:gd name="connsiteY19" fmla="*/ 1461073 h 4109247"/>
              <a:gd name="connsiteX20" fmla="*/ 0 w 6050425"/>
              <a:gd name="connsiteY20" fmla="*/ 1458451 h 4109247"/>
              <a:gd name="connsiteX21" fmla="*/ 0 w 6050425"/>
              <a:gd name="connsiteY21" fmla="*/ 1452223 h 4109247"/>
              <a:gd name="connsiteX22" fmla="*/ 1684243 w 6050425"/>
              <a:gd name="connsiteY22" fmla="*/ 2237237 h 4109247"/>
              <a:gd name="connsiteX23" fmla="*/ 1917876 w 6050425"/>
              <a:gd name="connsiteY23" fmla="*/ 2019295 h 4109247"/>
              <a:gd name="connsiteX24" fmla="*/ 2134576 w 6050425"/>
              <a:gd name="connsiteY24" fmla="*/ 1834696 h 4109247"/>
              <a:gd name="connsiteX25" fmla="*/ 2251663 w 6050425"/>
              <a:gd name="connsiteY25" fmla="*/ 1746466 h 4109247"/>
              <a:gd name="connsiteX26" fmla="*/ 2368749 w 6050425"/>
              <a:gd name="connsiteY26" fmla="*/ 1659032 h 4109247"/>
              <a:gd name="connsiteX27" fmla="*/ 2582334 w 6050425"/>
              <a:gd name="connsiteY27" fmla="*/ 1512064 h 4109247"/>
              <a:gd name="connsiteX28" fmla="*/ 2772833 w 6050425"/>
              <a:gd name="connsiteY28" fmla="*/ 1387887 h 4109247"/>
              <a:gd name="connsiteX29" fmla="*/ 2853266 w 6050425"/>
              <a:gd name="connsiteY29" fmla="*/ 1330126 h 4109247"/>
              <a:gd name="connsiteX30" fmla="*/ 2963334 w 6050425"/>
              <a:gd name="connsiteY30" fmla="*/ 1264219 h 4109247"/>
              <a:gd name="connsiteX31" fmla="*/ 0 w 6050425"/>
              <a:gd name="connsiteY31" fmla="*/ 1051165 h 4109247"/>
              <a:gd name="connsiteX32" fmla="*/ 0 w 6050425"/>
              <a:gd name="connsiteY32" fmla="*/ 1024813 h 4109247"/>
              <a:gd name="connsiteX33" fmla="*/ 0 w 6050425"/>
              <a:gd name="connsiteY33" fmla="*/ 918747 h 4109247"/>
              <a:gd name="connsiteX34" fmla="*/ 0 w 6050425"/>
              <a:gd name="connsiteY34" fmla="*/ 917954 h 4109247"/>
              <a:gd name="connsiteX35" fmla="*/ 0 w 6050425"/>
              <a:gd name="connsiteY35" fmla="*/ 799560 h 4109247"/>
              <a:gd name="connsiteX36" fmla="*/ 0 w 6050425"/>
              <a:gd name="connsiteY36" fmla="*/ 794932 h 4109247"/>
              <a:gd name="connsiteX37" fmla="*/ 0 w 6050425"/>
              <a:gd name="connsiteY37" fmla="*/ 692906 h 4109247"/>
              <a:gd name="connsiteX38" fmla="*/ 0 w 6050425"/>
              <a:gd name="connsiteY38" fmla="*/ 654609 h 4109247"/>
              <a:gd name="connsiteX39" fmla="*/ 0 w 6050425"/>
              <a:gd name="connsiteY39" fmla="*/ 598090 h 4109247"/>
              <a:gd name="connsiteX40" fmla="*/ 0 w 6050425"/>
              <a:gd name="connsiteY40" fmla="*/ 495846 h 4109247"/>
              <a:gd name="connsiteX41" fmla="*/ 0 w 6050425"/>
              <a:gd name="connsiteY41" fmla="*/ 441185 h 4109247"/>
              <a:gd name="connsiteX42" fmla="*/ 0 w 6050425"/>
              <a:gd name="connsiteY42" fmla="*/ 317505 h 4109247"/>
              <a:gd name="connsiteX43" fmla="*/ 0 w 6050425"/>
              <a:gd name="connsiteY43" fmla="*/ 277201 h 4109247"/>
              <a:gd name="connsiteX44" fmla="*/ 0 w 6050425"/>
              <a:gd name="connsiteY44" fmla="*/ 122733 h 4109247"/>
              <a:gd name="connsiteX45" fmla="*/ 832114 w 6050425"/>
              <a:gd name="connsiteY45" fmla="*/ 27252 h 4109247"/>
              <a:gd name="connsiteX46" fmla="*/ 1108528 w 6050425"/>
              <a:gd name="connsiteY46" fmla="*/ 4299 h 4109247"/>
              <a:gd name="connsiteX47" fmla="*/ 1165665 w 6050425"/>
              <a:gd name="connsiteY47" fmla="*/ 0 h 4109247"/>
              <a:gd name="connsiteX48" fmla="*/ 4475285 w 6050425"/>
              <a:gd name="connsiteY48" fmla="*/ 586078 h 4109247"/>
              <a:gd name="connsiteX0" fmla="*/ 4475285 w 6050425"/>
              <a:gd name="connsiteY0" fmla="*/ 581779 h 4104948"/>
              <a:gd name="connsiteX1" fmla="*/ 4639346 w 6050425"/>
              <a:gd name="connsiteY1" fmla="*/ 547907 h 4104948"/>
              <a:gd name="connsiteX2" fmla="*/ 4846367 w 6050425"/>
              <a:gd name="connsiteY2" fmla="*/ 501906 h 4104948"/>
              <a:gd name="connsiteX3" fmla="*/ 5121534 w 6050425"/>
              <a:gd name="connsiteY3" fmla="*/ 445543 h 4104948"/>
              <a:gd name="connsiteX4" fmla="*/ 5429000 w 6050425"/>
              <a:gd name="connsiteY4" fmla="*/ 405434 h 4104948"/>
              <a:gd name="connsiteX5" fmla="*/ 6048699 w 6050425"/>
              <a:gd name="connsiteY5" fmla="*/ 356855 h 4104948"/>
              <a:gd name="connsiteX6" fmla="*/ 6044400 w 6050425"/>
              <a:gd name="connsiteY6" fmla="*/ 1190296 h 4104948"/>
              <a:gd name="connsiteX7" fmla="*/ 6044400 w 6050425"/>
              <a:gd name="connsiteY7" fmla="*/ 1216422 h 4104948"/>
              <a:gd name="connsiteX8" fmla="*/ 6044400 w 6050425"/>
              <a:gd name="connsiteY8" fmla="*/ 1264347 h 4104948"/>
              <a:gd name="connsiteX9" fmla="*/ 6044400 w 6050425"/>
              <a:gd name="connsiteY9" fmla="*/ 1301671 h 4104948"/>
              <a:gd name="connsiteX10" fmla="*/ 6044400 w 6050425"/>
              <a:gd name="connsiteY10" fmla="*/ 1329719 h 4104948"/>
              <a:gd name="connsiteX11" fmla="*/ 6044400 w 6050425"/>
              <a:gd name="connsiteY11" fmla="*/ 1349816 h 4104948"/>
              <a:gd name="connsiteX12" fmla="*/ 6044400 w 6050425"/>
              <a:gd name="connsiteY12" fmla="*/ 1363288 h 4104948"/>
              <a:gd name="connsiteX13" fmla="*/ 6044400 w 6050425"/>
              <a:gd name="connsiteY13" fmla="*/ 1375656 h 4104948"/>
              <a:gd name="connsiteX14" fmla="*/ 6044400 w 6050425"/>
              <a:gd name="connsiteY14" fmla="*/ 1377423 h 4104948"/>
              <a:gd name="connsiteX15" fmla="*/ 6044400 w 6050425"/>
              <a:gd name="connsiteY15" fmla="*/ 4104946 h 4104948"/>
              <a:gd name="connsiteX16" fmla="*/ 5557568 w 6050425"/>
              <a:gd name="connsiteY16" fmla="*/ 4085892 h 4104948"/>
              <a:gd name="connsiteX17" fmla="*/ 0 w 6050425"/>
              <a:gd name="connsiteY17" fmla="*/ 4104946 h 4104948"/>
              <a:gd name="connsiteX18" fmla="*/ 0 w 6050425"/>
              <a:gd name="connsiteY18" fmla="*/ 3921293 h 4104948"/>
              <a:gd name="connsiteX19" fmla="*/ 0 w 6050425"/>
              <a:gd name="connsiteY19" fmla="*/ 1456774 h 4104948"/>
              <a:gd name="connsiteX20" fmla="*/ 0 w 6050425"/>
              <a:gd name="connsiteY20" fmla="*/ 1454152 h 4104948"/>
              <a:gd name="connsiteX21" fmla="*/ 0 w 6050425"/>
              <a:gd name="connsiteY21" fmla="*/ 1447924 h 4104948"/>
              <a:gd name="connsiteX22" fmla="*/ 1684243 w 6050425"/>
              <a:gd name="connsiteY22" fmla="*/ 2232938 h 4104948"/>
              <a:gd name="connsiteX23" fmla="*/ 1917876 w 6050425"/>
              <a:gd name="connsiteY23" fmla="*/ 2014996 h 4104948"/>
              <a:gd name="connsiteX24" fmla="*/ 2134576 w 6050425"/>
              <a:gd name="connsiteY24" fmla="*/ 1830397 h 4104948"/>
              <a:gd name="connsiteX25" fmla="*/ 2251663 w 6050425"/>
              <a:gd name="connsiteY25" fmla="*/ 1742167 h 4104948"/>
              <a:gd name="connsiteX26" fmla="*/ 2368749 w 6050425"/>
              <a:gd name="connsiteY26" fmla="*/ 1654733 h 4104948"/>
              <a:gd name="connsiteX27" fmla="*/ 2582334 w 6050425"/>
              <a:gd name="connsiteY27" fmla="*/ 1507765 h 4104948"/>
              <a:gd name="connsiteX28" fmla="*/ 2772833 w 6050425"/>
              <a:gd name="connsiteY28" fmla="*/ 1383588 h 4104948"/>
              <a:gd name="connsiteX29" fmla="*/ 2853266 w 6050425"/>
              <a:gd name="connsiteY29" fmla="*/ 1325827 h 4104948"/>
              <a:gd name="connsiteX30" fmla="*/ 2963334 w 6050425"/>
              <a:gd name="connsiteY30" fmla="*/ 1259920 h 4104948"/>
              <a:gd name="connsiteX31" fmla="*/ 0 w 6050425"/>
              <a:gd name="connsiteY31" fmla="*/ 1046866 h 4104948"/>
              <a:gd name="connsiteX32" fmla="*/ 0 w 6050425"/>
              <a:gd name="connsiteY32" fmla="*/ 1020514 h 4104948"/>
              <a:gd name="connsiteX33" fmla="*/ 0 w 6050425"/>
              <a:gd name="connsiteY33" fmla="*/ 914448 h 4104948"/>
              <a:gd name="connsiteX34" fmla="*/ 0 w 6050425"/>
              <a:gd name="connsiteY34" fmla="*/ 913655 h 4104948"/>
              <a:gd name="connsiteX35" fmla="*/ 0 w 6050425"/>
              <a:gd name="connsiteY35" fmla="*/ 795261 h 4104948"/>
              <a:gd name="connsiteX36" fmla="*/ 0 w 6050425"/>
              <a:gd name="connsiteY36" fmla="*/ 790633 h 4104948"/>
              <a:gd name="connsiteX37" fmla="*/ 0 w 6050425"/>
              <a:gd name="connsiteY37" fmla="*/ 688607 h 4104948"/>
              <a:gd name="connsiteX38" fmla="*/ 0 w 6050425"/>
              <a:gd name="connsiteY38" fmla="*/ 650310 h 4104948"/>
              <a:gd name="connsiteX39" fmla="*/ 0 w 6050425"/>
              <a:gd name="connsiteY39" fmla="*/ 593791 h 4104948"/>
              <a:gd name="connsiteX40" fmla="*/ 0 w 6050425"/>
              <a:gd name="connsiteY40" fmla="*/ 491547 h 4104948"/>
              <a:gd name="connsiteX41" fmla="*/ 0 w 6050425"/>
              <a:gd name="connsiteY41" fmla="*/ 436886 h 4104948"/>
              <a:gd name="connsiteX42" fmla="*/ 0 w 6050425"/>
              <a:gd name="connsiteY42" fmla="*/ 313206 h 4104948"/>
              <a:gd name="connsiteX43" fmla="*/ 0 w 6050425"/>
              <a:gd name="connsiteY43" fmla="*/ 272902 h 4104948"/>
              <a:gd name="connsiteX44" fmla="*/ 0 w 6050425"/>
              <a:gd name="connsiteY44" fmla="*/ 118434 h 4104948"/>
              <a:gd name="connsiteX45" fmla="*/ 832114 w 6050425"/>
              <a:gd name="connsiteY45" fmla="*/ 22953 h 4104948"/>
              <a:gd name="connsiteX46" fmla="*/ 1108528 w 6050425"/>
              <a:gd name="connsiteY46" fmla="*/ 0 h 4104948"/>
              <a:gd name="connsiteX47" fmla="*/ 4230599 w 6050425"/>
              <a:gd name="connsiteY47" fmla="*/ 652157 h 4104948"/>
              <a:gd name="connsiteX48" fmla="*/ 4475285 w 6050425"/>
              <a:gd name="connsiteY48" fmla="*/ 581779 h 4104948"/>
              <a:gd name="connsiteX0" fmla="*/ 4475285 w 6050425"/>
              <a:gd name="connsiteY0" fmla="*/ 558826 h 4081995"/>
              <a:gd name="connsiteX1" fmla="*/ 4639346 w 6050425"/>
              <a:gd name="connsiteY1" fmla="*/ 524954 h 4081995"/>
              <a:gd name="connsiteX2" fmla="*/ 4846367 w 6050425"/>
              <a:gd name="connsiteY2" fmla="*/ 478953 h 4081995"/>
              <a:gd name="connsiteX3" fmla="*/ 5121534 w 6050425"/>
              <a:gd name="connsiteY3" fmla="*/ 422590 h 4081995"/>
              <a:gd name="connsiteX4" fmla="*/ 5429000 w 6050425"/>
              <a:gd name="connsiteY4" fmla="*/ 382481 h 4081995"/>
              <a:gd name="connsiteX5" fmla="*/ 6048699 w 6050425"/>
              <a:gd name="connsiteY5" fmla="*/ 333902 h 4081995"/>
              <a:gd name="connsiteX6" fmla="*/ 6044400 w 6050425"/>
              <a:gd name="connsiteY6" fmla="*/ 1167343 h 4081995"/>
              <a:gd name="connsiteX7" fmla="*/ 6044400 w 6050425"/>
              <a:gd name="connsiteY7" fmla="*/ 1193469 h 4081995"/>
              <a:gd name="connsiteX8" fmla="*/ 6044400 w 6050425"/>
              <a:gd name="connsiteY8" fmla="*/ 1241394 h 4081995"/>
              <a:gd name="connsiteX9" fmla="*/ 6044400 w 6050425"/>
              <a:gd name="connsiteY9" fmla="*/ 1278718 h 4081995"/>
              <a:gd name="connsiteX10" fmla="*/ 6044400 w 6050425"/>
              <a:gd name="connsiteY10" fmla="*/ 1306766 h 4081995"/>
              <a:gd name="connsiteX11" fmla="*/ 6044400 w 6050425"/>
              <a:gd name="connsiteY11" fmla="*/ 1326863 h 4081995"/>
              <a:gd name="connsiteX12" fmla="*/ 6044400 w 6050425"/>
              <a:gd name="connsiteY12" fmla="*/ 1340335 h 4081995"/>
              <a:gd name="connsiteX13" fmla="*/ 6044400 w 6050425"/>
              <a:gd name="connsiteY13" fmla="*/ 1352703 h 4081995"/>
              <a:gd name="connsiteX14" fmla="*/ 6044400 w 6050425"/>
              <a:gd name="connsiteY14" fmla="*/ 1354470 h 4081995"/>
              <a:gd name="connsiteX15" fmla="*/ 6044400 w 6050425"/>
              <a:gd name="connsiteY15" fmla="*/ 4081993 h 4081995"/>
              <a:gd name="connsiteX16" fmla="*/ 5557568 w 6050425"/>
              <a:gd name="connsiteY16" fmla="*/ 4062939 h 4081995"/>
              <a:gd name="connsiteX17" fmla="*/ 0 w 6050425"/>
              <a:gd name="connsiteY17" fmla="*/ 4081993 h 4081995"/>
              <a:gd name="connsiteX18" fmla="*/ 0 w 6050425"/>
              <a:gd name="connsiteY18" fmla="*/ 3898340 h 4081995"/>
              <a:gd name="connsiteX19" fmla="*/ 0 w 6050425"/>
              <a:gd name="connsiteY19" fmla="*/ 1433821 h 4081995"/>
              <a:gd name="connsiteX20" fmla="*/ 0 w 6050425"/>
              <a:gd name="connsiteY20" fmla="*/ 1431199 h 4081995"/>
              <a:gd name="connsiteX21" fmla="*/ 0 w 6050425"/>
              <a:gd name="connsiteY21" fmla="*/ 1424971 h 4081995"/>
              <a:gd name="connsiteX22" fmla="*/ 1684243 w 6050425"/>
              <a:gd name="connsiteY22" fmla="*/ 2209985 h 4081995"/>
              <a:gd name="connsiteX23" fmla="*/ 1917876 w 6050425"/>
              <a:gd name="connsiteY23" fmla="*/ 1992043 h 4081995"/>
              <a:gd name="connsiteX24" fmla="*/ 2134576 w 6050425"/>
              <a:gd name="connsiteY24" fmla="*/ 1807444 h 4081995"/>
              <a:gd name="connsiteX25" fmla="*/ 2251663 w 6050425"/>
              <a:gd name="connsiteY25" fmla="*/ 1719214 h 4081995"/>
              <a:gd name="connsiteX26" fmla="*/ 2368749 w 6050425"/>
              <a:gd name="connsiteY26" fmla="*/ 1631780 h 4081995"/>
              <a:gd name="connsiteX27" fmla="*/ 2582334 w 6050425"/>
              <a:gd name="connsiteY27" fmla="*/ 1484812 h 4081995"/>
              <a:gd name="connsiteX28" fmla="*/ 2772833 w 6050425"/>
              <a:gd name="connsiteY28" fmla="*/ 1360635 h 4081995"/>
              <a:gd name="connsiteX29" fmla="*/ 2853266 w 6050425"/>
              <a:gd name="connsiteY29" fmla="*/ 1302874 h 4081995"/>
              <a:gd name="connsiteX30" fmla="*/ 2963334 w 6050425"/>
              <a:gd name="connsiteY30" fmla="*/ 1236967 h 4081995"/>
              <a:gd name="connsiteX31" fmla="*/ 0 w 6050425"/>
              <a:gd name="connsiteY31" fmla="*/ 1023913 h 4081995"/>
              <a:gd name="connsiteX32" fmla="*/ 0 w 6050425"/>
              <a:gd name="connsiteY32" fmla="*/ 997561 h 4081995"/>
              <a:gd name="connsiteX33" fmla="*/ 0 w 6050425"/>
              <a:gd name="connsiteY33" fmla="*/ 891495 h 4081995"/>
              <a:gd name="connsiteX34" fmla="*/ 0 w 6050425"/>
              <a:gd name="connsiteY34" fmla="*/ 890702 h 4081995"/>
              <a:gd name="connsiteX35" fmla="*/ 0 w 6050425"/>
              <a:gd name="connsiteY35" fmla="*/ 772308 h 4081995"/>
              <a:gd name="connsiteX36" fmla="*/ 0 w 6050425"/>
              <a:gd name="connsiteY36" fmla="*/ 767680 h 4081995"/>
              <a:gd name="connsiteX37" fmla="*/ 0 w 6050425"/>
              <a:gd name="connsiteY37" fmla="*/ 665654 h 4081995"/>
              <a:gd name="connsiteX38" fmla="*/ 0 w 6050425"/>
              <a:gd name="connsiteY38" fmla="*/ 627357 h 4081995"/>
              <a:gd name="connsiteX39" fmla="*/ 0 w 6050425"/>
              <a:gd name="connsiteY39" fmla="*/ 570838 h 4081995"/>
              <a:gd name="connsiteX40" fmla="*/ 0 w 6050425"/>
              <a:gd name="connsiteY40" fmla="*/ 468594 h 4081995"/>
              <a:gd name="connsiteX41" fmla="*/ 0 w 6050425"/>
              <a:gd name="connsiteY41" fmla="*/ 413933 h 4081995"/>
              <a:gd name="connsiteX42" fmla="*/ 0 w 6050425"/>
              <a:gd name="connsiteY42" fmla="*/ 290253 h 4081995"/>
              <a:gd name="connsiteX43" fmla="*/ 0 w 6050425"/>
              <a:gd name="connsiteY43" fmla="*/ 249949 h 4081995"/>
              <a:gd name="connsiteX44" fmla="*/ 0 w 6050425"/>
              <a:gd name="connsiteY44" fmla="*/ 95481 h 4081995"/>
              <a:gd name="connsiteX45" fmla="*/ 832114 w 6050425"/>
              <a:gd name="connsiteY45" fmla="*/ 0 h 4081995"/>
              <a:gd name="connsiteX46" fmla="*/ 4063395 w 6050425"/>
              <a:gd name="connsiteY46" fmla="*/ 683235 h 4081995"/>
              <a:gd name="connsiteX47" fmla="*/ 4230599 w 6050425"/>
              <a:gd name="connsiteY47" fmla="*/ 629204 h 4081995"/>
              <a:gd name="connsiteX48" fmla="*/ 4475285 w 6050425"/>
              <a:gd name="connsiteY48" fmla="*/ 558826 h 4081995"/>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475285 w 6050425"/>
              <a:gd name="connsiteY0" fmla="*/ 463345 h 3986514"/>
              <a:gd name="connsiteX1" fmla="*/ 4639346 w 6050425"/>
              <a:gd name="connsiteY1" fmla="*/ 429473 h 3986514"/>
              <a:gd name="connsiteX2" fmla="*/ 4846367 w 6050425"/>
              <a:gd name="connsiteY2" fmla="*/ 383472 h 3986514"/>
              <a:gd name="connsiteX3" fmla="*/ 5121534 w 6050425"/>
              <a:gd name="connsiteY3" fmla="*/ 327109 h 3986514"/>
              <a:gd name="connsiteX4" fmla="*/ 5429000 w 6050425"/>
              <a:gd name="connsiteY4" fmla="*/ 287000 h 3986514"/>
              <a:gd name="connsiteX5" fmla="*/ 6048699 w 6050425"/>
              <a:gd name="connsiteY5" fmla="*/ 238421 h 3986514"/>
              <a:gd name="connsiteX6" fmla="*/ 6044400 w 6050425"/>
              <a:gd name="connsiteY6" fmla="*/ 1071862 h 3986514"/>
              <a:gd name="connsiteX7" fmla="*/ 6044400 w 6050425"/>
              <a:gd name="connsiteY7" fmla="*/ 1097988 h 3986514"/>
              <a:gd name="connsiteX8" fmla="*/ 6044400 w 6050425"/>
              <a:gd name="connsiteY8" fmla="*/ 1145913 h 3986514"/>
              <a:gd name="connsiteX9" fmla="*/ 6044400 w 6050425"/>
              <a:gd name="connsiteY9" fmla="*/ 1183237 h 3986514"/>
              <a:gd name="connsiteX10" fmla="*/ 6044400 w 6050425"/>
              <a:gd name="connsiteY10" fmla="*/ 1211285 h 3986514"/>
              <a:gd name="connsiteX11" fmla="*/ 6044400 w 6050425"/>
              <a:gd name="connsiteY11" fmla="*/ 1231382 h 3986514"/>
              <a:gd name="connsiteX12" fmla="*/ 6044400 w 6050425"/>
              <a:gd name="connsiteY12" fmla="*/ 1244854 h 3986514"/>
              <a:gd name="connsiteX13" fmla="*/ 6044400 w 6050425"/>
              <a:gd name="connsiteY13" fmla="*/ 1257222 h 3986514"/>
              <a:gd name="connsiteX14" fmla="*/ 6044400 w 6050425"/>
              <a:gd name="connsiteY14" fmla="*/ 1258989 h 3986514"/>
              <a:gd name="connsiteX15" fmla="*/ 6044400 w 6050425"/>
              <a:gd name="connsiteY15" fmla="*/ 3986512 h 3986514"/>
              <a:gd name="connsiteX16" fmla="*/ 5557568 w 6050425"/>
              <a:gd name="connsiteY16" fmla="*/ 3967458 h 3986514"/>
              <a:gd name="connsiteX17" fmla="*/ 0 w 6050425"/>
              <a:gd name="connsiteY17" fmla="*/ 3986512 h 3986514"/>
              <a:gd name="connsiteX18" fmla="*/ 0 w 6050425"/>
              <a:gd name="connsiteY18" fmla="*/ 3802859 h 3986514"/>
              <a:gd name="connsiteX19" fmla="*/ 0 w 6050425"/>
              <a:gd name="connsiteY19" fmla="*/ 1338340 h 3986514"/>
              <a:gd name="connsiteX20" fmla="*/ 0 w 6050425"/>
              <a:gd name="connsiteY20" fmla="*/ 1335718 h 3986514"/>
              <a:gd name="connsiteX21" fmla="*/ 0 w 6050425"/>
              <a:gd name="connsiteY21" fmla="*/ 1329490 h 3986514"/>
              <a:gd name="connsiteX22" fmla="*/ 1684243 w 6050425"/>
              <a:gd name="connsiteY22" fmla="*/ 2114504 h 3986514"/>
              <a:gd name="connsiteX23" fmla="*/ 1917876 w 6050425"/>
              <a:gd name="connsiteY23" fmla="*/ 1896562 h 3986514"/>
              <a:gd name="connsiteX24" fmla="*/ 2134576 w 6050425"/>
              <a:gd name="connsiteY24" fmla="*/ 1711963 h 3986514"/>
              <a:gd name="connsiteX25" fmla="*/ 2251663 w 6050425"/>
              <a:gd name="connsiteY25" fmla="*/ 1623733 h 3986514"/>
              <a:gd name="connsiteX26" fmla="*/ 2368749 w 6050425"/>
              <a:gd name="connsiteY26" fmla="*/ 1536299 h 3986514"/>
              <a:gd name="connsiteX27" fmla="*/ 2582334 w 6050425"/>
              <a:gd name="connsiteY27" fmla="*/ 1389331 h 3986514"/>
              <a:gd name="connsiteX28" fmla="*/ 2772833 w 6050425"/>
              <a:gd name="connsiteY28" fmla="*/ 1265154 h 3986514"/>
              <a:gd name="connsiteX29" fmla="*/ 2853266 w 6050425"/>
              <a:gd name="connsiteY29" fmla="*/ 1207393 h 3986514"/>
              <a:gd name="connsiteX30" fmla="*/ 2963334 w 6050425"/>
              <a:gd name="connsiteY30" fmla="*/ 1141486 h 3986514"/>
              <a:gd name="connsiteX31" fmla="*/ 0 w 6050425"/>
              <a:gd name="connsiteY31" fmla="*/ 928432 h 3986514"/>
              <a:gd name="connsiteX32" fmla="*/ 0 w 6050425"/>
              <a:gd name="connsiteY32" fmla="*/ 902080 h 3986514"/>
              <a:gd name="connsiteX33" fmla="*/ 0 w 6050425"/>
              <a:gd name="connsiteY33" fmla="*/ 796014 h 3986514"/>
              <a:gd name="connsiteX34" fmla="*/ 0 w 6050425"/>
              <a:gd name="connsiteY34" fmla="*/ 795221 h 3986514"/>
              <a:gd name="connsiteX35" fmla="*/ 0 w 6050425"/>
              <a:gd name="connsiteY35" fmla="*/ 676827 h 3986514"/>
              <a:gd name="connsiteX36" fmla="*/ 0 w 6050425"/>
              <a:gd name="connsiteY36" fmla="*/ 672199 h 3986514"/>
              <a:gd name="connsiteX37" fmla="*/ 0 w 6050425"/>
              <a:gd name="connsiteY37" fmla="*/ 570173 h 3986514"/>
              <a:gd name="connsiteX38" fmla="*/ 0 w 6050425"/>
              <a:gd name="connsiteY38" fmla="*/ 531876 h 3986514"/>
              <a:gd name="connsiteX39" fmla="*/ 0 w 6050425"/>
              <a:gd name="connsiteY39" fmla="*/ 475357 h 3986514"/>
              <a:gd name="connsiteX40" fmla="*/ 0 w 6050425"/>
              <a:gd name="connsiteY40" fmla="*/ 373113 h 3986514"/>
              <a:gd name="connsiteX41" fmla="*/ 0 w 6050425"/>
              <a:gd name="connsiteY41" fmla="*/ 318452 h 3986514"/>
              <a:gd name="connsiteX42" fmla="*/ 0 w 6050425"/>
              <a:gd name="connsiteY42" fmla="*/ 194772 h 3986514"/>
              <a:gd name="connsiteX43" fmla="*/ 0 w 6050425"/>
              <a:gd name="connsiteY43" fmla="*/ 154468 h 3986514"/>
              <a:gd name="connsiteX44" fmla="*/ 0 w 6050425"/>
              <a:gd name="connsiteY44" fmla="*/ 0 h 3986514"/>
              <a:gd name="connsiteX45" fmla="*/ 3884347 w 6050425"/>
              <a:gd name="connsiteY45" fmla="*/ 667070 h 3986514"/>
              <a:gd name="connsiteX46" fmla="*/ 4063395 w 6050425"/>
              <a:gd name="connsiteY46" fmla="*/ 587754 h 3986514"/>
              <a:gd name="connsiteX47" fmla="*/ 4230599 w 6050425"/>
              <a:gd name="connsiteY47" fmla="*/ 533723 h 3986514"/>
              <a:gd name="connsiteX48" fmla="*/ 4475285 w 6050425"/>
              <a:gd name="connsiteY48" fmla="*/ 463345 h 3986514"/>
              <a:gd name="connsiteX0" fmla="*/ 4475285 w 6050425"/>
              <a:gd name="connsiteY0" fmla="*/ 308877 h 3832046"/>
              <a:gd name="connsiteX1" fmla="*/ 4639346 w 6050425"/>
              <a:gd name="connsiteY1" fmla="*/ 275005 h 3832046"/>
              <a:gd name="connsiteX2" fmla="*/ 4846367 w 6050425"/>
              <a:gd name="connsiteY2" fmla="*/ 229004 h 3832046"/>
              <a:gd name="connsiteX3" fmla="*/ 5121534 w 6050425"/>
              <a:gd name="connsiteY3" fmla="*/ 172641 h 3832046"/>
              <a:gd name="connsiteX4" fmla="*/ 5429000 w 6050425"/>
              <a:gd name="connsiteY4" fmla="*/ 132532 h 3832046"/>
              <a:gd name="connsiteX5" fmla="*/ 6048699 w 6050425"/>
              <a:gd name="connsiteY5" fmla="*/ 83953 h 3832046"/>
              <a:gd name="connsiteX6" fmla="*/ 6044400 w 6050425"/>
              <a:gd name="connsiteY6" fmla="*/ 917394 h 3832046"/>
              <a:gd name="connsiteX7" fmla="*/ 6044400 w 6050425"/>
              <a:gd name="connsiteY7" fmla="*/ 943520 h 3832046"/>
              <a:gd name="connsiteX8" fmla="*/ 6044400 w 6050425"/>
              <a:gd name="connsiteY8" fmla="*/ 991445 h 3832046"/>
              <a:gd name="connsiteX9" fmla="*/ 6044400 w 6050425"/>
              <a:gd name="connsiteY9" fmla="*/ 1028769 h 3832046"/>
              <a:gd name="connsiteX10" fmla="*/ 6044400 w 6050425"/>
              <a:gd name="connsiteY10" fmla="*/ 1056817 h 3832046"/>
              <a:gd name="connsiteX11" fmla="*/ 6044400 w 6050425"/>
              <a:gd name="connsiteY11" fmla="*/ 1076914 h 3832046"/>
              <a:gd name="connsiteX12" fmla="*/ 6044400 w 6050425"/>
              <a:gd name="connsiteY12" fmla="*/ 1090386 h 3832046"/>
              <a:gd name="connsiteX13" fmla="*/ 6044400 w 6050425"/>
              <a:gd name="connsiteY13" fmla="*/ 1102754 h 3832046"/>
              <a:gd name="connsiteX14" fmla="*/ 6044400 w 6050425"/>
              <a:gd name="connsiteY14" fmla="*/ 1104521 h 3832046"/>
              <a:gd name="connsiteX15" fmla="*/ 6044400 w 6050425"/>
              <a:gd name="connsiteY15" fmla="*/ 3832044 h 3832046"/>
              <a:gd name="connsiteX16" fmla="*/ 5557568 w 6050425"/>
              <a:gd name="connsiteY16" fmla="*/ 3812990 h 3832046"/>
              <a:gd name="connsiteX17" fmla="*/ 0 w 6050425"/>
              <a:gd name="connsiteY17" fmla="*/ 3832044 h 3832046"/>
              <a:gd name="connsiteX18" fmla="*/ 0 w 6050425"/>
              <a:gd name="connsiteY18" fmla="*/ 3648391 h 3832046"/>
              <a:gd name="connsiteX19" fmla="*/ 0 w 6050425"/>
              <a:gd name="connsiteY19" fmla="*/ 1183872 h 3832046"/>
              <a:gd name="connsiteX20" fmla="*/ 0 w 6050425"/>
              <a:gd name="connsiteY20" fmla="*/ 1181250 h 3832046"/>
              <a:gd name="connsiteX21" fmla="*/ 0 w 6050425"/>
              <a:gd name="connsiteY21" fmla="*/ 1175022 h 3832046"/>
              <a:gd name="connsiteX22" fmla="*/ 1684243 w 6050425"/>
              <a:gd name="connsiteY22" fmla="*/ 1960036 h 3832046"/>
              <a:gd name="connsiteX23" fmla="*/ 1917876 w 6050425"/>
              <a:gd name="connsiteY23" fmla="*/ 1742094 h 3832046"/>
              <a:gd name="connsiteX24" fmla="*/ 2134576 w 6050425"/>
              <a:gd name="connsiteY24" fmla="*/ 1557495 h 3832046"/>
              <a:gd name="connsiteX25" fmla="*/ 2251663 w 6050425"/>
              <a:gd name="connsiteY25" fmla="*/ 1469265 h 3832046"/>
              <a:gd name="connsiteX26" fmla="*/ 2368749 w 6050425"/>
              <a:gd name="connsiteY26" fmla="*/ 1381831 h 3832046"/>
              <a:gd name="connsiteX27" fmla="*/ 2582334 w 6050425"/>
              <a:gd name="connsiteY27" fmla="*/ 1234863 h 3832046"/>
              <a:gd name="connsiteX28" fmla="*/ 2772833 w 6050425"/>
              <a:gd name="connsiteY28" fmla="*/ 1110686 h 3832046"/>
              <a:gd name="connsiteX29" fmla="*/ 2853266 w 6050425"/>
              <a:gd name="connsiteY29" fmla="*/ 1052925 h 3832046"/>
              <a:gd name="connsiteX30" fmla="*/ 2963334 w 6050425"/>
              <a:gd name="connsiteY30" fmla="*/ 987018 h 3832046"/>
              <a:gd name="connsiteX31" fmla="*/ 0 w 6050425"/>
              <a:gd name="connsiteY31" fmla="*/ 773964 h 3832046"/>
              <a:gd name="connsiteX32" fmla="*/ 0 w 6050425"/>
              <a:gd name="connsiteY32" fmla="*/ 747612 h 3832046"/>
              <a:gd name="connsiteX33" fmla="*/ 0 w 6050425"/>
              <a:gd name="connsiteY33" fmla="*/ 641546 h 3832046"/>
              <a:gd name="connsiteX34" fmla="*/ 0 w 6050425"/>
              <a:gd name="connsiteY34" fmla="*/ 640753 h 3832046"/>
              <a:gd name="connsiteX35" fmla="*/ 0 w 6050425"/>
              <a:gd name="connsiteY35" fmla="*/ 522359 h 3832046"/>
              <a:gd name="connsiteX36" fmla="*/ 0 w 6050425"/>
              <a:gd name="connsiteY36" fmla="*/ 517731 h 3832046"/>
              <a:gd name="connsiteX37" fmla="*/ 0 w 6050425"/>
              <a:gd name="connsiteY37" fmla="*/ 415705 h 3832046"/>
              <a:gd name="connsiteX38" fmla="*/ 0 w 6050425"/>
              <a:gd name="connsiteY38" fmla="*/ 377408 h 3832046"/>
              <a:gd name="connsiteX39" fmla="*/ 0 w 6050425"/>
              <a:gd name="connsiteY39" fmla="*/ 320889 h 3832046"/>
              <a:gd name="connsiteX40" fmla="*/ 0 w 6050425"/>
              <a:gd name="connsiteY40" fmla="*/ 218645 h 3832046"/>
              <a:gd name="connsiteX41" fmla="*/ 0 w 6050425"/>
              <a:gd name="connsiteY41" fmla="*/ 163984 h 3832046"/>
              <a:gd name="connsiteX42" fmla="*/ 0 w 6050425"/>
              <a:gd name="connsiteY42" fmla="*/ 40304 h 3832046"/>
              <a:gd name="connsiteX43" fmla="*/ 0 w 6050425"/>
              <a:gd name="connsiteY43" fmla="*/ 0 h 3832046"/>
              <a:gd name="connsiteX44" fmla="*/ 3712633 w 6050425"/>
              <a:gd name="connsiteY44" fmla="*/ 584875 h 3832046"/>
              <a:gd name="connsiteX45" fmla="*/ 3884347 w 6050425"/>
              <a:gd name="connsiteY45" fmla="*/ 512602 h 3832046"/>
              <a:gd name="connsiteX46" fmla="*/ 4063395 w 6050425"/>
              <a:gd name="connsiteY46" fmla="*/ 433286 h 3832046"/>
              <a:gd name="connsiteX47" fmla="*/ 4230599 w 6050425"/>
              <a:gd name="connsiteY47" fmla="*/ 379255 h 3832046"/>
              <a:gd name="connsiteX48" fmla="*/ 4475285 w 6050425"/>
              <a:gd name="connsiteY48" fmla="*/ 308877 h 3832046"/>
              <a:gd name="connsiteX0" fmla="*/ 4475285 w 6050425"/>
              <a:gd name="connsiteY0" fmla="*/ 268573 h 3791742"/>
              <a:gd name="connsiteX1" fmla="*/ 4639346 w 6050425"/>
              <a:gd name="connsiteY1" fmla="*/ 234701 h 3791742"/>
              <a:gd name="connsiteX2" fmla="*/ 4846367 w 6050425"/>
              <a:gd name="connsiteY2" fmla="*/ 188700 h 3791742"/>
              <a:gd name="connsiteX3" fmla="*/ 5121534 w 6050425"/>
              <a:gd name="connsiteY3" fmla="*/ 132337 h 3791742"/>
              <a:gd name="connsiteX4" fmla="*/ 5429000 w 6050425"/>
              <a:gd name="connsiteY4" fmla="*/ 92228 h 3791742"/>
              <a:gd name="connsiteX5" fmla="*/ 6048699 w 6050425"/>
              <a:gd name="connsiteY5" fmla="*/ 43649 h 3791742"/>
              <a:gd name="connsiteX6" fmla="*/ 6044400 w 6050425"/>
              <a:gd name="connsiteY6" fmla="*/ 877090 h 3791742"/>
              <a:gd name="connsiteX7" fmla="*/ 6044400 w 6050425"/>
              <a:gd name="connsiteY7" fmla="*/ 903216 h 3791742"/>
              <a:gd name="connsiteX8" fmla="*/ 6044400 w 6050425"/>
              <a:gd name="connsiteY8" fmla="*/ 951141 h 3791742"/>
              <a:gd name="connsiteX9" fmla="*/ 6044400 w 6050425"/>
              <a:gd name="connsiteY9" fmla="*/ 988465 h 3791742"/>
              <a:gd name="connsiteX10" fmla="*/ 6044400 w 6050425"/>
              <a:gd name="connsiteY10" fmla="*/ 1016513 h 3791742"/>
              <a:gd name="connsiteX11" fmla="*/ 6044400 w 6050425"/>
              <a:gd name="connsiteY11" fmla="*/ 1036610 h 3791742"/>
              <a:gd name="connsiteX12" fmla="*/ 6044400 w 6050425"/>
              <a:gd name="connsiteY12" fmla="*/ 1050082 h 3791742"/>
              <a:gd name="connsiteX13" fmla="*/ 6044400 w 6050425"/>
              <a:gd name="connsiteY13" fmla="*/ 1062450 h 3791742"/>
              <a:gd name="connsiteX14" fmla="*/ 6044400 w 6050425"/>
              <a:gd name="connsiteY14" fmla="*/ 1064217 h 3791742"/>
              <a:gd name="connsiteX15" fmla="*/ 6044400 w 6050425"/>
              <a:gd name="connsiteY15" fmla="*/ 3791740 h 3791742"/>
              <a:gd name="connsiteX16" fmla="*/ 5557568 w 6050425"/>
              <a:gd name="connsiteY16" fmla="*/ 3772686 h 3791742"/>
              <a:gd name="connsiteX17" fmla="*/ 0 w 6050425"/>
              <a:gd name="connsiteY17" fmla="*/ 3791740 h 3791742"/>
              <a:gd name="connsiteX18" fmla="*/ 0 w 6050425"/>
              <a:gd name="connsiteY18" fmla="*/ 3608087 h 3791742"/>
              <a:gd name="connsiteX19" fmla="*/ 0 w 6050425"/>
              <a:gd name="connsiteY19" fmla="*/ 1143568 h 3791742"/>
              <a:gd name="connsiteX20" fmla="*/ 0 w 6050425"/>
              <a:gd name="connsiteY20" fmla="*/ 1140946 h 3791742"/>
              <a:gd name="connsiteX21" fmla="*/ 0 w 6050425"/>
              <a:gd name="connsiteY21" fmla="*/ 1134718 h 3791742"/>
              <a:gd name="connsiteX22" fmla="*/ 1684243 w 6050425"/>
              <a:gd name="connsiteY22" fmla="*/ 1919732 h 3791742"/>
              <a:gd name="connsiteX23" fmla="*/ 1917876 w 6050425"/>
              <a:gd name="connsiteY23" fmla="*/ 1701790 h 3791742"/>
              <a:gd name="connsiteX24" fmla="*/ 2134576 w 6050425"/>
              <a:gd name="connsiteY24" fmla="*/ 1517191 h 3791742"/>
              <a:gd name="connsiteX25" fmla="*/ 2251663 w 6050425"/>
              <a:gd name="connsiteY25" fmla="*/ 1428961 h 3791742"/>
              <a:gd name="connsiteX26" fmla="*/ 2368749 w 6050425"/>
              <a:gd name="connsiteY26" fmla="*/ 1341527 h 3791742"/>
              <a:gd name="connsiteX27" fmla="*/ 2582334 w 6050425"/>
              <a:gd name="connsiteY27" fmla="*/ 1194559 h 3791742"/>
              <a:gd name="connsiteX28" fmla="*/ 2772833 w 6050425"/>
              <a:gd name="connsiteY28" fmla="*/ 1070382 h 3791742"/>
              <a:gd name="connsiteX29" fmla="*/ 2853266 w 6050425"/>
              <a:gd name="connsiteY29" fmla="*/ 1012621 h 3791742"/>
              <a:gd name="connsiteX30" fmla="*/ 2963334 w 6050425"/>
              <a:gd name="connsiteY30" fmla="*/ 946714 h 3791742"/>
              <a:gd name="connsiteX31" fmla="*/ 0 w 6050425"/>
              <a:gd name="connsiteY31" fmla="*/ 733660 h 3791742"/>
              <a:gd name="connsiteX32" fmla="*/ 0 w 6050425"/>
              <a:gd name="connsiteY32" fmla="*/ 707308 h 3791742"/>
              <a:gd name="connsiteX33" fmla="*/ 0 w 6050425"/>
              <a:gd name="connsiteY33" fmla="*/ 601242 h 3791742"/>
              <a:gd name="connsiteX34" fmla="*/ 0 w 6050425"/>
              <a:gd name="connsiteY34" fmla="*/ 600449 h 3791742"/>
              <a:gd name="connsiteX35" fmla="*/ 0 w 6050425"/>
              <a:gd name="connsiteY35" fmla="*/ 482055 h 3791742"/>
              <a:gd name="connsiteX36" fmla="*/ 0 w 6050425"/>
              <a:gd name="connsiteY36" fmla="*/ 477427 h 3791742"/>
              <a:gd name="connsiteX37" fmla="*/ 0 w 6050425"/>
              <a:gd name="connsiteY37" fmla="*/ 375401 h 3791742"/>
              <a:gd name="connsiteX38" fmla="*/ 0 w 6050425"/>
              <a:gd name="connsiteY38" fmla="*/ 337104 h 3791742"/>
              <a:gd name="connsiteX39" fmla="*/ 0 w 6050425"/>
              <a:gd name="connsiteY39" fmla="*/ 280585 h 3791742"/>
              <a:gd name="connsiteX40" fmla="*/ 0 w 6050425"/>
              <a:gd name="connsiteY40" fmla="*/ 178341 h 3791742"/>
              <a:gd name="connsiteX41" fmla="*/ 0 w 6050425"/>
              <a:gd name="connsiteY41" fmla="*/ 123680 h 3791742"/>
              <a:gd name="connsiteX42" fmla="*/ 0 w 6050425"/>
              <a:gd name="connsiteY42" fmla="*/ 0 h 3791742"/>
              <a:gd name="connsiteX43" fmla="*/ 3517900 w 6050425"/>
              <a:gd name="connsiteY43" fmla="*/ 639360 h 3791742"/>
              <a:gd name="connsiteX44" fmla="*/ 3712633 w 6050425"/>
              <a:gd name="connsiteY44" fmla="*/ 544571 h 3791742"/>
              <a:gd name="connsiteX45" fmla="*/ 3884347 w 6050425"/>
              <a:gd name="connsiteY45" fmla="*/ 472298 h 3791742"/>
              <a:gd name="connsiteX46" fmla="*/ 4063395 w 6050425"/>
              <a:gd name="connsiteY46" fmla="*/ 392982 h 3791742"/>
              <a:gd name="connsiteX47" fmla="*/ 4230599 w 6050425"/>
              <a:gd name="connsiteY47" fmla="*/ 338951 h 3791742"/>
              <a:gd name="connsiteX48" fmla="*/ 4475285 w 6050425"/>
              <a:gd name="connsiteY48" fmla="*/ 268573 h 3791742"/>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0 w 6050425"/>
              <a:gd name="connsiteY41" fmla="*/ 80078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3086100 w 6050425"/>
              <a:gd name="connsiteY39" fmla="*/ 837077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293502 h 3748140"/>
              <a:gd name="connsiteX38" fmla="*/ 3086100 w 6050425"/>
              <a:gd name="connsiteY38" fmla="*/ 837077 h 3748140"/>
              <a:gd name="connsiteX39" fmla="*/ 3170767 w 6050425"/>
              <a:gd name="connsiteY39" fmla="*/ 787879 h 3748140"/>
              <a:gd name="connsiteX40" fmla="*/ 3276600 w 6050425"/>
              <a:gd name="connsiteY40" fmla="*/ 729903 h 3748140"/>
              <a:gd name="connsiteX41" fmla="*/ 3386667 w 6050425"/>
              <a:gd name="connsiteY41" fmla="*/ 665901 h 3748140"/>
              <a:gd name="connsiteX42" fmla="*/ 3517900 w 6050425"/>
              <a:gd name="connsiteY42" fmla="*/ 595758 h 3748140"/>
              <a:gd name="connsiteX43" fmla="*/ 3712633 w 6050425"/>
              <a:gd name="connsiteY43" fmla="*/ 500969 h 3748140"/>
              <a:gd name="connsiteX44" fmla="*/ 3884347 w 6050425"/>
              <a:gd name="connsiteY44" fmla="*/ 428696 h 3748140"/>
              <a:gd name="connsiteX45" fmla="*/ 4063395 w 6050425"/>
              <a:gd name="connsiteY45" fmla="*/ 349380 h 3748140"/>
              <a:gd name="connsiteX46" fmla="*/ 4230599 w 6050425"/>
              <a:gd name="connsiteY46" fmla="*/ 295349 h 3748140"/>
              <a:gd name="connsiteX47" fmla="*/ 4475285 w 6050425"/>
              <a:gd name="connsiteY47"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293502 h 3748140"/>
              <a:gd name="connsiteX37" fmla="*/ 3086100 w 6050425"/>
              <a:gd name="connsiteY37" fmla="*/ 837077 h 3748140"/>
              <a:gd name="connsiteX38" fmla="*/ 3170767 w 6050425"/>
              <a:gd name="connsiteY38" fmla="*/ 787879 h 3748140"/>
              <a:gd name="connsiteX39" fmla="*/ 3276600 w 6050425"/>
              <a:gd name="connsiteY39" fmla="*/ 729903 h 3748140"/>
              <a:gd name="connsiteX40" fmla="*/ 3386667 w 6050425"/>
              <a:gd name="connsiteY40" fmla="*/ 665901 h 3748140"/>
              <a:gd name="connsiteX41" fmla="*/ 3517900 w 6050425"/>
              <a:gd name="connsiteY41" fmla="*/ 595758 h 3748140"/>
              <a:gd name="connsiteX42" fmla="*/ 3712633 w 6050425"/>
              <a:gd name="connsiteY42" fmla="*/ 500969 h 3748140"/>
              <a:gd name="connsiteX43" fmla="*/ 3884347 w 6050425"/>
              <a:gd name="connsiteY43" fmla="*/ 428696 h 3748140"/>
              <a:gd name="connsiteX44" fmla="*/ 4063395 w 6050425"/>
              <a:gd name="connsiteY44" fmla="*/ 349380 h 3748140"/>
              <a:gd name="connsiteX45" fmla="*/ 4230599 w 6050425"/>
              <a:gd name="connsiteY45" fmla="*/ 295349 h 3748140"/>
              <a:gd name="connsiteX46" fmla="*/ 4475285 w 6050425"/>
              <a:gd name="connsiteY46"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0 w 6050425"/>
              <a:gd name="connsiteY35" fmla="*/ 29350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2954867 w 6050425"/>
              <a:gd name="connsiteY35" fmla="*/ 90354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2954867 w 6050425"/>
              <a:gd name="connsiteY34" fmla="*/ 903542 h 3748140"/>
              <a:gd name="connsiteX35" fmla="*/ 3086100 w 6050425"/>
              <a:gd name="connsiteY35" fmla="*/ 837077 h 3748140"/>
              <a:gd name="connsiteX36" fmla="*/ 3170767 w 6050425"/>
              <a:gd name="connsiteY36" fmla="*/ 787879 h 3748140"/>
              <a:gd name="connsiteX37" fmla="*/ 3276600 w 6050425"/>
              <a:gd name="connsiteY37" fmla="*/ 729903 h 3748140"/>
              <a:gd name="connsiteX38" fmla="*/ 3386667 w 6050425"/>
              <a:gd name="connsiteY38" fmla="*/ 665901 h 3748140"/>
              <a:gd name="connsiteX39" fmla="*/ 3517900 w 6050425"/>
              <a:gd name="connsiteY39" fmla="*/ 595758 h 3748140"/>
              <a:gd name="connsiteX40" fmla="*/ 3712633 w 6050425"/>
              <a:gd name="connsiteY40" fmla="*/ 500969 h 3748140"/>
              <a:gd name="connsiteX41" fmla="*/ 3884347 w 6050425"/>
              <a:gd name="connsiteY41" fmla="*/ 428696 h 3748140"/>
              <a:gd name="connsiteX42" fmla="*/ 4063395 w 6050425"/>
              <a:gd name="connsiteY42" fmla="*/ 349380 h 3748140"/>
              <a:gd name="connsiteX43" fmla="*/ 4230599 w 6050425"/>
              <a:gd name="connsiteY43" fmla="*/ 295349 h 3748140"/>
              <a:gd name="connsiteX44" fmla="*/ 4475285 w 6050425"/>
              <a:gd name="connsiteY44"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2954867 w 6050425"/>
              <a:gd name="connsiteY33" fmla="*/ 903542 h 3748140"/>
              <a:gd name="connsiteX34" fmla="*/ 3086100 w 6050425"/>
              <a:gd name="connsiteY34" fmla="*/ 837077 h 3748140"/>
              <a:gd name="connsiteX35" fmla="*/ 3170767 w 6050425"/>
              <a:gd name="connsiteY35" fmla="*/ 787879 h 3748140"/>
              <a:gd name="connsiteX36" fmla="*/ 3276600 w 6050425"/>
              <a:gd name="connsiteY36" fmla="*/ 729903 h 3748140"/>
              <a:gd name="connsiteX37" fmla="*/ 3386667 w 6050425"/>
              <a:gd name="connsiteY37" fmla="*/ 665901 h 3748140"/>
              <a:gd name="connsiteX38" fmla="*/ 3517900 w 6050425"/>
              <a:gd name="connsiteY38" fmla="*/ 595758 h 3748140"/>
              <a:gd name="connsiteX39" fmla="*/ 3712633 w 6050425"/>
              <a:gd name="connsiteY39" fmla="*/ 500969 h 3748140"/>
              <a:gd name="connsiteX40" fmla="*/ 3884347 w 6050425"/>
              <a:gd name="connsiteY40" fmla="*/ 428696 h 3748140"/>
              <a:gd name="connsiteX41" fmla="*/ 4063395 w 6050425"/>
              <a:gd name="connsiteY41" fmla="*/ 349380 h 3748140"/>
              <a:gd name="connsiteX42" fmla="*/ 4230599 w 6050425"/>
              <a:gd name="connsiteY42" fmla="*/ 295349 h 3748140"/>
              <a:gd name="connsiteX43" fmla="*/ 4475285 w 6050425"/>
              <a:gd name="connsiteY43"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2954867 w 6050425"/>
              <a:gd name="connsiteY32" fmla="*/ 903542 h 3748140"/>
              <a:gd name="connsiteX33" fmla="*/ 3086100 w 6050425"/>
              <a:gd name="connsiteY33" fmla="*/ 837077 h 3748140"/>
              <a:gd name="connsiteX34" fmla="*/ 3170767 w 6050425"/>
              <a:gd name="connsiteY34" fmla="*/ 787879 h 3748140"/>
              <a:gd name="connsiteX35" fmla="*/ 3276600 w 6050425"/>
              <a:gd name="connsiteY35" fmla="*/ 729903 h 3748140"/>
              <a:gd name="connsiteX36" fmla="*/ 3386667 w 6050425"/>
              <a:gd name="connsiteY36" fmla="*/ 665901 h 3748140"/>
              <a:gd name="connsiteX37" fmla="*/ 3517900 w 6050425"/>
              <a:gd name="connsiteY37" fmla="*/ 595758 h 3748140"/>
              <a:gd name="connsiteX38" fmla="*/ 3712633 w 6050425"/>
              <a:gd name="connsiteY38" fmla="*/ 500969 h 3748140"/>
              <a:gd name="connsiteX39" fmla="*/ 3884347 w 6050425"/>
              <a:gd name="connsiteY39" fmla="*/ 428696 h 3748140"/>
              <a:gd name="connsiteX40" fmla="*/ 4063395 w 6050425"/>
              <a:gd name="connsiteY40" fmla="*/ 349380 h 3748140"/>
              <a:gd name="connsiteX41" fmla="*/ 4230599 w 6050425"/>
              <a:gd name="connsiteY41" fmla="*/ 295349 h 3748140"/>
              <a:gd name="connsiteX42" fmla="*/ 4475285 w 6050425"/>
              <a:gd name="connsiteY42"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2353733 w 6050425"/>
              <a:gd name="connsiteY18" fmla="*/ 2420660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804957 w 4366182"/>
              <a:gd name="connsiteY17" fmla="*/ 2524743 h 3748140"/>
              <a:gd name="connsiteX18" fmla="*/ 669490 w 4366182"/>
              <a:gd name="connsiteY18" fmla="*/ 2420660 h 3748140"/>
              <a:gd name="connsiteX19" fmla="*/ 474757 w 4366182"/>
              <a:gd name="connsiteY19" fmla="*/ 2273630 h 3748140"/>
              <a:gd name="connsiteX20" fmla="*/ 335057 w 4366182"/>
              <a:gd name="connsiteY20" fmla="*/ 2151653 h 3748140"/>
              <a:gd name="connsiteX21" fmla="*/ 148790 w 4366182"/>
              <a:gd name="connsiteY21" fmla="*/ 1999545 h 3748140"/>
              <a:gd name="connsiteX22" fmla="*/ 0 w 4366182"/>
              <a:gd name="connsiteY22" fmla="*/ 1876130 h 3748140"/>
              <a:gd name="connsiteX23" fmla="*/ 233633 w 4366182"/>
              <a:gd name="connsiteY23" fmla="*/ 1658188 h 3748140"/>
              <a:gd name="connsiteX24" fmla="*/ 450333 w 4366182"/>
              <a:gd name="connsiteY24" fmla="*/ 1473589 h 3748140"/>
              <a:gd name="connsiteX25" fmla="*/ 567420 w 4366182"/>
              <a:gd name="connsiteY25" fmla="*/ 1385359 h 3748140"/>
              <a:gd name="connsiteX26" fmla="*/ 684506 w 4366182"/>
              <a:gd name="connsiteY26" fmla="*/ 1297925 h 3748140"/>
              <a:gd name="connsiteX27" fmla="*/ 898091 w 4366182"/>
              <a:gd name="connsiteY27" fmla="*/ 1150957 h 3748140"/>
              <a:gd name="connsiteX28" fmla="*/ 1088590 w 4366182"/>
              <a:gd name="connsiteY28" fmla="*/ 1026780 h 3748140"/>
              <a:gd name="connsiteX29" fmla="*/ 1169023 w 4366182"/>
              <a:gd name="connsiteY29" fmla="*/ 969019 h 3748140"/>
              <a:gd name="connsiteX30" fmla="*/ 1279091 w 4366182"/>
              <a:gd name="connsiteY30" fmla="*/ 903112 h 3748140"/>
              <a:gd name="connsiteX31" fmla="*/ 1270624 w 4366182"/>
              <a:gd name="connsiteY31" fmla="*/ 903542 h 3748140"/>
              <a:gd name="connsiteX32" fmla="*/ 1401857 w 4366182"/>
              <a:gd name="connsiteY32" fmla="*/ 837077 h 3748140"/>
              <a:gd name="connsiteX33" fmla="*/ 1486524 w 4366182"/>
              <a:gd name="connsiteY33" fmla="*/ 787879 h 3748140"/>
              <a:gd name="connsiteX34" fmla="*/ 1592357 w 4366182"/>
              <a:gd name="connsiteY34" fmla="*/ 729903 h 3748140"/>
              <a:gd name="connsiteX35" fmla="*/ 1702424 w 4366182"/>
              <a:gd name="connsiteY35" fmla="*/ 665901 h 3748140"/>
              <a:gd name="connsiteX36" fmla="*/ 1833657 w 4366182"/>
              <a:gd name="connsiteY36" fmla="*/ 595758 h 3748140"/>
              <a:gd name="connsiteX37" fmla="*/ 2028390 w 4366182"/>
              <a:gd name="connsiteY37" fmla="*/ 500969 h 3748140"/>
              <a:gd name="connsiteX38" fmla="*/ 2200104 w 4366182"/>
              <a:gd name="connsiteY38" fmla="*/ 428696 h 3748140"/>
              <a:gd name="connsiteX39" fmla="*/ 2379152 w 4366182"/>
              <a:gd name="connsiteY39" fmla="*/ 349380 h 3748140"/>
              <a:gd name="connsiteX40" fmla="*/ 2546356 w 4366182"/>
              <a:gd name="connsiteY40" fmla="*/ 295349 h 3748140"/>
              <a:gd name="connsiteX41" fmla="*/ 2791042 w 4366182"/>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969257 w 4366182"/>
              <a:gd name="connsiteY17" fmla="*/ 2634988 h 3748140"/>
              <a:gd name="connsiteX18" fmla="*/ 804957 w 4366182"/>
              <a:gd name="connsiteY18" fmla="*/ 2524743 h 3748140"/>
              <a:gd name="connsiteX19" fmla="*/ 669490 w 4366182"/>
              <a:gd name="connsiteY19" fmla="*/ 2420660 h 3748140"/>
              <a:gd name="connsiteX20" fmla="*/ 474757 w 4366182"/>
              <a:gd name="connsiteY20" fmla="*/ 2273630 h 3748140"/>
              <a:gd name="connsiteX21" fmla="*/ 335057 w 4366182"/>
              <a:gd name="connsiteY21" fmla="*/ 2151653 h 3748140"/>
              <a:gd name="connsiteX22" fmla="*/ 148790 w 4366182"/>
              <a:gd name="connsiteY22" fmla="*/ 1999545 h 3748140"/>
              <a:gd name="connsiteX23" fmla="*/ 0 w 4366182"/>
              <a:gd name="connsiteY23" fmla="*/ 1876130 h 3748140"/>
              <a:gd name="connsiteX24" fmla="*/ 233633 w 4366182"/>
              <a:gd name="connsiteY24" fmla="*/ 1658188 h 3748140"/>
              <a:gd name="connsiteX25" fmla="*/ 450333 w 4366182"/>
              <a:gd name="connsiteY25" fmla="*/ 1473589 h 3748140"/>
              <a:gd name="connsiteX26" fmla="*/ 567420 w 4366182"/>
              <a:gd name="connsiteY26" fmla="*/ 1385359 h 3748140"/>
              <a:gd name="connsiteX27" fmla="*/ 684506 w 4366182"/>
              <a:gd name="connsiteY27" fmla="*/ 1297925 h 3748140"/>
              <a:gd name="connsiteX28" fmla="*/ 898091 w 4366182"/>
              <a:gd name="connsiteY28" fmla="*/ 1150957 h 3748140"/>
              <a:gd name="connsiteX29" fmla="*/ 1088590 w 4366182"/>
              <a:gd name="connsiteY29" fmla="*/ 1026780 h 3748140"/>
              <a:gd name="connsiteX30" fmla="*/ 1169023 w 4366182"/>
              <a:gd name="connsiteY30" fmla="*/ 969019 h 3748140"/>
              <a:gd name="connsiteX31" fmla="*/ 1279091 w 4366182"/>
              <a:gd name="connsiteY31" fmla="*/ 903112 h 3748140"/>
              <a:gd name="connsiteX32" fmla="*/ 1270624 w 4366182"/>
              <a:gd name="connsiteY32" fmla="*/ 903542 h 3748140"/>
              <a:gd name="connsiteX33" fmla="*/ 1401857 w 4366182"/>
              <a:gd name="connsiteY33" fmla="*/ 837077 h 3748140"/>
              <a:gd name="connsiteX34" fmla="*/ 1486524 w 4366182"/>
              <a:gd name="connsiteY34" fmla="*/ 787879 h 3748140"/>
              <a:gd name="connsiteX35" fmla="*/ 1592357 w 4366182"/>
              <a:gd name="connsiteY35" fmla="*/ 729903 h 3748140"/>
              <a:gd name="connsiteX36" fmla="*/ 1702424 w 4366182"/>
              <a:gd name="connsiteY36" fmla="*/ 665901 h 3748140"/>
              <a:gd name="connsiteX37" fmla="*/ 1833657 w 4366182"/>
              <a:gd name="connsiteY37" fmla="*/ 595758 h 3748140"/>
              <a:gd name="connsiteX38" fmla="*/ 2028390 w 4366182"/>
              <a:gd name="connsiteY38" fmla="*/ 500969 h 3748140"/>
              <a:gd name="connsiteX39" fmla="*/ 2200104 w 4366182"/>
              <a:gd name="connsiteY39" fmla="*/ 428696 h 3748140"/>
              <a:gd name="connsiteX40" fmla="*/ 2379152 w 4366182"/>
              <a:gd name="connsiteY40" fmla="*/ 349380 h 3748140"/>
              <a:gd name="connsiteX41" fmla="*/ 2546356 w 4366182"/>
              <a:gd name="connsiteY41" fmla="*/ 295349 h 3748140"/>
              <a:gd name="connsiteX42" fmla="*/ 2791042 w 4366182"/>
              <a:gd name="connsiteY42"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35958 w 4366182"/>
              <a:gd name="connsiteY17" fmla="*/ 2807391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718557 w 4366182"/>
              <a:gd name="connsiteY17" fmla="*/ 3089203 h 3748140"/>
              <a:gd name="connsiteX18" fmla="*/ 1481491 w 4366182"/>
              <a:gd name="connsiteY18" fmla="*/ 2959900 h 3748140"/>
              <a:gd name="connsiteX19" fmla="*/ 1235958 w 4366182"/>
              <a:gd name="connsiteY19" fmla="*/ 2807391 h 3748140"/>
              <a:gd name="connsiteX20" fmla="*/ 969257 w 4366182"/>
              <a:gd name="connsiteY20" fmla="*/ 2634988 h 3748140"/>
              <a:gd name="connsiteX21" fmla="*/ 804957 w 4366182"/>
              <a:gd name="connsiteY21" fmla="*/ 2524743 h 3748140"/>
              <a:gd name="connsiteX22" fmla="*/ 669490 w 4366182"/>
              <a:gd name="connsiteY22" fmla="*/ 2420660 h 3748140"/>
              <a:gd name="connsiteX23" fmla="*/ 474757 w 4366182"/>
              <a:gd name="connsiteY23" fmla="*/ 2273630 h 3748140"/>
              <a:gd name="connsiteX24" fmla="*/ 335057 w 4366182"/>
              <a:gd name="connsiteY24" fmla="*/ 2151653 h 3748140"/>
              <a:gd name="connsiteX25" fmla="*/ 148790 w 4366182"/>
              <a:gd name="connsiteY25" fmla="*/ 1999545 h 3748140"/>
              <a:gd name="connsiteX26" fmla="*/ 0 w 4366182"/>
              <a:gd name="connsiteY26" fmla="*/ 1876130 h 3748140"/>
              <a:gd name="connsiteX27" fmla="*/ 233633 w 4366182"/>
              <a:gd name="connsiteY27" fmla="*/ 1658188 h 3748140"/>
              <a:gd name="connsiteX28" fmla="*/ 450333 w 4366182"/>
              <a:gd name="connsiteY28" fmla="*/ 1473589 h 3748140"/>
              <a:gd name="connsiteX29" fmla="*/ 567420 w 4366182"/>
              <a:gd name="connsiteY29" fmla="*/ 1385359 h 3748140"/>
              <a:gd name="connsiteX30" fmla="*/ 684506 w 4366182"/>
              <a:gd name="connsiteY30" fmla="*/ 1297925 h 3748140"/>
              <a:gd name="connsiteX31" fmla="*/ 898091 w 4366182"/>
              <a:gd name="connsiteY31" fmla="*/ 1150957 h 3748140"/>
              <a:gd name="connsiteX32" fmla="*/ 1088590 w 4366182"/>
              <a:gd name="connsiteY32" fmla="*/ 1026780 h 3748140"/>
              <a:gd name="connsiteX33" fmla="*/ 1169023 w 4366182"/>
              <a:gd name="connsiteY33" fmla="*/ 969019 h 3748140"/>
              <a:gd name="connsiteX34" fmla="*/ 1279091 w 4366182"/>
              <a:gd name="connsiteY34" fmla="*/ 903112 h 3748140"/>
              <a:gd name="connsiteX35" fmla="*/ 1270624 w 4366182"/>
              <a:gd name="connsiteY35" fmla="*/ 903542 h 3748140"/>
              <a:gd name="connsiteX36" fmla="*/ 1401857 w 4366182"/>
              <a:gd name="connsiteY36" fmla="*/ 837077 h 3748140"/>
              <a:gd name="connsiteX37" fmla="*/ 1486524 w 4366182"/>
              <a:gd name="connsiteY37" fmla="*/ 787879 h 3748140"/>
              <a:gd name="connsiteX38" fmla="*/ 1592357 w 4366182"/>
              <a:gd name="connsiteY38" fmla="*/ 729903 h 3748140"/>
              <a:gd name="connsiteX39" fmla="*/ 1702424 w 4366182"/>
              <a:gd name="connsiteY39" fmla="*/ 665901 h 3748140"/>
              <a:gd name="connsiteX40" fmla="*/ 1833657 w 4366182"/>
              <a:gd name="connsiteY40" fmla="*/ 595758 h 3748140"/>
              <a:gd name="connsiteX41" fmla="*/ 2028390 w 4366182"/>
              <a:gd name="connsiteY41" fmla="*/ 500969 h 3748140"/>
              <a:gd name="connsiteX42" fmla="*/ 2200104 w 4366182"/>
              <a:gd name="connsiteY42" fmla="*/ 428696 h 3748140"/>
              <a:gd name="connsiteX43" fmla="*/ 2379152 w 4366182"/>
              <a:gd name="connsiteY43" fmla="*/ 349380 h 3748140"/>
              <a:gd name="connsiteX44" fmla="*/ 2546356 w 4366182"/>
              <a:gd name="connsiteY44" fmla="*/ 295349 h 3748140"/>
              <a:gd name="connsiteX45" fmla="*/ 2791042 w 4366182"/>
              <a:gd name="connsiteY45"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981023 w 4366182"/>
              <a:gd name="connsiteY17" fmla="*/ 3221820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9623 w 4366182"/>
              <a:gd name="connsiteY17" fmla="*/ 3311338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22323 w 4366182"/>
              <a:gd name="connsiteY17" fmla="*/ 3324600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63623 w 4366182"/>
              <a:gd name="connsiteY17" fmla="*/ 3410800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92224 w 4366182"/>
              <a:gd name="connsiteY17" fmla="*/ 3483741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967391 w 4366182"/>
              <a:gd name="connsiteY17" fmla="*/ 3559997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57686"/>
              <a:gd name="connsiteX1" fmla="*/ 2955103 w 4366182"/>
              <a:gd name="connsiteY1" fmla="*/ 191099 h 3757686"/>
              <a:gd name="connsiteX2" fmla="*/ 3162124 w 4366182"/>
              <a:gd name="connsiteY2" fmla="*/ 145098 h 3757686"/>
              <a:gd name="connsiteX3" fmla="*/ 3437291 w 4366182"/>
              <a:gd name="connsiteY3" fmla="*/ 88735 h 3757686"/>
              <a:gd name="connsiteX4" fmla="*/ 3744757 w 4366182"/>
              <a:gd name="connsiteY4" fmla="*/ 48626 h 3757686"/>
              <a:gd name="connsiteX5" fmla="*/ 4364456 w 4366182"/>
              <a:gd name="connsiteY5" fmla="*/ 47 h 3757686"/>
              <a:gd name="connsiteX6" fmla="*/ 4360157 w 4366182"/>
              <a:gd name="connsiteY6" fmla="*/ 833488 h 3757686"/>
              <a:gd name="connsiteX7" fmla="*/ 4360157 w 4366182"/>
              <a:gd name="connsiteY7" fmla="*/ 859614 h 3757686"/>
              <a:gd name="connsiteX8" fmla="*/ 4360157 w 4366182"/>
              <a:gd name="connsiteY8" fmla="*/ 907539 h 3757686"/>
              <a:gd name="connsiteX9" fmla="*/ 4360157 w 4366182"/>
              <a:gd name="connsiteY9" fmla="*/ 944863 h 3757686"/>
              <a:gd name="connsiteX10" fmla="*/ 4360157 w 4366182"/>
              <a:gd name="connsiteY10" fmla="*/ 972911 h 3757686"/>
              <a:gd name="connsiteX11" fmla="*/ 4360157 w 4366182"/>
              <a:gd name="connsiteY11" fmla="*/ 993008 h 3757686"/>
              <a:gd name="connsiteX12" fmla="*/ 4360157 w 4366182"/>
              <a:gd name="connsiteY12" fmla="*/ 1006480 h 3757686"/>
              <a:gd name="connsiteX13" fmla="*/ 4360157 w 4366182"/>
              <a:gd name="connsiteY13" fmla="*/ 1018848 h 3757686"/>
              <a:gd name="connsiteX14" fmla="*/ 4360157 w 4366182"/>
              <a:gd name="connsiteY14" fmla="*/ 1020615 h 3757686"/>
              <a:gd name="connsiteX15" fmla="*/ 4360157 w 4366182"/>
              <a:gd name="connsiteY15" fmla="*/ 3748138 h 3757686"/>
              <a:gd name="connsiteX16" fmla="*/ 3873325 w 4366182"/>
              <a:gd name="connsiteY16" fmla="*/ 3729084 h 3757686"/>
              <a:gd name="connsiteX17" fmla="*/ 3390724 w 4366182"/>
              <a:gd name="connsiteY17" fmla="*/ 3752290 h 3757686"/>
              <a:gd name="connsiteX18" fmla="*/ 3179057 w 4366182"/>
              <a:gd name="connsiteY18" fmla="*/ 3609727 h 3757686"/>
              <a:gd name="connsiteX19" fmla="*/ 2967391 w 4366182"/>
              <a:gd name="connsiteY19" fmla="*/ 3559997 h 3757686"/>
              <a:gd name="connsiteX20" fmla="*/ 2692224 w 4366182"/>
              <a:gd name="connsiteY20" fmla="*/ 3483741 h 3757686"/>
              <a:gd name="connsiteX21" fmla="*/ 2463623 w 4366182"/>
              <a:gd name="connsiteY21" fmla="*/ 3410800 h 3757686"/>
              <a:gd name="connsiteX22" fmla="*/ 2222323 w 4366182"/>
              <a:gd name="connsiteY22" fmla="*/ 3324600 h 3757686"/>
              <a:gd name="connsiteX23" fmla="*/ 1981023 w 4366182"/>
              <a:gd name="connsiteY23" fmla="*/ 3221820 h 3757686"/>
              <a:gd name="connsiteX24" fmla="*/ 1718557 w 4366182"/>
              <a:gd name="connsiteY24" fmla="*/ 3089203 h 3757686"/>
              <a:gd name="connsiteX25" fmla="*/ 1481491 w 4366182"/>
              <a:gd name="connsiteY25" fmla="*/ 2959900 h 3757686"/>
              <a:gd name="connsiteX26" fmla="*/ 1235958 w 4366182"/>
              <a:gd name="connsiteY26" fmla="*/ 2807391 h 3757686"/>
              <a:gd name="connsiteX27" fmla="*/ 969257 w 4366182"/>
              <a:gd name="connsiteY27" fmla="*/ 2634988 h 3757686"/>
              <a:gd name="connsiteX28" fmla="*/ 804957 w 4366182"/>
              <a:gd name="connsiteY28" fmla="*/ 2524743 h 3757686"/>
              <a:gd name="connsiteX29" fmla="*/ 669490 w 4366182"/>
              <a:gd name="connsiteY29" fmla="*/ 2420660 h 3757686"/>
              <a:gd name="connsiteX30" fmla="*/ 474757 w 4366182"/>
              <a:gd name="connsiteY30" fmla="*/ 2273630 h 3757686"/>
              <a:gd name="connsiteX31" fmla="*/ 335057 w 4366182"/>
              <a:gd name="connsiteY31" fmla="*/ 2151653 h 3757686"/>
              <a:gd name="connsiteX32" fmla="*/ 148790 w 4366182"/>
              <a:gd name="connsiteY32" fmla="*/ 1999545 h 3757686"/>
              <a:gd name="connsiteX33" fmla="*/ 0 w 4366182"/>
              <a:gd name="connsiteY33" fmla="*/ 1876130 h 3757686"/>
              <a:gd name="connsiteX34" fmla="*/ 233633 w 4366182"/>
              <a:gd name="connsiteY34" fmla="*/ 1658188 h 3757686"/>
              <a:gd name="connsiteX35" fmla="*/ 450333 w 4366182"/>
              <a:gd name="connsiteY35" fmla="*/ 1473589 h 3757686"/>
              <a:gd name="connsiteX36" fmla="*/ 567420 w 4366182"/>
              <a:gd name="connsiteY36" fmla="*/ 1385359 h 3757686"/>
              <a:gd name="connsiteX37" fmla="*/ 684506 w 4366182"/>
              <a:gd name="connsiteY37" fmla="*/ 1297925 h 3757686"/>
              <a:gd name="connsiteX38" fmla="*/ 898091 w 4366182"/>
              <a:gd name="connsiteY38" fmla="*/ 1150957 h 3757686"/>
              <a:gd name="connsiteX39" fmla="*/ 1088590 w 4366182"/>
              <a:gd name="connsiteY39" fmla="*/ 1026780 h 3757686"/>
              <a:gd name="connsiteX40" fmla="*/ 1169023 w 4366182"/>
              <a:gd name="connsiteY40" fmla="*/ 969019 h 3757686"/>
              <a:gd name="connsiteX41" fmla="*/ 1279091 w 4366182"/>
              <a:gd name="connsiteY41" fmla="*/ 903112 h 3757686"/>
              <a:gd name="connsiteX42" fmla="*/ 1270624 w 4366182"/>
              <a:gd name="connsiteY42" fmla="*/ 903542 h 3757686"/>
              <a:gd name="connsiteX43" fmla="*/ 1401857 w 4366182"/>
              <a:gd name="connsiteY43" fmla="*/ 837077 h 3757686"/>
              <a:gd name="connsiteX44" fmla="*/ 1486524 w 4366182"/>
              <a:gd name="connsiteY44" fmla="*/ 787879 h 3757686"/>
              <a:gd name="connsiteX45" fmla="*/ 1592357 w 4366182"/>
              <a:gd name="connsiteY45" fmla="*/ 729903 h 3757686"/>
              <a:gd name="connsiteX46" fmla="*/ 1702424 w 4366182"/>
              <a:gd name="connsiteY46" fmla="*/ 665901 h 3757686"/>
              <a:gd name="connsiteX47" fmla="*/ 1833657 w 4366182"/>
              <a:gd name="connsiteY47" fmla="*/ 595758 h 3757686"/>
              <a:gd name="connsiteX48" fmla="*/ 2028390 w 4366182"/>
              <a:gd name="connsiteY48" fmla="*/ 500969 h 3757686"/>
              <a:gd name="connsiteX49" fmla="*/ 2200104 w 4366182"/>
              <a:gd name="connsiteY49" fmla="*/ 428696 h 3757686"/>
              <a:gd name="connsiteX50" fmla="*/ 2379152 w 4366182"/>
              <a:gd name="connsiteY50" fmla="*/ 349380 h 3757686"/>
              <a:gd name="connsiteX51" fmla="*/ 2546356 w 4366182"/>
              <a:gd name="connsiteY51" fmla="*/ 295349 h 3757686"/>
              <a:gd name="connsiteX52" fmla="*/ 2791042 w 4366182"/>
              <a:gd name="connsiteY52" fmla="*/ 224971 h 3757686"/>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399191 w 4366182"/>
              <a:gd name="connsiteY17" fmla="*/ 3656142 h 3748140"/>
              <a:gd name="connsiteX18" fmla="*/ 3179057 w 4366182"/>
              <a:gd name="connsiteY18" fmla="*/ 3609727 h 3748140"/>
              <a:gd name="connsiteX19" fmla="*/ 2967391 w 4366182"/>
              <a:gd name="connsiteY19" fmla="*/ 3559997 h 3748140"/>
              <a:gd name="connsiteX20" fmla="*/ 2692224 w 4366182"/>
              <a:gd name="connsiteY20" fmla="*/ 3483741 h 3748140"/>
              <a:gd name="connsiteX21" fmla="*/ 2463623 w 4366182"/>
              <a:gd name="connsiteY21" fmla="*/ 3410800 h 3748140"/>
              <a:gd name="connsiteX22" fmla="*/ 2222323 w 4366182"/>
              <a:gd name="connsiteY22" fmla="*/ 3324600 h 3748140"/>
              <a:gd name="connsiteX23" fmla="*/ 1981023 w 4366182"/>
              <a:gd name="connsiteY23" fmla="*/ 3221820 h 3748140"/>
              <a:gd name="connsiteX24" fmla="*/ 1718557 w 4366182"/>
              <a:gd name="connsiteY24" fmla="*/ 3089203 h 3748140"/>
              <a:gd name="connsiteX25" fmla="*/ 1481491 w 4366182"/>
              <a:gd name="connsiteY25" fmla="*/ 2959900 h 3748140"/>
              <a:gd name="connsiteX26" fmla="*/ 1235958 w 4366182"/>
              <a:gd name="connsiteY26" fmla="*/ 2807391 h 3748140"/>
              <a:gd name="connsiteX27" fmla="*/ 969257 w 4366182"/>
              <a:gd name="connsiteY27" fmla="*/ 2634988 h 3748140"/>
              <a:gd name="connsiteX28" fmla="*/ 804957 w 4366182"/>
              <a:gd name="connsiteY28" fmla="*/ 2524743 h 3748140"/>
              <a:gd name="connsiteX29" fmla="*/ 669490 w 4366182"/>
              <a:gd name="connsiteY29" fmla="*/ 2420660 h 3748140"/>
              <a:gd name="connsiteX30" fmla="*/ 474757 w 4366182"/>
              <a:gd name="connsiteY30" fmla="*/ 2273630 h 3748140"/>
              <a:gd name="connsiteX31" fmla="*/ 335057 w 4366182"/>
              <a:gd name="connsiteY31" fmla="*/ 2151653 h 3748140"/>
              <a:gd name="connsiteX32" fmla="*/ 148790 w 4366182"/>
              <a:gd name="connsiteY32" fmla="*/ 1999545 h 3748140"/>
              <a:gd name="connsiteX33" fmla="*/ 0 w 4366182"/>
              <a:gd name="connsiteY33" fmla="*/ 1876130 h 3748140"/>
              <a:gd name="connsiteX34" fmla="*/ 233633 w 4366182"/>
              <a:gd name="connsiteY34" fmla="*/ 1658188 h 3748140"/>
              <a:gd name="connsiteX35" fmla="*/ 450333 w 4366182"/>
              <a:gd name="connsiteY35" fmla="*/ 1473589 h 3748140"/>
              <a:gd name="connsiteX36" fmla="*/ 567420 w 4366182"/>
              <a:gd name="connsiteY36" fmla="*/ 1385359 h 3748140"/>
              <a:gd name="connsiteX37" fmla="*/ 684506 w 4366182"/>
              <a:gd name="connsiteY37" fmla="*/ 1297925 h 3748140"/>
              <a:gd name="connsiteX38" fmla="*/ 898091 w 4366182"/>
              <a:gd name="connsiteY38" fmla="*/ 1150957 h 3748140"/>
              <a:gd name="connsiteX39" fmla="*/ 1088590 w 4366182"/>
              <a:gd name="connsiteY39" fmla="*/ 1026780 h 3748140"/>
              <a:gd name="connsiteX40" fmla="*/ 1169023 w 4366182"/>
              <a:gd name="connsiteY40" fmla="*/ 969019 h 3748140"/>
              <a:gd name="connsiteX41" fmla="*/ 1279091 w 4366182"/>
              <a:gd name="connsiteY41" fmla="*/ 903112 h 3748140"/>
              <a:gd name="connsiteX42" fmla="*/ 1270624 w 4366182"/>
              <a:gd name="connsiteY42" fmla="*/ 903542 h 3748140"/>
              <a:gd name="connsiteX43" fmla="*/ 1401857 w 4366182"/>
              <a:gd name="connsiteY43" fmla="*/ 837077 h 3748140"/>
              <a:gd name="connsiteX44" fmla="*/ 1486524 w 4366182"/>
              <a:gd name="connsiteY44" fmla="*/ 787879 h 3748140"/>
              <a:gd name="connsiteX45" fmla="*/ 1592357 w 4366182"/>
              <a:gd name="connsiteY45" fmla="*/ 729903 h 3748140"/>
              <a:gd name="connsiteX46" fmla="*/ 1702424 w 4366182"/>
              <a:gd name="connsiteY46" fmla="*/ 665901 h 3748140"/>
              <a:gd name="connsiteX47" fmla="*/ 1833657 w 4366182"/>
              <a:gd name="connsiteY47" fmla="*/ 595758 h 3748140"/>
              <a:gd name="connsiteX48" fmla="*/ 2028390 w 4366182"/>
              <a:gd name="connsiteY48" fmla="*/ 500969 h 3748140"/>
              <a:gd name="connsiteX49" fmla="*/ 2200104 w 4366182"/>
              <a:gd name="connsiteY49" fmla="*/ 428696 h 3748140"/>
              <a:gd name="connsiteX50" fmla="*/ 2379152 w 4366182"/>
              <a:gd name="connsiteY50" fmla="*/ 349380 h 3748140"/>
              <a:gd name="connsiteX51" fmla="*/ 2546356 w 4366182"/>
              <a:gd name="connsiteY51" fmla="*/ 295349 h 3748140"/>
              <a:gd name="connsiteX52" fmla="*/ 2791042 w 4366182"/>
              <a:gd name="connsiteY52" fmla="*/ 224971 h 3748140"/>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593923 w 4366182"/>
              <a:gd name="connsiteY17" fmla="*/ 3685981 h 3748140"/>
              <a:gd name="connsiteX18" fmla="*/ 3399191 w 4366182"/>
              <a:gd name="connsiteY18" fmla="*/ 3656142 h 3748140"/>
              <a:gd name="connsiteX19" fmla="*/ 3179057 w 4366182"/>
              <a:gd name="connsiteY19" fmla="*/ 3609727 h 3748140"/>
              <a:gd name="connsiteX20" fmla="*/ 2967391 w 4366182"/>
              <a:gd name="connsiteY20" fmla="*/ 3559997 h 3748140"/>
              <a:gd name="connsiteX21" fmla="*/ 2692224 w 4366182"/>
              <a:gd name="connsiteY21" fmla="*/ 3483741 h 3748140"/>
              <a:gd name="connsiteX22" fmla="*/ 2463623 w 4366182"/>
              <a:gd name="connsiteY22" fmla="*/ 3410800 h 3748140"/>
              <a:gd name="connsiteX23" fmla="*/ 2222323 w 4366182"/>
              <a:gd name="connsiteY23" fmla="*/ 3324600 h 3748140"/>
              <a:gd name="connsiteX24" fmla="*/ 1981023 w 4366182"/>
              <a:gd name="connsiteY24" fmla="*/ 3221820 h 3748140"/>
              <a:gd name="connsiteX25" fmla="*/ 1718557 w 4366182"/>
              <a:gd name="connsiteY25" fmla="*/ 3089203 h 3748140"/>
              <a:gd name="connsiteX26" fmla="*/ 1481491 w 4366182"/>
              <a:gd name="connsiteY26" fmla="*/ 2959900 h 3748140"/>
              <a:gd name="connsiteX27" fmla="*/ 1235958 w 4366182"/>
              <a:gd name="connsiteY27" fmla="*/ 2807391 h 3748140"/>
              <a:gd name="connsiteX28" fmla="*/ 969257 w 4366182"/>
              <a:gd name="connsiteY28" fmla="*/ 2634988 h 3748140"/>
              <a:gd name="connsiteX29" fmla="*/ 804957 w 4366182"/>
              <a:gd name="connsiteY29" fmla="*/ 2524743 h 3748140"/>
              <a:gd name="connsiteX30" fmla="*/ 669490 w 4366182"/>
              <a:gd name="connsiteY30" fmla="*/ 2420660 h 3748140"/>
              <a:gd name="connsiteX31" fmla="*/ 474757 w 4366182"/>
              <a:gd name="connsiteY31" fmla="*/ 2273630 h 3748140"/>
              <a:gd name="connsiteX32" fmla="*/ 335057 w 4366182"/>
              <a:gd name="connsiteY32" fmla="*/ 2151653 h 3748140"/>
              <a:gd name="connsiteX33" fmla="*/ 148790 w 4366182"/>
              <a:gd name="connsiteY33" fmla="*/ 1999545 h 3748140"/>
              <a:gd name="connsiteX34" fmla="*/ 0 w 4366182"/>
              <a:gd name="connsiteY34" fmla="*/ 1876130 h 3748140"/>
              <a:gd name="connsiteX35" fmla="*/ 233633 w 4366182"/>
              <a:gd name="connsiteY35" fmla="*/ 1658188 h 3748140"/>
              <a:gd name="connsiteX36" fmla="*/ 450333 w 4366182"/>
              <a:gd name="connsiteY36" fmla="*/ 1473589 h 3748140"/>
              <a:gd name="connsiteX37" fmla="*/ 567420 w 4366182"/>
              <a:gd name="connsiteY37" fmla="*/ 1385359 h 3748140"/>
              <a:gd name="connsiteX38" fmla="*/ 684506 w 4366182"/>
              <a:gd name="connsiteY38" fmla="*/ 1297925 h 3748140"/>
              <a:gd name="connsiteX39" fmla="*/ 898091 w 4366182"/>
              <a:gd name="connsiteY39" fmla="*/ 1150957 h 3748140"/>
              <a:gd name="connsiteX40" fmla="*/ 1088590 w 4366182"/>
              <a:gd name="connsiteY40" fmla="*/ 1026780 h 3748140"/>
              <a:gd name="connsiteX41" fmla="*/ 1169023 w 4366182"/>
              <a:gd name="connsiteY41" fmla="*/ 969019 h 3748140"/>
              <a:gd name="connsiteX42" fmla="*/ 1279091 w 4366182"/>
              <a:gd name="connsiteY42" fmla="*/ 903112 h 3748140"/>
              <a:gd name="connsiteX43" fmla="*/ 1270624 w 4366182"/>
              <a:gd name="connsiteY43" fmla="*/ 903542 h 3748140"/>
              <a:gd name="connsiteX44" fmla="*/ 1401857 w 4366182"/>
              <a:gd name="connsiteY44" fmla="*/ 837077 h 3748140"/>
              <a:gd name="connsiteX45" fmla="*/ 1486524 w 4366182"/>
              <a:gd name="connsiteY45" fmla="*/ 787879 h 3748140"/>
              <a:gd name="connsiteX46" fmla="*/ 1592357 w 4366182"/>
              <a:gd name="connsiteY46" fmla="*/ 729903 h 3748140"/>
              <a:gd name="connsiteX47" fmla="*/ 1702424 w 4366182"/>
              <a:gd name="connsiteY47" fmla="*/ 665901 h 3748140"/>
              <a:gd name="connsiteX48" fmla="*/ 1833657 w 4366182"/>
              <a:gd name="connsiteY48" fmla="*/ 595758 h 3748140"/>
              <a:gd name="connsiteX49" fmla="*/ 2028390 w 4366182"/>
              <a:gd name="connsiteY49" fmla="*/ 500969 h 3748140"/>
              <a:gd name="connsiteX50" fmla="*/ 2200104 w 4366182"/>
              <a:gd name="connsiteY50" fmla="*/ 428696 h 3748140"/>
              <a:gd name="connsiteX51" fmla="*/ 2379152 w 4366182"/>
              <a:gd name="connsiteY51" fmla="*/ 349380 h 3748140"/>
              <a:gd name="connsiteX52" fmla="*/ 2546356 w 4366182"/>
              <a:gd name="connsiteY52" fmla="*/ 295349 h 3748140"/>
              <a:gd name="connsiteX53" fmla="*/ 2791042 w 4366182"/>
              <a:gd name="connsiteY53" fmla="*/ 224971 h 3748140"/>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169023 w 4366182"/>
              <a:gd name="connsiteY41" fmla="*/ 969019 h 3748138"/>
              <a:gd name="connsiteX42" fmla="*/ 1279091 w 4366182"/>
              <a:gd name="connsiteY42" fmla="*/ 903112 h 3748138"/>
              <a:gd name="connsiteX43" fmla="*/ 1270624 w 4366182"/>
              <a:gd name="connsiteY43" fmla="*/ 90354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855178"/>
              <a:gd name="connsiteX1" fmla="*/ 2955103 w 4366182"/>
              <a:gd name="connsiteY1" fmla="*/ 191099 h 3855178"/>
              <a:gd name="connsiteX2" fmla="*/ 3162124 w 4366182"/>
              <a:gd name="connsiteY2" fmla="*/ 145098 h 3855178"/>
              <a:gd name="connsiteX3" fmla="*/ 3437291 w 4366182"/>
              <a:gd name="connsiteY3" fmla="*/ 88735 h 3855178"/>
              <a:gd name="connsiteX4" fmla="*/ 3744757 w 4366182"/>
              <a:gd name="connsiteY4" fmla="*/ 48626 h 3855178"/>
              <a:gd name="connsiteX5" fmla="*/ 4364456 w 4366182"/>
              <a:gd name="connsiteY5" fmla="*/ 47 h 3855178"/>
              <a:gd name="connsiteX6" fmla="*/ 4360157 w 4366182"/>
              <a:gd name="connsiteY6" fmla="*/ 833488 h 3855178"/>
              <a:gd name="connsiteX7" fmla="*/ 4360157 w 4366182"/>
              <a:gd name="connsiteY7" fmla="*/ 859614 h 3855178"/>
              <a:gd name="connsiteX8" fmla="*/ 4360157 w 4366182"/>
              <a:gd name="connsiteY8" fmla="*/ 907539 h 3855178"/>
              <a:gd name="connsiteX9" fmla="*/ 4360157 w 4366182"/>
              <a:gd name="connsiteY9" fmla="*/ 944863 h 3855178"/>
              <a:gd name="connsiteX10" fmla="*/ 4360157 w 4366182"/>
              <a:gd name="connsiteY10" fmla="*/ 972911 h 3855178"/>
              <a:gd name="connsiteX11" fmla="*/ 4360157 w 4366182"/>
              <a:gd name="connsiteY11" fmla="*/ 993008 h 3855178"/>
              <a:gd name="connsiteX12" fmla="*/ 4360157 w 4366182"/>
              <a:gd name="connsiteY12" fmla="*/ 1006480 h 3855178"/>
              <a:gd name="connsiteX13" fmla="*/ 4360157 w 4366182"/>
              <a:gd name="connsiteY13" fmla="*/ 1018848 h 3855178"/>
              <a:gd name="connsiteX14" fmla="*/ 4360157 w 4366182"/>
              <a:gd name="connsiteY14" fmla="*/ 1020615 h 3855178"/>
              <a:gd name="connsiteX15" fmla="*/ 4360157 w 4366182"/>
              <a:gd name="connsiteY15" fmla="*/ 3748138 h 3855178"/>
              <a:gd name="connsiteX16" fmla="*/ 4093457 w 4366182"/>
              <a:gd name="connsiteY16" fmla="*/ 3855069 h 3855178"/>
              <a:gd name="connsiteX17" fmla="*/ 3835226 w 4366182"/>
              <a:gd name="connsiteY17" fmla="*/ 3715823 h 3855178"/>
              <a:gd name="connsiteX18" fmla="*/ 3593923 w 4366182"/>
              <a:gd name="connsiteY18" fmla="*/ 3685981 h 3855178"/>
              <a:gd name="connsiteX19" fmla="*/ 3399191 w 4366182"/>
              <a:gd name="connsiteY19" fmla="*/ 3656142 h 3855178"/>
              <a:gd name="connsiteX20" fmla="*/ 3179057 w 4366182"/>
              <a:gd name="connsiteY20" fmla="*/ 3609727 h 3855178"/>
              <a:gd name="connsiteX21" fmla="*/ 2967391 w 4366182"/>
              <a:gd name="connsiteY21" fmla="*/ 3559997 h 3855178"/>
              <a:gd name="connsiteX22" fmla="*/ 2692224 w 4366182"/>
              <a:gd name="connsiteY22" fmla="*/ 3483741 h 3855178"/>
              <a:gd name="connsiteX23" fmla="*/ 2463623 w 4366182"/>
              <a:gd name="connsiteY23" fmla="*/ 3410800 h 3855178"/>
              <a:gd name="connsiteX24" fmla="*/ 2222323 w 4366182"/>
              <a:gd name="connsiteY24" fmla="*/ 3324600 h 3855178"/>
              <a:gd name="connsiteX25" fmla="*/ 1981023 w 4366182"/>
              <a:gd name="connsiteY25" fmla="*/ 3221820 h 3855178"/>
              <a:gd name="connsiteX26" fmla="*/ 1718557 w 4366182"/>
              <a:gd name="connsiteY26" fmla="*/ 3089203 h 3855178"/>
              <a:gd name="connsiteX27" fmla="*/ 1481491 w 4366182"/>
              <a:gd name="connsiteY27" fmla="*/ 2959900 h 3855178"/>
              <a:gd name="connsiteX28" fmla="*/ 1235958 w 4366182"/>
              <a:gd name="connsiteY28" fmla="*/ 2807391 h 3855178"/>
              <a:gd name="connsiteX29" fmla="*/ 969257 w 4366182"/>
              <a:gd name="connsiteY29" fmla="*/ 2634988 h 3855178"/>
              <a:gd name="connsiteX30" fmla="*/ 804957 w 4366182"/>
              <a:gd name="connsiteY30" fmla="*/ 2524743 h 3855178"/>
              <a:gd name="connsiteX31" fmla="*/ 669490 w 4366182"/>
              <a:gd name="connsiteY31" fmla="*/ 2420660 h 3855178"/>
              <a:gd name="connsiteX32" fmla="*/ 474757 w 4366182"/>
              <a:gd name="connsiteY32" fmla="*/ 2273630 h 3855178"/>
              <a:gd name="connsiteX33" fmla="*/ 335057 w 4366182"/>
              <a:gd name="connsiteY33" fmla="*/ 2151653 h 3855178"/>
              <a:gd name="connsiteX34" fmla="*/ 148790 w 4366182"/>
              <a:gd name="connsiteY34" fmla="*/ 1999545 h 3855178"/>
              <a:gd name="connsiteX35" fmla="*/ 0 w 4366182"/>
              <a:gd name="connsiteY35" fmla="*/ 1876130 h 3855178"/>
              <a:gd name="connsiteX36" fmla="*/ 233633 w 4366182"/>
              <a:gd name="connsiteY36" fmla="*/ 1658188 h 3855178"/>
              <a:gd name="connsiteX37" fmla="*/ 450333 w 4366182"/>
              <a:gd name="connsiteY37" fmla="*/ 1473589 h 3855178"/>
              <a:gd name="connsiteX38" fmla="*/ 567420 w 4366182"/>
              <a:gd name="connsiteY38" fmla="*/ 1385359 h 3855178"/>
              <a:gd name="connsiteX39" fmla="*/ 684506 w 4366182"/>
              <a:gd name="connsiteY39" fmla="*/ 1297925 h 3855178"/>
              <a:gd name="connsiteX40" fmla="*/ 898091 w 4366182"/>
              <a:gd name="connsiteY40" fmla="*/ 1150957 h 3855178"/>
              <a:gd name="connsiteX41" fmla="*/ 1088590 w 4366182"/>
              <a:gd name="connsiteY41" fmla="*/ 1026780 h 3855178"/>
              <a:gd name="connsiteX42" fmla="*/ 1169023 w 4366182"/>
              <a:gd name="connsiteY42" fmla="*/ 969019 h 3855178"/>
              <a:gd name="connsiteX43" fmla="*/ 1279091 w 4366182"/>
              <a:gd name="connsiteY43" fmla="*/ 903112 h 3855178"/>
              <a:gd name="connsiteX44" fmla="*/ 1270624 w 4366182"/>
              <a:gd name="connsiteY44" fmla="*/ 903542 h 3855178"/>
              <a:gd name="connsiteX45" fmla="*/ 1401857 w 4366182"/>
              <a:gd name="connsiteY45" fmla="*/ 837077 h 3855178"/>
              <a:gd name="connsiteX46" fmla="*/ 1486524 w 4366182"/>
              <a:gd name="connsiteY46" fmla="*/ 787879 h 3855178"/>
              <a:gd name="connsiteX47" fmla="*/ 1592357 w 4366182"/>
              <a:gd name="connsiteY47" fmla="*/ 729903 h 3855178"/>
              <a:gd name="connsiteX48" fmla="*/ 1702424 w 4366182"/>
              <a:gd name="connsiteY48" fmla="*/ 665901 h 3855178"/>
              <a:gd name="connsiteX49" fmla="*/ 1833657 w 4366182"/>
              <a:gd name="connsiteY49" fmla="*/ 595758 h 3855178"/>
              <a:gd name="connsiteX50" fmla="*/ 2028390 w 4366182"/>
              <a:gd name="connsiteY50" fmla="*/ 500969 h 3855178"/>
              <a:gd name="connsiteX51" fmla="*/ 2200104 w 4366182"/>
              <a:gd name="connsiteY51" fmla="*/ 428696 h 3855178"/>
              <a:gd name="connsiteX52" fmla="*/ 2379152 w 4366182"/>
              <a:gd name="connsiteY52" fmla="*/ 349380 h 3855178"/>
              <a:gd name="connsiteX53" fmla="*/ 2546356 w 4366182"/>
              <a:gd name="connsiteY53" fmla="*/ 295349 h 3855178"/>
              <a:gd name="connsiteX54" fmla="*/ 2791042 w 4366182"/>
              <a:gd name="connsiteY54" fmla="*/ 224971 h 3855178"/>
              <a:gd name="connsiteX0" fmla="*/ 2791042 w 4366182"/>
              <a:gd name="connsiteY0" fmla="*/ 224971 h 3855069"/>
              <a:gd name="connsiteX1" fmla="*/ 2955103 w 4366182"/>
              <a:gd name="connsiteY1" fmla="*/ 191099 h 3855069"/>
              <a:gd name="connsiteX2" fmla="*/ 3162124 w 4366182"/>
              <a:gd name="connsiteY2" fmla="*/ 145098 h 3855069"/>
              <a:gd name="connsiteX3" fmla="*/ 3437291 w 4366182"/>
              <a:gd name="connsiteY3" fmla="*/ 88735 h 3855069"/>
              <a:gd name="connsiteX4" fmla="*/ 3744757 w 4366182"/>
              <a:gd name="connsiteY4" fmla="*/ 48626 h 3855069"/>
              <a:gd name="connsiteX5" fmla="*/ 4364456 w 4366182"/>
              <a:gd name="connsiteY5" fmla="*/ 47 h 3855069"/>
              <a:gd name="connsiteX6" fmla="*/ 4360157 w 4366182"/>
              <a:gd name="connsiteY6" fmla="*/ 833488 h 3855069"/>
              <a:gd name="connsiteX7" fmla="*/ 4360157 w 4366182"/>
              <a:gd name="connsiteY7" fmla="*/ 859614 h 3855069"/>
              <a:gd name="connsiteX8" fmla="*/ 4360157 w 4366182"/>
              <a:gd name="connsiteY8" fmla="*/ 907539 h 3855069"/>
              <a:gd name="connsiteX9" fmla="*/ 4360157 w 4366182"/>
              <a:gd name="connsiteY9" fmla="*/ 944863 h 3855069"/>
              <a:gd name="connsiteX10" fmla="*/ 4360157 w 4366182"/>
              <a:gd name="connsiteY10" fmla="*/ 972911 h 3855069"/>
              <a:gd name="connsiteX11" fmla="*/ 4360157 w 4366182"/>
              <a:gd name="connsiteY11" fmla="*/ 993008 h 3855069"/>
              <a:gd name="connsiteX12" fmla="*/ 4360157 w 4366182"/>
              <a:gd name="connsiteY12" fmla="*/ 1006480 h 3855069"/>
              <a:gd name="connsiteX13" fmla="*/ 4360157 w 4366182"/>
              <a:gd name="connsiteY13" fmla="*/ 1018848 h 3855069"/>
              <a:gd name="connsiteX14" fmla="*/ 4360157 w 4366182"/>
              <a:gd name="connsiteY14" fmla="*/ 1020615 h 3855069"/>
              <a:gd name="connsiteX15" fmla="*/ 4360157 w 4366182"/>
              <a:gd name="connsiteY15" fmla="*/ 3748138 h 3855069"/>
              <a:gd name="connsiteX16" fmla="*/ 4093457 w 4366182"/>
              <a:gd name="connsiteY16" fmla="*/ 3855069 h 3855069"/>
              <a:gd name="connsiteX17" fmla="*/ 3835226 w 4366182"/>
              <a:gd name="connsiteY17" fmla="*/ 3715823 h 3855069"/>
              <a:gd name="connsiteX18" fmla="*/ 3593923 w 4366182"/>
              <a:gd name="connsiteY18" fmla="*/ 3685981 h 3855069"/>
              <a:gd name="connsiteX19" fmla="*/ 3399191 w 4366182"/>
              <a:gd name="connsiteY19" fmla="*/ 3656142 h 3855069"/>
              <a:gd name="connsiteX20" fmla="*/ 3179057 w 4366182"/>
              <a:gd name="connsiteY20" fmla="*/ 3609727 h 3855069"/>
              <a:gd name="connsiteX21" fmla="*/ 2967391 w 4366182"/>
              <a:gd name="connsiteY21" fmla="*/ 3559997 h 3855069"/>
              <a:gd name="connsiteX22" fmla="*/ 2692224 w 4366182"/>
              <a:gd name="connsiteY22" fmla="*/ 3483741 h 3855069"/>
              <a:gd name="connsiteX23" fmla="*/ 2463623 w 4366182"/>
              <a:gd name="connsiteY23" fmla="*/ 3410800 h 3855069"/>
              <a:gd name="connsiteX24" fmla="*/ 2222323 w 4366182"/>
              <a:gd name="connsiteY24" fmla="*/ 3324600 h 3855069"/>
              <a:gd name="connsiteX25" fmla="*/ 1981023 w 4366182"/>
              <a:gd name="connsiteY25" fmla="*/ 3221820 h 3855069"/>
              <a:gd name="connsiteX26" fmla="*/ 1718557 w 4366182"/>
              <a:gd name="connsiteY26" fmla="*/ 3089203 h 3855069"/>
              <a:gd name="connsiteX27" fmla="*/ 1481491 w 4366182"/>
              <a:gd name="connsiteY27" fmla="*/ 2959900 h 3855069"/>
              <a:gd name="connsiteX28" fmla="*/ 1235958 w 4366182"/>
              <a:gd name="connsiteY28" fmla="*/ 2807391 h 3855069"/>
              <a:gd name="connsiteX29" fmla="*/ 969257 w 4366182"/>
              <a:gd name="connsiteY29" fmla="*/ 2634988 h 3855069"/>
              <a:gd name="connsiteX30" fmla="*/ 804957 w 4366182"/>
              <a:gd name="connsiteY30" fmla="*/ 2524743 h 3855069"/>
              <a:gd name="connsiteX31" fmla="*/ 669490 w 4366182"/>
              <a:gd name="connsiteY31" fmla="*/ 2420660 h 3855069"/>
              <a:gd name="connsiteX32" fmla="*/ 474757 w 4366182"/>
              <a:gd name="connsiteY32" fmla="*/ 2273630 h 3855069"/>
              <a:gd name="connsiteX33" fmla="*/ 335057 w 4366182"/>
              <a:gd name="connsiteY33" fmla="*/ 2151653 h 3855069"/>
              <a:gd name="connsiteX34" fmla="*/ 148790 w 4366182"/>
              <a:gd name="connsiteY34" fmla="*/ 1999545 h 3855069"/>
              <a:gd name="connsiteX35" fmla="*/ 0 w 4366182"/>
              <a:gd name="connsiteY35" fmla="*/ 1876130 h 3855069"/>
              <a:gd name="connsiteX36" fmla="*/ 233633 w 4366182"/>
              <a:gd name="connsiteY36" fmla="*/ 1658188 h 3855069"/>
              <a:gd name="connsiteX37" fmla="*/ 450333 w 4366182"/>
              <a:gd name="connsiteY37" fmla="*/ 1473589 h 3855069"/>
              <a:gd name="connsiteX38" fmla="*/ 567420 w 4366182"/>
              <a:gd name="connsiteY38" fmla="*/ 1385359 h 3855069"/>
              <a:gd name="connsiteX39" fmla="*/ 684506 w 4366182"/>
              <a:gd name="connsiteY39" fmla="*/ 1297925 h 3855069"/>
              <a:gd name="connsiteX40" fmla="*/ 898091 w 4366182"/>
              <a:gd name="connsiteY40" fmla="*/ 1150957 h 3855069"/>
              <a:gd name="connsiteX41" fmla="*/ 1088590 w 4366182"/>
              <a:gd name="connsiteY41" fmla="*/ 1026780 h 3855069"/>
              <a:gd name="connsiteX42" fmla="*/ 1169023 w 4366182"/>
              <a:gd name="connsiteY42" fmla="*/ 969019 h 3855069"/>
              <a:gd name="connsiteX43" fmla="*/ 1279091 w 4366182"/>
              <a:gd name="connsiteY43" fmla="*/ 903112 h 3855069"/>
              <a:gd name="connsiteX44" fmla="*/ 1270624 w 4366182"/>
              <a:gd name="connsiteY44" fmla="*/ 903542 h 3855069"/>
              <a:gd name="connsiteX45" fmla="*/ 1401857 w 4366182"/>
              <a:gd name="connsiteY45" fmla="*/ 837077 h 3855069"/>
              <a:gd name="connsiteX46" fmla="*/ 1486524 w 4366182"/>
              <a:gd name="connsiteY46" fmla="*/ 787879 h 3855069"/>
              <a:gd name="connsiteX47" fmla="*/ 1592357 w 4366182"/>
              <a:gd name="connsiteY47" fmla="*/ 729903 h 3855069"/>
              <a:gd name="connsiteX48" fmla="*/ 1702424 w 4366182"/>
              <a:gd name="connsiteY48" fmla="*/ 665901 h 3855069"/>
              <a:gd name="connsiteX49" fmla="*/ 1833657 w 4366182"/>
              <a:gd name="connsiteY49" fmla="*/ 595758 h 3855069"/>
              <a:gd name="connsiteX50" fmla="*/ 2028390 w 4366182"/>
              <a:gd name="connsiteY50" fmla="*/ 500969 h 3855069"/>
              <a:gd name="connsiteX51" fmla="*/ 2200104 w 4366182"/>
              <a:gd name="connsiteY51" fmla="*/ 428696 h 3855069"/>
              <a:gd name="connsiteX52" fmla="*/ 2379152 w 4366182"/>
              <a:gd name="connsiteY52" fmla="*/ 349380 h 3855069"/>
              <a:gd name="connsiteX53" fmla="*/ 2546356 w 4366182"/>
              <a:gd name="connsiteY53" fmla="*/ 295349 h 3855069"/>
              <a:gd name="connsiteX54" fmla="*/ 2791042 w 4366182"/>
              <a:gd name="connsiteY54" fmla="*/ 224971 h 3855069"/>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270624 w 4366182"/>
              <a:gd name="connsiteY44" fmla="*/ 903542 h 3748138"/>
              <a:gd name="connsiteX45" fmla="*/ 1401857 w 4366182"/>
              <a:gd name="connsiteY45" fmla="*/ 837077 h 3748138"/>
              <a:gd name="connsiteX46" fmla="*/ 1486524 w 4366182"/>
              <a:gd name="connsiteY46" fmla="*/ 787879 h 3748138"/>
              <a:gd name="connsiteX47" fmla="*/ 1592357 w 4366182"/>
              <a:gd name="connsiteY47" fmla="*/ 729903 h 3748138"/>
              <a:gd name="connsiteX48" fmla="*/ 1702424 w 4366182"/>
              <a:gd name="connsiteY48" fmla="*/ 665901 h 3748138"/>
              <a:gd name="connsiteX49" fmla="*/ 1833657 w 4366182"/>
              <a:gd name="connsiteY49" fmla="*/ 595758 h 3748138"/>
              <a:gd name="connsiteX50" fmla="*/ 2028390 w 4366182"/>
              <a:gd name="connsiteY50" fmla="*/ 500969 h 3748138"/>
              <a:gd name="connsiteX51" fmla="*/ 2200104 w 4366182"/>
              <a:gd name="connsiteY51" fmla="*/ 428696 h 3748138"/>
              <a:gd name="connsiteX52" fmla="*/ 2379152 w 4366182"/>
              <a:gd name="connsiteY52" fmla="*/ 349380 h 3748138"/>
              <a:gd name="connsiteX53" fmla="*/ 2546356 w 4366182"/>
              <a:gd name="connsiteY53" fmla="*/ 295349 h 3748138"/>
              <a:gd name="connsiteX54" fmla="*/ 2791042 w 4366182"/>
              <a:gd name="connsiteY54"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94991 w 4366182"/>
              <a:gd name="connsiteY45" fmla="*/ 784563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77932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600824 w 4366182"/>
              <a:gd name="connsiteY44" fmla="*/ 719957 h 3748138"/>
              <a:gd name="connsiteX45" fmla="*/ 1702424 w 4366182"/>
              <a:gd name="connsiteY45" fmla="*/ 665901 h 3748138"/>
              <a:gd name="connsiteX46" fmla="*/ 1833657 w 4366182"/>
              <a:gd name="connsiteY46" fmla="*/ 595758 h 3748138"/>
              <a:gd name="connsiteX47" fmla="*/ 2028390 w 4366182"/>
              <a:gd name="connsiteY47" fmla="*/ 500969 h 3748138"/>
              <a:gd name="connsiteX48" fmla="*/ 2187404 w 4366182"/>
              <a:gd name="connsiteY48" fmla="*/ 428696 h 3748138"/>
              <a:gd name="connsiteX49" fmla="*/ 2379152 w 4366182"/>
              <a:gd name="connsiteY49" fmla="*/ 349380 h 3748138"/>
              <a:gd name="connsiteX50" fmla="*/ 2546356 w 4366182"/>
              <a:gd name="connsiteY50" fmla="*/ 295349 h 3748138"/>
              <a:gd name="connsiteX51" fmla="*/ 2791042 w 4366182"/>
              <a:gd name="connsiteY51"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702424 w 4366182"/>
              <a:gd name="connsiteY44" fmla="*/ 665901 h 3748138"/>
              <a:gd name="connsiteX45" fmla="*/ 1833657 w 4366182"/>
              <a:gd name="connsiteY45" fmla="*/ 595758 h 3748138"/>
              <a:gd name="connsiteX46" fmla="*/ 2028390 w 4366182"/>
              <a:gd name="connsiteY46" fmla="*/ 500969 h 3748138"/>
              <a:gd name="connsiteX47" fmla="*/ 2187404 w 4366182"/>
              <a:gd name="connsiteY47" fmla="*/ 428696 h 3748138"/>
              <a:gd name="connsiteX48" fmla="*/ 2379152 w 4366182"/>
              <a:gd name="connsiteY48" fmla="*/ 349380 h 3748138"/>
              <a:gd name="connsiteX49" fmla="*/ 2546356 w 4366182"/>
              <a:gd name="connsiteY49" fmla="*/ 295349 h 3748138"/>
              <a:gd name="connsiteX50" fmla="*/ 2791042 w 4366182"/>
              <a:gd name="connsiteY50"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279091 w 4366182"/>
              <a:gd name="connsiteY41" fmla="*/ 903112 h 3748138"/>
              <a:gd name="connsiteX42" fmla="*/ 1486524 w 4366182"/>
              <a:gd name="connsiteY42" fmla="*/ 777932 h 3748138"/>
              <a:gd name="connsiteX43" fmla="*/ 1702424 w 4366182"/>
              <a:gd name="connsiteY43" fmla="*/ 665901 h 3748138"/>
              <a:gd name="connsiteX44" fmla="*/ 1833657 w 4366182"/>
              <a:gd name="connsiteY44" fmla="*/ 595758 h 3748138"/>
              <a:gd name="connsiteX45" fmla="*/ 2028390 w 4366182"/>
              <a:gd name="connsiteY45" fmla="*/ 500969 h 3748138"/>
              <a:gd name="connsiteX46" fmla="*/ 2187404 w 4366182"/>
              <a:gd name="connsiteY46" fmla="*/ 428696 h 3748138"/>
              <a:gd name="connsiteX47" fmla="*/ 2379152 w 4366182"/>
              <a:gd name="connsiteY47" fmla="*/ 349380 h 3748138"/>
              <a:gd name="connsiteX48" fmla="*/ 2546356 w 4366182"/>
              <a:gd name="connsiteY48" fmla="*/ 295349 h 3748138"/>
              <a:gd name="connsiteX49" fmla="*/ 2791042 w 4366182"/>
              <a:gd name="connsiteY49"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1833657 w 4366182"/>
              <a:gd name="connsiteY43" fmla="*/ 595758 h 3748138"/>
              <a:gd name="connsiteX44" fmla="*/ 2028390 w 4366182"/>
              <a:gd name="connsiteY44" fmla="*/ 500969 h 3748138"/>
              <a:gd name="connsiteX45" fmla="*/ 2187404 w 4366182"/>
              <a:gd name="connsiteY45" fmla="*/ 428696 h 3748138"/>
              <a:gd name="connsiteX46" fmla="*/ 2379152 w 4366182"/>
              <a:gd name="connsiteY46" fmla="*/ 349380 h 3748138"/>
              <a:gd name="connsiteX47" fmla="*/ 2546356 w 4366182"/>
              <a:gd name="connsiteY47" fmla="*/ 295349 h 3748138"/>
              <a:gd name="connsiteX48" fmla="*/ 2791042 w 4366182"/>
              <a:gd name="connsiteY48"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2028390 w 4366182"/>
              <a:gd name="connsiteY43" fmla="*/ 500969 h 3748138"/>
              <a:gd name="connsiteX44" fmla="*/ 2187404 w 4366182"/>
              <a:gd name="connsiteY44" fmla="*/ 428696 h 3748138"/>
              <a:gd name="connsiteX45" fmla="*/ 2379152 w 4366182"/>
              <a:gd name="connsiteY45" fmla="*/ 349380 h 3748138"/>
              <a:gd name="connsiteX46" fmla="*/ 2546356 w 4366182"/>
              <a:gd name="connsiteY46" fmla="*/ 295349 h 3748138"/>
              <a:gd name="connsiteX47" fmla="*/ 2791042 w 4366182"/>
              <a:gd name="connsiteY47" fmla="*/ 224971 h 3748138"/>
              <a:gd name="connsiteX0" fmla="*/ 2791042 w 4366182"/>
              <a:gd name="connsiteY0" fmla="*/ 224924 h 3748091"/>
              <a:gd name="connsiteX1" fmla="*/ 3162124 w 4366182"/>
              <a:gd name="connsiteY1" fmla="*/ 145051 h 3748091"/>
              <a:gd name="connsiteX2" fmla="*/ 3437291 w 4366182"/>
              <a:gd name="connsiteY2" fmla="*/ 88688 h 3748091"/>
              <a:gd name="connsiteX3" fmla="*/ 3744757 w 4366182"/>
              <a:gd name="connsiteY3" fmla="*/ 48579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4924 h 3748091"/>
              <a:gd name="connsiteX1" fmla="*/ 3162124 w 4366182"/>
              <a:gd name="connsiteY1" fmla="*/ 145051 h 3748091"/>
              <a:gd name="connsiteX2" fmla="*/ 3437291 w 4366182"/>
              <a:gd name="connsiteY2" fmla="*/ 88688 h 3748091"/>
              <a:gd name="connsiteX3" fmla="*/ 4070724 w 4366182"/>
              <a:gd name="connsiteY3" fmla="*/ 8793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6078 h 3749245"/>
              <a:gd name="connsiteX1" fmla="*/ 3162124 w 4366182"/>
              <a:gd name="connsiteY1" fmla="*/ 146205 h 3749245"/>
              <a:gd name="connsiteX2" fmla="*/ 3437291 w 4366182"/>
              <a:gd name="connsiteY2" fmla="*/ 89842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86524 w 4366182"/>
              <a:gd name="connsiteY41" fmla="*/ 779039 h 3749245"/>
              <a:gd name="connsiteX42" fmla="*/ 1702424 w 4366182"/>
              <a:gd name="connsiteY42" fmla="*/ 667008 h 3749245"/>
              <a:gd name="connsiteX43" fmla="*/ 2028390 w 4366182"/>
              <a:gd name="connsiteY43" fmla="*/ 502076 h 3749245"/>
              <a:gd name="connsiteX44" fmla="*/ 2187404 w 4366182"/>
              <a:gd name="connsiteY44" fmla="*/ 429803 h 3749245"/>
              <a:gd name="connsiteX45" fmla="*/ 2379152 w 4366182"/>
              <a:gd name="connsiteY45" fmla="*/ 350487 h 3749245"/>
              <a:gd name="connsiteX46" fmla="*/ 2546356 w 4366182"/>
              <a:gd name="connsiteY46" fmla="*/ 296456 h 3749245"/>
              <a:gd name="connsiteX47" fmla="*/ 2791042 w 4366182"/>
              <a:gd name="connsiteY47" fmla="*/ 226078 h 3749245"/>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824908 w 4366182"/>
              <a:gd name="connsiteY0" fmla="*/ 520634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2824908 w 4366182"/>
              <a:gd name="connsiteY48" fmla="*/ 501260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272192 w 4366182"/>
              <a:gd name="connsiteY1" fmla="*/ 126313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7243 h 3753402"/>
              <a:gd name="connsiteX1" fmla="*/ 3272192 w 4366182"/>
              <a:gd name="connsiteY1" fmla="*/ 130470 h 3753402"/>
              <a:gd name="connsiteX2" fmla="*/ 3462692 w 4366182"/>
              <a:gd name="connsiteY2" fmla="*/ 100630 h 3753402"/>
              <a:gd name="connsiteX3" fmla="*/ 3687057 w 4366182"/>
              <a:gd name="connsiteY3" fmla="*/ 64159 h 3753402"/>
              <a:gd name="connsiteX4" fmla="*/ 4206191 w 4366182"/>
              <a:gd name="connsiteY4" fmla="*/ 4157 h 3753402"/>
              <a:gd name="connsiteX5" fmla="*/ 4364456 w 4366182"/>
              <a:gd name="connsiteY5" fmla="*/ 5311 h 3753402"/>
              <a:gd name="connsiteX6" fmla="*/ 4360157 w 4366182"/>
              <a:gd name="connsiteY6" fmla="*/ 838752 h 3753402"/>
              <a:gd name="connsiteX7" fmla="*/ 4360157 w 4366182"/>
              <a:gd name="connsiteY7" fmla="*/ 864878 h 3753402"/>
              <a:gd name="connsiteX8" fmla="*/ 4360157 w 4366182"/>
              <a:gd name="connsiteY8" fmla="*/ 912803 h 3753402"/>
              <a:gd name="connsiteX9" fmla="*/ 4360157 w 4366182"/>
              <a:gd name="connsiteY9" fmla="*/ 950127 h 3753402"/>
              <a:gd name="connsiteX10" fmla="*/ 4360157 w 4366182"/>
              <a:gd name="connsiteY10" fmla="*/ 978175 h 3753402"/>
              <a:gd name="connsiteX11" fmla="*/ 4360157 w 4366182"/>
              <a:gd name="connsiteY11" fmla="*/ 998272 h 3753402"/>
              <a:gd name="connsiteX12" fmla="*/ 4360157 w 4366182"/>
              <a:gd name="connsiteY12" fmla="*/ 1011744 h 3753402"/>
              <a:gd name="connsiteX13" fmla="*/ 4360157 w 4366182"/>
              <a:gd name="connsiteY13" fmla="*/ 1024112 h 3753402"/>
              <a:gd name="connsiteX14" fmla="*/ 4360157 w 4366182"/>
              <a:gd name="connsiteY14" fmla="*/ 1025879 h 3753402"/>
              <a:gd name="connsiteX15" fmla="*/ 4360157 w 4366182"/>
              <a:gd name="connsiteY15" fmla="*/ 3753402 h 3753402"/>
              <a:gd name="connsiteX16" fmla="*/ 4093457 w 4366182"/>
              <a:gd name="connsiteY16" fmla="*/ 3744292 h 3753402"/>
              <a:gd name="connsiteX17" fmla="*/ 3835226 w 4366182"/>
              <a:gd name="connsiteY17" fmla="*/ 3721087 h 3753402"/>
              <a:gd name="connsiteX18" fmla="*/ 3593923 w 4366182"/>
              <a:gd name="connsiteY18" fmla="*/ 3691245 h 3753402"/>
              <a:gd name="connsiteX19" fmla="*/ 3399191 w 4366182"/>
              <a:gd name="connsiteY19" fmla="*/ 3661406 h 3753402"/>
              <a:gd name="connsiteX20" fmla="*/ 3179057 w 4366182"/>
              <a:gd name="connsiteY20" fmla="*/ 3614991 h 3753402"/>
              <a:gd name="connsiteX21" fmla="*/ 2967391 w 4366182"/>
              <a:gd name="connsiteY21" fmla="*/ 3565261 h 3753402"/>
              <a:gd name="connsiteX22" fmla="*/ 2692224 w 4366182"/>
              <a:gd name="connsiteY22" fmla="*/ 3489005 h 3753402"/>
              <a:gd name="connsiteX23" fmla="*/ 2463623 w 4366182"/>
              <a:gd name="connsiteY23" fmla="*/ 3416064 h 3753402"/>
              <a:gd name="connsiteX24" fmla="*/ 2222323 w 4366182"/>
              <a:gd name="connsiteY24" fmla="*/ 3329864 h 3753402"/>
              <a:gd name="connsiteX25" fmla="*/ 1981023 w 4366182"/>
              <a:gd name="connsiteY25" fmla="*/ 3227084 h 3753402"/>
              <a:gd name="connsiteX26" fmla="*/ 1718557 w 4366182"/>
              <a:gd name="connsiteY26" fmla="*/ 3094467 h 3753402"/>
              <a:gd name="connsiteX27" fmla="*/ 1481491 w 4366182"/>
              <a:gd name="connsiteY27" fmla="*/ 2965164 h 3753402"/>
              <a:gd name="connsiteX28" fmla="*/ 1235958 w 4366182"/>
              <a:gd name="connsiteY28" fmla="*/ 2812655 h 3753402"/>
              <a:gd name="connsiteX29" fmla="*/ 969257 w 4366182"/>
              <a:gd name="connsiteY29" fmla="*/ 2640252 h 3753402"/>
              <a:gd name="connsiteX30" fmla="*/ 804957 w 4366182"/>
              <a:gd name="connsiteY30" fmla="*/ 2530007 h 3753402"/>
              <a:gd name="connsiteX31" fmla="*/ 669490 w 4366182"/>
              <a:gd name="connsiteY31" fmla="*/ 2425924 h 3753402"/>
              <a:gd name="connsiteX32" fmla="*/ 474757 w 4366182"/>
              <a:gd name="connsiteY32" fmla="*/ 2278894 h 3753402"/>
              <a:gd name="connsiteX33" fmla="*/ 335057 w 4366182"/>
              <a:gd name="connsiteY33" fmla="*/ 2156917 h 3753402"/>
              <a:gd name="connsiteX34" fmla="*/ 148790 w 4366182"/>
              <a:gd name="connsiteY34" fmla="*/ 2004809 h 3753402"/>
              <a:gd name="connsiteX35" fmla="*/ 0 w 4366182"/>
              <a:gd name="connsiteY35" fmla="*/ 1881394 h 3753402"/>
              <a:gd name="connsiteX36" fmla="*/ 178599 w 4366182"/>
              <a:gd name="connsiteY36" fmla="*/ 1713182 h 3753402"/>
              <a:gd name="connsiteX37" fmla="*/ 395300 w 4366182"/>
              <a:gd name="connsiteY37" fmla="*/ 1518637 h 3753402"/>
              <a:gd name="connsiteX38" fmla="*/ 667572 w 4366182"/>
              <a:gd name="connsiteY38" fmla="*/ 1323080 h 3753402"/>
              <a:gd name="connsiteX39" fmla="*/ 881158 w 4366182"/>
              <a:gd name="connsiteY39" fmla="*/ 1176115 h 3753402"/>
              <a:gd name="connsiteX40" fmla="*/ 1054723 w 4366182"/>
              <a:gd name="connsiteY40" fmla="*/ 1058567 h 3753402"/>
              <a:gd name="connsiteX41" fmla="*/ 1287558 w 4366182"/>
              <a:gd name="connsiteY41" fmla="*/ 905061 h 3753402"/>
              <a:gd name="connsiteX42" fmla="*/ 1554258 w 4366182"/>
              <a:gd name="connsiteY42" fmla="*/ 746727 h 3753402"/>
              <a:gd name="connsiteX43" fmla="*/ 1765924 w 4366182"/>
              <a:gd name="connsiteY43" fmla="*/ 641328 h 3753402"/>
              <a:gd name="connsiteX44" fmla="*/ 1969124 w 4366182"/>
              <a:gd name="connsiteY44" fmla="*/ 536073 h 3753402"/>
              <a:gd name="connsiteX45" fmla="*/ 2178937 w 4366182"/>
              <a:gd name="connsiteY45" fmla="*/ 443906 h 3753402"/>
              <a:gd name="connsiteX46" fmla="*/ 2396086 w 4366182"/>
              <a:gd name="connsiteY46" fmla="*/ 351329 h 3753402"/>
              <a:gd name="connsiteX47" fmla="*/ 2675290 w 4366182"/>
              <a:gd name="connsiteY47" fmla="*/ 266400 h 3753402"/>
              <a:gd name="connsiteX48" fmla="*/ 2872323 w 4366182"/>
              <a:gd name="connsiteY48" fmla="*/ 217726 h 3753402"/>
              <a:gd name="connsiteX49" fmla="*/ 3066208 w 4366182"/>
              <a:gd name="connsiteY49" fmla="*/ 167243 h 3753402"/>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63086 h 3749245"/>
              <a:gd name="connsiteX1" fmla="*/ 3272192 w 4366182"/>
              <a:gd name="connsiteY1" fmla="*/ 126313 h 3749245"/>
              <a:gd name="connsiteX2" fmla="*/ 3462692 w 4366182"/>
              <a:gd name="connsiteY2" fmla="*/ 96473 h 3749245"/>
              <a:gd name="connsiteX3" fmla="*/ 3687057 w 4366182"/>
              <a:gd name="connsiteY3" fmla="*/ 60002 h 3749245"/>
              <a:gd name="connsiteX4" fmla="*/ 3915657 w 4366182"/>
              <a:gd name="connsiteY4" fmla="*/ 146204 h 3749245"/>
              <a:gd name="connsiteX5" fmla="*/ 4206191 w 4366182"/>
              <a:gd name="connsiteY5" fmla="*/ 0 h 3749245"/>
              <a:gd name="connsiteX6" fmla="*/ 4364456 w 4366182"/>
              <a:gd name="connsiteY6" fmla="*/ 1154 h 3749245"/>
              <a:gd name="connsiteX7" fmla="*/ 4360157 w 4366182"/>
              <a:gd name="connsiteY7" fmla="*/ 834595 h 3749245"/>
              <a:gd name="connsiteX8" fmla="*/ 4360157 w 4366182"/>
              <a:gd name="connsiteY8" fmla="*/ 860721 h 3749245"/>
              <a:gd name="connsiteX9" fmla="*/ 4360157 w 4366182"/>
              <a:gd name="connsiteY9" fmla="*/ 908646 h 3749245"/>
              <a:gd name="connsiteX10" fmla="*/ 4360157 w 4366182"/>
              <a:gd name="connsiteY10" fmla="*/ 945970 h 3749245"/>
              <a:gd name="connsiteX11" fmla="*/ 4360157 w 4366182"/>
              <a:gd name="connsiteY11" fmla="*/ 974018 h 3749245"/>
              <a:gd name="connsiteX12" fmla="*/ 4360157 w 4366182"/>
              <a:gd name="connsiteY12" fmla="*/ 994115 h 3749245"/>
              <a:gd name="connsiteX13" fmla="*/ 4360157 w 4366182"/>
              <a:gd name="connsiteY13" fmla="*/ 1007587 h 3749245"/>
              <a:gd name="connsiteX14" fmla="*/ 4360157 w 4366182"/>
              <a:gd name="connsiteY14" fmla="*/ 1019955 h 3749245"/>
              <a:gd name="connsiteX15" fmla="*/ 4360157 w 4366182"/>
              <a:gd name="connsiteY15" fmla="*/ 1021722 h 3749245"/>
              <a:gd name="connsiteX16" fmla="*/ 4360157 w 4366182"/>
              <a:gd name="connsiteY16" fmla="*/ 3749245 h 3749245"/>
              <a:gd name="connsiteX17" fmla="*/ 4093457 w 4366182"/>
              <a:gd name="connsiteY17" fmla="*/ 3740135 h 3749245"/>
              <a:gd name="connsiteX18" fmla="*/ 3835226 w 4366182"/>
              <a:gd name="connsiteY18" fmla="*/ 3716930 h 3749245"/>
              <a:gd name="connsiteX19" fmla="*/ 3593923 w 4366182"/>
              <a:gd name="connsiteY19" fmla="*/ 3687088 h 3749245"/>
              <a:gd name="connsiteX20" fmla="*/ 3399191 w 4366182"/>
              <a:gd name="connsiteY20" fmla="*/ 3657249 h 3749245"/>
              <a:gd name="connsiteX21" fmla="*/ 3179057 w 4366182"/>
              <a:gd name="connsiteY21" fmla="*/ 3610834 h 3749245"/>
              <a:gd name="connsiteX22" fmla="*/ 2967391 w 4366182"/>
              <a:gd name="connsiteY22" fmla="*/ 3561104 h 3749245"/>
              <a:gd name="connsiteX23" fmla="*/ 2692224 w 4366182"/>
              <a:gd name="connsiteY23" fmla="*/ 3484848 h 3749245"/>
              <a:gd name="connsiteX24" fmla="*/ 2463623 w 4366182"/>
              <a:gd name="connsiteY24" fmla="*/ 3411907 h 3749245"/>
              <a:gd name="connsiteX25" fmla="*/ 2222323 w 4366182"/>
              <a:gd name="connsiteY25" fmla="*/ 3325707 h 3749245"/>
              <a:gd name="connsiteX26" fmla="*/ 1981023 w 4366182"/>
              <a:gd name="connsiteY26" fmla="*/ 3222927 h 3749245"/>
              <a:gd name="connsiteX27" fmla="*/ 1718557 w 4366182"/>
              <a:gd name="connsiteY27" fmla="*/ 3090310 h 3749245"/>
              <a:gd name="connsiteX28" fmla="*/ 1481491 w 4366182"/>
              <a:gd name="connsiteY28" fmla="*/ 2961007 h 3749245"/>
              <a:gd name="connsiteX29" fmla="*/ 1235958 w 4366182"/>
              <a:gd name="connsiteY29" fmla="*/ 2808498 h 3749245"/>
              <a:gd name="connsiteX30" fmla="*/ 969257 w 4366182"/>
              <a:gd name="connsiteY30" fmla="*/ 2636095 h 3749245"/>
              <a:gd name="connsiteX31" fmla="*/ 804957 w 4366182"/>
              <a:gd name="connsiteY31" fmla="*/ 2525850 h 3749245"/>
              <a:gd name="connsiteX32" fmla="*/ 669490 w 4366182"/>
              <a:gd name="connsiteY32" fmla="*/ 2421767 h 3749245"/>
              <a:gd name="connsiteX33" fmla="*/ 474757 w 4366182"/>
              <a:gd name="connsiteY33" fmla="*/ 2274737 h 3749245"/>
              <a:gd name="connsiteX34" fmla="*/ 335057 w 4366182"/>
              <a:gd name="connsiteY34" fmla="*/ 2152760 h 3749245"/>
              <a:gd name="connsiteX35" fmla="*/ 148790 w 4366182"/>
              <a:gd name="connsiteY35" fmla="*/ 2000652 h 3749245"/>
              <a:gd name="connsiteX36" fmla="*/ 0 w 4366182"/>
              <a:gd name="connsiteY36" fmla="*/ 1877237 h 3749245"/>
              <a:gd name="connsiteX37" fmla="*/ 178599 w 4366182"/>
              <a:gd name="connsiteY37" fmla="*/ 1709025 h 3749245"/>
              <a:gd name="connsiteX38" fmla="*/ 395300 w 4366182"/>
              <a:gd name="connsiteY38" fmla="*/ 1514480 h 3749245"/>
              <a:gd name="connsiteX39" fmla="*/ 667572 w 4366182"/>
              <a:gd name="connsiteY39" fmla="*/ 1318923 h 3749245"/>
              <a:gd name="connsiteX40" fmla="*/ 881158 w 4366182"/>
              <a:gd name="connsiteY40" fmla="*/ 1171958 h 3749245"/>
              <a:gd name="connsiteX41" fmla="*/ 1054723 w 4366182"/>
              <a:gd name="connsiteY41" fmla="*/ 1054410 h 3749245"/>
              <a:gd name="connsiteX42" fmla="*/ 1287558 w 4366182"/>
              <a:gd name="connsiteY42" fmla="*/ 900904 h 3749245"/>
              <a:gd name="connsiteX43" fmla="*/ 1554258 w 4366182"/>
              <a:gd name="connsiteY43" fmla="*/ 742570 h 3749245"/>
              <a:gd name="connsiteX44" fmla="*/ 1765924 w 4366182"/>
              <a:gd name="connsiteY44" fmla="*/ 637171 h 3749245"/>
              <a:gd name="connsiteX45" fmla="*/ 1969124 w 4366182"/>
              <a:gd name="connsiteY45" fmla="*/ 531916 h 3749245"/>
              <a:gd name="connsiteX46" fmla="*/ 2178937 w 4366182"/>
              <a:gd name="connsiteY46" fmla="*/ 439749 h 3749245"/>
              <a:gd name="connsiteX47" fmla="*/ 2396086 w 4366182"/>
              <a:gd name="connsiteY47" fmla="*/ 347172 h 3749245"/>
              <a:gd name="connsiteX48" fmla="*/ 2675290 w 4366182"/>
              <a:gd name="connsiteY48" fmla="*/ 262243 h 3749245"/>
              <a:gd name="connsiteX49" fmla="*/ 2872323 w 4366182"/>
              <a:gd name="connsiteY49" fmla="*/ 213569 h 3749245"/>
              <a:gd name="connsiteX50" fmla="*/ 3066208 w 4366182"/>
              <a:gd name="connsiteY50" fmla="*/ 163086 h 3749245"/>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1619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401846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3756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2217 w 4366182"/>
              <a:gd name="connsiteY45" fmla="*/ 523375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8764 w 4366182"/>
              <a:gd name="connsiteY45" fmla="*/ 513121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4105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93603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706696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366182" h="3748112">
                <a:moveTo>
                  <a:pt x="3066208" y="161953"/>
                </a:moveTo>
                <a:cubicBezTo>
                  <a:pt x="3134869" y="146277"/>
                  <a:pt x="3212657" y="132865"/>
                  <a:pt x="3278738" y="120054"/>
                </a:cubicBezTo>
                <a:cubicBezTo>
                  <a:pt x="3344819" y="107243"/>
                  <a:pt x="3399192" y="95033"/>
                  <a:pt x="3462692" y="85086"/>
                </a:cubicBezTo>
                <a:lnTo>
                  <a:pt x="3706696" y="48615"/>
                </a:lnTo>
                <a:lnTo>
                  <a:pt x="3960697" y="25715"/>
                </a:lnTo>
                <a:cubicBezTo>
                  <a:pt x="4049075" y="16766"/>
                  <a:pt x="4145445" y="13403"/>
                  <a:pt x="4212738" y="9121"/>
                </a:cubicBezTo>
                <a:cubicBezTo>
                  <a:pt x="4280031" y="4839"/>
                  <a:pt x="4311701" y="-364"/>
                  <a:pt x="4364456" y="21"/>
                </a:cubicBezTo>
                <a:cubicBezTo>
                  <a:pt x="4369656" y="144093"/>
                  <a:pt x="4361590" y="555648"/>
                  <a:pt x="4360157" y="833462"/>
                </a:cubicBezTo>
                <a:lnTo>
                  <a:pt x="4360157" y="859588"/>
                </a:lnTo>
                <a:lnTo>
                  <a:pt x="4360157" y="907513"/>
                </a:lnTo>
                <a:lnTo>
                  <a:pt x="4360157" y="944837"/>
                </a:lnTo>
                <a:lnTo>
                  <a:pt x="4360157" y="972885"/>
                </a:lnTo>
                <a:lnTo>
                  <a:pt x="4360157" y="992982"/>
                </a:lnTo>
                <a:lnTo>
                  <a:pt x="4360157" y="1006454"/>
                </a:lnTo>
                <a:lnTo>
                  <a:pt x="4360157" y="1018822"/>
                </a:lnTo>
                <a:lnTo>
                  <a:pt x="4360157" y="1020589"/>
                </a:lnTo>
                <a:lnTo>
                  <a:pt x="4360157" y="3748112"/>
                </a:lnTo>
                <a:lnTo>
                  <a:pt x="4093457" y="3739002"/>
                </a:lnTo>
                <a:lnTo>
                  <a:pt x="3835226" y="3715797"/>
                </a:lnTo>
                <a:lnTo>
                  <a:pt x="3593923" y="3685955"/>
                </a:lnTo>
                <a:lnTo>
                  <a:pt x="3399191" y="3656116"/>
                </a:lnTo>
                <a:lnTo>
                  <a:pt x="3179057" y="3609701"/>
                </a:lnTo>
                <a:lnTo>
                  <a:pt x="2967391" y="3559971"/>
                </a:lnTo>
                <a:lnTo>
                  <a:pt x="2692224" y="3483715"/>
                </a:lnTo>
                <a:lnTo>
                  <a:pt x="2463623" y="3410774"/>
                </a:lnTo>
                <a:lnTo>
                  <a:pt x="2222323" y="3324574"/>
                </a:lnTo>
                <a:lnTo>
                  <a:pt x="1981023" y="3221794"/>
                </a:lnTo>
                <a:lnTo>
                  <a:pt x="1718557" y="3089177"/>
                </a:lnTo>
                <a:lnTo>
                  <a:pt x="1481491" y="2959874"/>
                </a:lnTo>
                <a:lnTo>
                  <a:pt x="1235958" y="2807365"/>
                </a:lnTo>
                <a:lnTo>
                  <a:pt x="969257" y="2634962"/>
                </a:lnTo>
                <a:lnTo>
                  <a:pt x="804957" y="2524717"/>
                </a:lnTo>
                <a:lnTo>
                  <a:pt x="669490" y="2420634"/>
                </a:lnTo>
                <a:lnTo>
                  <a:pt x="474757" y="2273604"/>
                </a:lnTo>
                <a:lnTo>
                  <a:pt x="335057" y="2151627"/>
                </a:lnTo>
                <a:lnTo>
                  <a:pt x="148790" y="1999519"/>
                </a:lnTo>
                <a:lnTo>
                  <a:pt x="0" y="1876104"/>
                </a:lnTo>
                <a:lnTo>
                  <a:pt x="178599" y="1723272"/>
                </a:lnTo>
                <a:lnTo>
                  <a:pt x="395299" y="1538981"/>
                </a:lnTo>
                <a:lnTo>
                  <a:pt x="634838" y="1353678"/>
                </a:lnTo>
                <a:lnTo>
                  <a:pt x="887705" y="1170825"/>
                </a:lnTo>
                <a:lnTo>
                  <a:pt x="1054723" y="1053277"/>
                </a:lnTo>
                <a:lnTo>
                  <a:pt x="1287558" y="899771"/>
                </a:lnTo>
                <a:lnTo>
                  <a:pt x="1521525" y="756817"/>
                </a:lnTo>
                <a:lnTo>
                  <a:pt x="1765924" y="620658"/>
                </a:lnTo>
                <a:cubicBezTo>
                  <a:pt x="1833657" y="590700"/>
                  <a:pt x="1919929" y="542325"/>
                  <a:pt x="1988764" y="510276"/>
                </a:cubicBezTo>
                <a:cubicBezTo>
                  <a:pt x="2057600" y="478227"/>
                  <a:pt x="2108999" y="459085"/>
                  <a:pt x="2178937" y="428363"/>
                </a:cubicBezTo>
                <a:lnTo>
                  <a:pt x="2396086" y="346039"/>
                </a:lnTo>
                <a:lnTo>
                  <a:pt x="2675290" y="261110"/>
                </a:lnTo>
                <a:lnTo>
                  <a:pt x="2872323" y="207309"/>
                </a:lnTo>
                <a:lnTo>
                  <a:pt x="3066208" y="161953"/>
                </a:lnTo>
                <a:close/>
              </a:path>
            </a:pathLst>
          </a:custGeom>
          <a:noFill/>
        </p:spPr>
        <p:txBody>
          <a:bodyPr anchor="ctr" anchorCtr="0"/>
          <a:lstStyle>
            <a:lvl1pPr algn="ctr">
              <a:defRPr sz="1733"/>
            </a:lvl1pPr>
          </a:lstStyle>
          <a:p>
            <a:r>
              <a:rPr lang="nl-NL" noProof="0"/>
              <a:t>Klik op het pictogram als u een afbeelding wilt toevoegen</a:t>
            </a:r>
            <a:endParaRPr lang="en-GB" noProof="0" dirty="0"/>
          </a:p>
        </p:txBody>
      </p:sp>
      <p:pic>
        <p:nvPicPr>
          <p:cNvPr id="15" name="Image 14"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316557799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iapositive de titre-V3">
    <p:spTree>
      <p:nvGrpSpPr>
        <p:cNvPr id="1" name=""/>
        <p:cNvGrpSpPr/>
        <p:nvPr/>
      </p:nvGrpSpPr>
      <p:grpSpPr>
        <a:xfrm>
          <a:off x="0" y="0"/>
          <a:ext cx="0" cy="0"/>
          <a:chOff x="0" y="0"/>
          <a:chExt cx="0" cy="0"/>
        </a:xfrm>
      </p:grpSpPr>
      <p:sp>
        <p:nvSpPr>
          <p:cNvPr id="10" name="Rectangle 9"/>
          <p:cNvSpPr/>
          <p:nvPr userDrawn="1"/>
        </p:nvSpPr>
        <p:spPr bwMode="auto">
          <a:xfrm>
            <a:off x="0" y="0"/>
            <a:ext cx="12192000" cy="1709283"/>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pic>
        <p:nvPicPr>
          <p:cNvPr id="1026" name="Picture 2" descr="http://cdn.imotortimes.com/sites/imotortimes.com/files/styles/large/public/2014/02/18/rinspeed-xchangee-concept_0.jpg?itok=_p4wnqVf"/>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7770"/>
          <a:stretch/>
        </p:blipFill>
        <p:spPr bwMode="auto">
          <a:xfrm>
            <a:off x="0" y="1139327"/>
            <a:ext cx="12219093" cy="5789493"/>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userDrawn="1"/>
        </p:nvSpPr>
        <p:spPr bwMode="auto">
          <a:xfrm>
            <a:off x="0" y="0"/>
            <a:ext cx="12192000" cy="1068507"/>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pic>
        <p:nvPicPr>
          <p:cNvPr id="15" name="Image 14"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12" name="Forme libre 9"/>
          <p:cNvSpPr>
            <a:spLocks/>
          </p:cNvSpPr>
          <p:nvPr userDrawn="1"/>
        </p:nvSpPr>
        <p:spPr bwMode="auto">
          <a:xfrm>
            <a:off x="-22579" y="1118250"/>
            <a:ext cx="5751613"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tx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dirty="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rgbClr val="A20067"/>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dirty="0"/>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dirty="0"/>
          </a:p>
        </p:txBody>
      </p:sp>
      <p:pic>
        <p:nvPicPr>
          <p:cNvPr id="17" name="Image 16" descr="VE_RGB_W.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9859700" y="5989387"/>
            <a:ext cx="2060221" cy="796620"/>
          </a:xfrm>
          <a:prstGeom prst="rect">
            <a:avLst/>
          </a:prstGeom>
        </p:spPr>
      </p:pic>
    </p:spTree>
    <p:extLst>
      <p:ext uri="{BB962C8B-B14F-4D97-AF65-F5344CB8AC3E}">
        <p14:creationId xmlns:p14="http://schemas.microsoft.com/office/powerpoint/2010/main" val="167086748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Diapositive de titre-V3">
    <p:spTree>
      <p:nvGrpSpPr>
        <p:cNvPr id="1" name=""/>
        <p:cNvGrpSpPr/>
        <p:nvPr/>
      </p:nvGrpSpPr>
      <p:grpSpPr>
        <a:xfrm>
          <a:off x="0" y="0"/>
          <a:ext cx="0" cy="0"/>
          <a:chOff x="0" y="0"/>
          <a:chExt cx="0" cy="0"/>
        </a:xfrm>
      </p:grpSpPr>
      <p:pic>
        <p:nvPicPr>
          <p:cNvPr id="11" name="Afbeelding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774171"/>
            <a:ext cx="12192000" cy="6096000"/>
          </a:xfrm>
          <a:prstGeom prst="rect">
            <a:avLst/>
          </a:prstGeom>
        </p:spPr>
      </p:pic>
      <p:sp>
        <p:nvSpPr>
          <p:cNvPr id="8" name="Rectangle 7"/>
          <p:cNvSpPr/>
          <p:nvPr userDrawn="1"/>
        </p:nvSpPr>
        <p:spPr bwMode="auto">
          <a:xfrm>
            <a:off x="0" y="-1"/>
            <a:ext cx="12192000" cy="1118249"/>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2" name="Forme libre 9"/>
          <p:cNvSpPr>
            <a:spLocks/>
          </p:cNvSpPr>
          <p:nvPr userDrawn="1"/>
        </p:nvSpPr>
        <p:spPr bwMode="auto">
          <a:xfrm>
            <a:off x="-22578" y="1118250"/>
            <a:ext cx="5735785"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accent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dirty="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chemeClr val="bg1"/>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dirty="0"/>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dirty="0"/>
          </a:p>
        </p:txBody>
      </p:sp>
      <p:pic>
        <p:nvPicPr>
          <p:cNvPr id="14" name="Image 13" descr="VE_RGB_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30885" y="6160569"/>
            <a:ext cx="1715193" cy="442737"/>
          </a:xfrm>
          <a:prstGeom prst="rect">
            <a:avLst/>
          </a:prstGeom>
        </p:spPr>
      </p:pic>
      <p:pic>
        <p:nvPicPr>
          <p:cNvPr id="10" name="Image 9" descr="Log_AXIANS_CRVB.jpg"/>
          <p:cNvPicPr>
            <a:picLocks noChangeAspect="1"/>
          </p:cNvPicPr>
          <p:nvPr userDrawn="1"/>
        </p:nvPicPr>
        <p:blipFill>
          <a:blip r:embed="rId4">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350787547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1"/>
                </a:solidFill>
                <a:latin typeface="Arial"/>
                <a:cs typeface="Arial"/>
              </a:defRPr>
            </a:lvl1pPr>
          </a:lstStyle>
          <a:p>
            <a:r>
              <a:rPr lang="nl-NL"/>
              <a:t>Klik om de stijl te bewerken</a:t>
            </a:r>
            <a:endParaRPr lang="fr-FR" dirty="0"/>
          </a:p>
        </p:txBody>
      </p:sp>
      <p:cxnSp>
        <p:nvCxnSpPr>
          <p:cNvPr id="8" name="Connecteur droit 7"/>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7" name="Image 6"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92832944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1"/>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9808101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2" name="Espace réservé du pied de page 1"/>
          <p:cNvSpPr>
            <a:spLocks noGrp="1"/>
          </p:cNvSpPr>
          <p:nvPr>
            <p:ph type="ftr" sz="quarter" idx="10"/>
          </p:nvPr>
        </p:nvSpPr>
        <p:spPr>
          <a:xfrm>
            <a:off x="1826652" y="6356351"/>
            <a:ext cx="4114800" cy="366183"/>
          </a:xfrm>
          <a:prstGeom prst="rect">
            <a:avLst/>
          </a:prstGeom>
        </p:spPr>
        <p:txBody>
          <a:bodyPr/>
          <a:lstStyle/>
          <a:p>
            <a:r>
              <a:rPr lang="fr-FR"/>
              <a:t>| Improving industrial performance</a:t>
            </a:r>
          </a:p>
        </p:txBody>
      </p:sp>
      <p:pic>
        <p:nvPicPr>
          <p:cNvPr id="4" name="Picture 3"/>
          <p:cNvPicPr>
            <a:picLocks noChangeAspect="1"/>
          </p:cNvPicPr>
          <p:nvPr userDrawn="1"/>
        </p:nvPicPr>
        <p:blipFill>
          <a:blip r:embed="rId2"/>
          <a:stretch>
            <a:fillRect/>
          </a:stretch>
        </p:blipFill>
        <p:spPr>
          <a:xfrm>
            <a:off x="0" y="-440012"/>
            <a:ext cx="12192000" cy="8132064"/>
          </a:xfrm>
          <a:prstGeom prst="rect">
            <a:avLst/>
          </a:prstGeom>
        </p:spPr>
      </p:pic>
    </p:spTree>
    <p:extLst>
      <p:ext uri="{BB962C8B-B14F-4D97-AF65-F5344CB8AC3E}">
        <p14:creationId xmlns:p14="http://schemas.microsoft.com/office/powerpoint/2010/main" val="3573322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7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2"/>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412348308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3"/>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3"/>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88065028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4"/>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4"/>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135520164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4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5"/>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5"/>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72373894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5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2"/>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28693820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6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6"/>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6"/>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83952835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dirty="0" err="1"/>
              <a:t>titel</a:t>
            </a:r>
            <a:endParaRPr lang="fr-FR" dirty="0"/>
          </a:p>
        </p:txBody>
      </p:sp>
      <p:sp>
        <p:nvSpPr>
          <p:cNvPr id="3" name="Espace réservé du contenu 2"/>
          <p:cNvSpPr>
            <a:spLocks noGrp="1"/>
          </p:cNvSpPr>
          <p:nvPr>
            <p:ph idx="1"/>
          </p:nvPr>
        </p:nvSpPr>
        <p:spPr>
          <a:xfrm>
            <a:off x="345585" y="1612901"/>
            <a:ext cx="11404033" cy="4533748"/>
          </a:xfrm>
        </p:spPr>
        <p:txBody>
          <a:bodyPr/>
          <a:lstStyle/>
          <a:p>
            <a:pPr lvl="0"/>
            <a:r>
              <a:rPr lang="nl-NL"/>
              <a:t>Klik om de modelstijlen te bewerken</a:t>
            </a:r>
          </a:p>
          <a:p>
            <a:pPr lvl="1"/>
            <a:r>
              <a:rPr lang="nl-NL"/>
              <a:t>Tweede niveau</a:t>
            </a:r>
          </a:p>
          <a:p>
            <a:pPr lvl="2"/>
            <a:r>
              <a:rPr lang="nl-NL"/>
              <a:t>Derde niveau</a:t>
            </a:r>
          </a:p>
          <a:p>
            <a:pPr lvl="3"/>
            <a:r>
              <a:rPr lang="nl-NL"/>
              <a:t>Vierde niveau</a:t>
            </a:r>
          </a:p>
        </p:txBody>
      </p:sp>
    </p:spTree>
    <p:extLst>
      <p:ext uri="{BB962C8B-B14F-4D97-AF65-F5344CB8AC3E}">
        <p14:creationId xmlns:p14="http://schemas.microsoft.com/office/powerpoint/2010/main" val="11317722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dirty="0" err="1"/>
              <a:t>titel</a:t>
            </a:r>
            <a:endParaRPr lang="fr-FR" dirty="0"/>
          </a:p>
        </p:txBody>
      </p:sp>
      <p:sp>
        <p:nvSpPr>
          <p:cNvPr id="9" name="Espace réservé du graphique 8"/>
          <p:cNvSpPr>
            <a:spLocks noGrp="1"/>
          </p:cNvSpPr>
          <p:nvPr>
            <p:ph type="chart" sz="quarter" idx="12"/>
          </p:nvPr>
        </p:nvSpPr>
        <p:spPr>
          <a:xfrm>
            <a:off x="342900" y="1611440"/>
            <a:ext cx="11406717" cy="4704593"/>
          </a:xfrm>
        </p:spPr>
        <p:txBody>
          <a:bodyPr>
            <a:normAutofit/>
          </a:bodyPr>
          <a:lstStyle>
            <a:lvl1pPr>
              <a:defRPr sz="2133"/>
            </a:lvl1pPr>
          </a:lstStyle>
          <a:p>
            <a:r>
              <a:rPr lang="nl-NL"/>
              <a:t>Klik op het pictogram als u een grafiek wilt toevoegen</a:t>
            </a:r>
            <a:endParaRPr lang="fr-FR" dirty="0"/>
          </a:p>
        </p:txBody>
      </p:sp>
    </p:spTree>
    <p:extLst>
      <p:ext uri="{BB962C8B-B14F-4D97-AF65-F5344CB8AC3E}">
        <p14:creationId xmlns:p14="http://schemas.microsoft.com/office/powerpoint/2010/main" val="68351219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exte et 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lvl1pPr>
              <a:defRPr/>
            </a:lvl1pPr>
          </a:lstStyle>
          <a:p>
            <a:r>
              <a:rPr lang="fr-FR" dirty="0" err="1"/>
              <a:t>titel</a:t>
            </a:r>
            <a:endParaRPr lang="fr-FR" dirty="0"/>
          </a:p>
        </p:txBody>
      </p:sp>
      <p:sp>
        <p:nvSpPr>
          <p:cNvPr id="4" name="Espace réservé du contenu 3"/>
          <p:cNvSpPr>
            <a:spLocks noGrp="1"/>
          </p:cNvSpPr>
          <p:nvPr>
            <p:ph sz="half" idx="2"/>
          </p:nvPr>
        </p:nvSpPr>
        <p:spPr>
          <a:xfrm>
            <a:off x="343859" y="1612900"/>
            <a:ext cx="11405760" cy="548672"/>
          </a:xfrm>
        </p:spPr>
        <p:txBody>
          <a:bodyPr>
            <a:noAutofit/>
          </a:bodyPr>
          <a:lstStyle>
            <a:lvl1pPr>
              <a:defRPr sz="2133"/>
            </a:lvl1pPr>
            <a:lvl2pPr>
              <a:defRPr sz="1867"/>
            </a:lvl2pPr>
            <a:lvl3pPr>
              <a:defRPr sz="1600"/>
            </a:lvl3pPr>
            <a:lvl4pPr>
              <a:defRPr sz="1467"/>
            </a:lvl4pPr>
            <a:lvl5pPr>
              <a:defRPr sz="1467"/>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11" name="Espace réservé du graphique 10"/>
          <p:cNvSpPr>
            <a:spLocks noGrp="1"/>
          </p:cNvSpPr>
          <p:nvPr>
            <p:ph type="chart" sz="quarter" idx="13"/>
          </p:nvPr>
        </p:nvSpPr>
        <p:spPr>
          <a:xfrm>
            <a:off x="342902" y="2178172"/>
            <a:ext cx="11406716" cy="3889253"/>
          </a:xfrm>
        </p:spPr>
        <p:txBody>
          <a:bodyPr/>
          <a:lstStyle/>
          <a:p>
            <a:r>
              <a:rPr lang="nl-NL"/>
              <a:t>Klik op het pictogram als u een grafiek wilt toevoegen</a:t>
            </a:r>
            <a:endParaRPr lang="fr-FR" dirty="0"/>
          </a:p>
        </p:txBody>
      </p:sp>
    </p:spTree>
    <p:extLst>
      <p:ext uri="{BB962C8B-B14F-4D97-AF65-F5344CB8AC3E}">
        <p14:creationId xmlns:p14="http://schemas.microsoft.com/office/powerpoint/2010/main" val="210491339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ableau">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fr-FR" dirty="0" err="1"/>
              <a:t>titel</a:t>
            </a:r>
            <a:endParaRPr lang="fr-FR" dirty="0"/>
          </a:p>
        </p:txBody>
      </p:sp>
      <p:sp>
        <p:nvSpPr>
          <p:cNvPr id="4" name="Espace réservé du tableau 3"/>
          <p:cNvSpPr>
            <a:spLocks noGrp="1"/>
          </p:cNvSpPr>
          <p:nvPr>
            <p:ph type="tbl" sz="quarter" idx="12"/>
          </p:nvPr>
        </p:nvSpPr>
        <p:spPr>
          <a:xfrm>
            <a:off x="342900" y="1612900"/>
            <a:ext cx="11406717" cy="4659087"/>
          </a:xfrm>
        </p:spPr>
        <p:txBody>
          <a:bodyPr/>
          <a:lstStyle/>
          <a:p>
            <a:r>
              <a:rPr lang="nl-NL"/>
              <a:t>Klik op het pictogram als u een tabel wilt toevoegen</a:t>
            </a:r>
            <a:endParaRPr lang="fr-FR" dirty="0"/>
          </a:p>
        </p:txBody>
      </p:sp>
    </p:spTree>
    <p:extLst>
      <p:ext uri="{BB962C8B-B14F-4D97-AF65-F5344CB8AC3E}">
        <p14:creationId xmlns:p14="http://schemas.microsoft.com/office/powerpoint/2010/main" val="38014758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apositive de titre-V1">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133"/>
          </a:p>
        </p:txBody>
      </p:sp>
      <p:sp>
        <p:nvSpPr>
          <p:cNvPr id="2" name="Titre 1"/>
          <p:cNvSpPr>
            <a:spLocks noGrp="1"/>
          </p:cNvSpPr>
          <p:nvPr>
            <p:ph type="ctrTitle"/>
          </p:nvPr>
        </p:nvSpPr>
        <p:spPr>
          <a:xfrm>
            <a:off x="866366"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a:p>
        </p:txBody>
      </p:sp>
      <p:sp>
        <p:nvSpPr>
          <p:cNvPr id="3" name="Sous-titre 2"/>
          <p:cNvSpPr>
            <a:spLocks noGrp="1"/>
          </p:cNvSpPr>
          <p:nvPr>
            <p:ph type="subTitle" idx="1"/>
          </p:nvPr>
        </p:nvSpPr>
        <p:spPr>
          <a:xfrm>
            <a:off x="858676" y="3985273"/>
            <a:ext cx="5802475"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8" name="Espace réservé du texte 15"/>
          <p:cNvSpPr>
            <a:spLocks noGrp="1"/>
          </p:cNvSpPr>
          <p:nvPr>
            <p:ph type="body" sz="quarter" idx="12"/>
          </p:nvPr>
        </p:nvSpPr>
        <p:spPr>
          <a:xfrm>
            <a:off x="872862" y="6210695"/>
            <a:ext cx="5788289"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Forme libre 9"/>
          <p:cNvSpPr>
            <a:spLocks noChangeAspect="1"/>
          </p:cNvSpPr>
          <p:nvPr userDrawn="1"/>
        </p:nvSpPr>
        <p:spPr bwMode="auto">
          <a:xfrm rot="10800000">
            <a:off x="7960507" y="1118246"/>
            <a:ext cx="4281084" cy="4646479"/>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bg1"/>
          </a:solid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pic>
        <p:nvPicPr>
          <p:cNvPr id="17" name="Image 16"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223479536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exte et Imag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dirty="0" err="1"/>
              <a:t>titel</a:t>
            </a:r>
            <a:endParaRPr lang="fr-FR" dirty="0"/>
          </a:p>
        </p:txBody>
      </p:sp>
      <p:sp>
        <p:nvSpPr>
          <p:cNvPr id="4" name="Espace réservé du contenu 3"/>
          <p:cNvSpPr>
            <a:spLocks noGrp="1"/>
          </p:cNvSpPr>
          <p:nvPr>
            <p:ph sz="half" idx="2"/>
          </p:nvPr>
        </p:nvSpPr>
        <p:spPr>
          <a:xfrm>
            <a:off x="343858" y="1612900"/>
            <a:ext cx="5875609" cy="4548717"/>
          </a:xfrm>
        </p:spPr>
        <p:txBody>
          <a:bodyPr>
            <a:noAutofit/>
          </a:bodyPr>
          <a:lstStyle>
            <a:lvl1pPr>
              <a:lnSpc>
                <a:spcPct val="90000"/>
              </a:lnSpc>
              <a:defRPr sz="2133"/>
            </a:lvl1pPr>
            <a:lvl2pPr>
              <a:lnSpc>
                <a:spcPct val="90000"/>
              </a:lnSpc>
              <a:defRPr sz="1867"/>
            </a:lvl2pPr>
            <a:lvl3pPr>
              <a:lnSpc>
                <a:spcPct val="90000"/>
              </a:lnSpc>
              <a:defRPr sz="1600"/>
            </a:lvl3pPr>
            <a:lvl4pPr>
              <a:lnSpc>
                <a:spcPct val="90000"/>
              </a:lnSpc>
              <a:defRPr sz="1467"/>
            </a:lvl4pPr>
            <a:lvl5pPr>
              <a:lnSpc>
                <a:spcPct val="90000"/>
              </a:lnSpc>
              <a:defRPr sz="1600"/>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6" name="Espace réservé pour une image  5"/>
          <p:cNvSpPr>
            <a:spLocks noGrp="1" noChangeAspect="1"/>
          </p:cNvSpPr>
          <p:nvPr>
            <p:ph type="pic" sz="quarter" idx="12"/>
          </p:nvPr>
        </p:nvSpPr>
        <p:spPr>
          <a:xfrm>
            <a:off x="6416163" y="1612900"/>
            <a:ext cx="5329221" cy="4548717"/>
          </a:xfrm>
        </p:spPr>
        <p:txBody>
          <a:bodyPr/>
          <a:lstStyle/>
          <a:p>
            <a:r>
              <a:rPr lang="nl-NL"/>
              <a:t>Klik op het pictogram als u een afbeelding wilt toevoegen</a:t>
            </a:r>
            <a:endParaRPr lang="fr-FR" dirty="0"/>
          </a:p>
        </p:txBody>
      </p:sp>
    </p:spTree>
    <p:extLst>
      <p:ext uri="{BB962C8B-B14F-4D97-AF65-F5344CB8AC3E}">
        <p14:creationId xmlns:p14="http://schemas.microsoft.com/office/powerpoint/2010/main" val="228114555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3 image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dirty="0" err="1"/>
              <a:t>titel</a:t>
            </a:r>
            <a:endParaRPr lang="fr-FR" dirty="0"/>
          </a:p>
        </p:txBody>
      </p:sp>
      <p:sp>
        <p:nvSpPr>
          <p:cNvPr id="6" name="Espace réservé pour une image  5"/>
          <p:cNvSpPr>
            <a:spLocks noGrp="1" noChangeAspect="1"/>
          </p:cNvSpPr>
          <p:nvPr>
            <p:ph type="pic" sz="quarter" idx="12"/>
          </p:nvPr>
        </p:nvSpPr>
        <p:spPr>
          <a:xfrm>
            <a:off x="6553202" y="1621367"/>
            <a:ext cx="5192183" cy="4540251"/>
          </a:xfrm>
        </p:spPr>
        <p:txBody>
          <a:bodyPr/>
          <a:lstStyle/>
          <a:p>
            <a:r>
              <a:rPr lang="nl-NL"/>
              <a:t>Klik op het pictogram als u een afbeelding wilt toevoegen</a:t>
            </a:r>
            <a:endParaRPr lang="fr-FR"/>
          </a:p>
        </p:txBody>
      </p:sp>
      <p:sp>
        <p:nvSpPr>
          <p:cNvPr id="7" name="Espace réservé pour une image  5"/>
          <p:cNvSpPr>
            <a:spLocks noGrp="1" noChangeAspect="1"/>
          </p:cNvSpPr>
          <p:nvPr>
            <p:ph type="pic" sz="quarter" idx="13"/>
          </p:nvPr>
        </p:nvSpPr>
        <p:spPr>
          <a:xfrm>
            <a:off x="467784" y="1621367"/>
            <a:ext cx="5907616" cy="1781696"/>
          </a:xfrm>
        </p:spPr>
        <p:txBody>
          <a:bodyPr/>
          <a:lstStyle/>
          <a:p>
            <a:r>
              <a:rPr lang="nl-NL"/>
              <a:t>Klik op het pictogram als u een afbeelding wilt toevoegen</a:t>
            </a:r>
            <a:endParaRPr lang="fr-FR"/>
          </a:p>
        </p:txBody>
      </p:sp>
      <p:sp>
        <p:nvSpPr>
          <p:cNvPr id="9" name="Espace réservé pour une image  5"/>
          <p:cNvSpPr>
            <a:spLocks noGrp="1" noChangeAspect="1"/>
          </p:cNvSpPr>
          <p:nvPr>
            <p:ph type="pic" sz="quarter" idx="14"/>
          </p:nvPr>
        </p:nvSpPr>
        <p:spPr>
          <a:xfrm>
            <a:off x="467784" y="3577366"/>
            <a:ext cx="5907616" cy="2584252"/>
          </a:xfrm>
        </p:spPr>
        <p:txBody>
          <a:bodyPr/>
          <a:lstStyle/>
          <a:p>
            <a:r>
              <a:rPr lang="nl-NL"/>
              <a:t>Klik op het pictogram als u een afbeelding wilt toevoegen</a:t>
            </a:r>
            <a:endParaRPr lang="fr-FR"/>
          </a:p>
        </p:txBody>
      </p:sp>
    </p:spTree>
    <p:extLst>
      <p:ext uri="{BB962C8B-B14F-4D97-AF65-F5344CB8AC3E}">
        <p14:creationId xmlns:p14="http://schemas.microsoft.com/office/powerpoint/2010/main" val="51936224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ernière page">
    <p:spTree>
      <p:nvGrpSpPr>
        <p:cNvPr id="1" name=""/>
        <p:cNvGrpSpPr/>
        <p:nvPr/>
      </p:nvGrpSpPr>
      <p:grpSpPr>
        <a:xfrm>
          <a:off x="0" y="0"/>
          <a:ext cx="0" cy="0"/>
          <a:chOff x="0" y="0"/>
          <a:chExt cx="0" cy="0"/>
        </a:xfrm>
      </p:grpSpPr>
      <p:sp>
        <p:nvSpPr>
          <p:cNvPr id="5" name="Rectangle 4"/>
          <p:cNvSpPr/>
          <p:nvPr userDrawn="1"/>
        </p:nvSpPr>
        <p:spPr bwMode="auto">
          <a:xfrm>
            <a:off x="-1" y="-31161"/>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1" y="4837535"/>
            <a:ext cx="9081348" cy="202860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 name="connsiteX0" fmla="*/ 234 w 10653"/>
              <a:gd name="connsiteY0" fmla="*/ 3 h 10018"/>
              <a:gd name="connsiteX1" fmla="*/ 605 w 10653"/>
              <a:gd name="connsiteY1" fmla="*/ 0 h 10018"/>
              <a:gd name="connsiteX2" fmla="*/ 934 w 10653"/>
              <a:gd name="connsiteY2" fmla="*/ 36 h 10018"/>
              <a:gd name="connsiteX3" fmla="*/ 1261 w 10653"/>
              <a:gd name="connsiteY3" fmla="*/ 77 h 10018"/>
              <a:gd name="connsiteX4" fmla="*/ 1546 w 10653"/>
              <a:gd name="connsiteY4" fmla="*/ 129 h 10018"/>
              <a:gd name="connsiteX5" fmla="*/ 1821 w 10653"/>
              <a:gd name="connsiteY5" fmla="*/ 172 h 10018"/>
              <a:gd name="connsiteX6" fmla="*/ 2136 w 10653"/>
              <a:gd name="connsiteY6" fmla="*/ 262 h 10018"/>
              <a:gd name="connsiteX7" fmla="*/ 2435 w 10653"/>
              <a:gd name="connsiteY7" fmla="*/ 337 h 10018"/>
              <a:gd name="connsiteX8" fmla="*/ 2866 w 10653"/>
              <a:gd name="connsiteY8" fmla="*/ 472 h 10018"/>
              <a:gd name="connsiteX9" fmla="*/ 3304 w 10653"/>
              <a:gd name="connsiteY9" fmla="*/ 648 h 10018"/>
              <a:gd name="connsiteX10" fmla="*/ 3835 w 10653"/>
              <a:gd name="connsiteY10" fmla="*/ 875 h 10018"/>
              <a:gd name="connsiteX11" fmla="*/ 4191 w 10653"/>
              <a:gd name="connsiteY11" fmla="*/ 1051 h 10018"/>
              <a:gd name="connsiteX12" fmla="*/ 4658 w 10653"/>
              <a:gd name="connsiteY12" fmla="*/ 1316 h 10018"/>
              <a:gd name="connsiteX13" fmla="*/ 5278 w 10653"/>
              <a:gd name="connsiteY13" fmla="*/ 1713 h 10018"/>
              <a:gd name="connsiteX14" fmla="*/ 5798 w 10653"/>
              <a:gd name="connsiteY14" fmla="*/ 2098 h 10018"/>
              <a:gd name="connsiteX15" fmla="*/ 6199 w 10653"/>
              <a:gd name="connsiteY15" fmla="*/ 2403 h 10018"/>
              <a:gd name="connsiteX16" fmla="*/ 6389 w 10653"/>
              <a:gd name="connsiteY16" fmla="*/ 2566 h 10018"/>
              <a:gd name="connsiteX17" fmla="*/ 6587 w 10653"/>
              <a:gd name="connsiteY17" fmla="*/ 2751 h 10018"/>
              <a:gd name="connsiteX18" fmla="*/ 6852 w 10653"/>
              <a:gd name="connsiteY18" fmla="*/ 2992 h 10018"/>
              <a:gd name="connsiteX19" fmla="*/ 7420 w 10653"/>
              <a:gd name="connsiteY19" fmla="*/ 3548 h 10018"/>
              <a:gd name="connsiteX20" fmla="*/ 7951 w 10653"/>
              <a:gd name="connsiteY20" fmla="*/ 4142 h 10018"/>
              <a:gd name="connsiteX21" fmla="*/ 8564 w 10653"/>
              <a:gd name="connsiteY21" fmla="*/ 4923 h 10018"/>
              <a:gd name="connsiteX22" fmla="*/ 9082 w 10653"/>
              <a:gd name="connsiteY22" fmla="*/ 5637 h 10018"/>
              <a:gd name="connsiteX23" fmla="*/ 9617 w 10653"/>
              <a:gd name="connsiteY23" fmla="*/ 6484 h 10018"/>
              <a:gd name="connsiteX24" fmla="*/ 10000 w 10653"/>
              <a:gd name="connsiteY24" fmla="*/ 10003 h 10018"/>
              <a:gd name="connsiteX25" fmla="*/ 2 w 10653"/>
              <a:gd name="connsiteY25" fmla="*/ 10018 h 10018"/>
              <a:gd name="connsiteX26" fmla="*/ 0 w 10653"/>
              <a:gd name="connsiteY26" fmla="*/ 8 h 10018"/>
              <a:gd name="connsiteX27" fmla="*/ 234 w 10653"/>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617 w 10000"/>
              <a:gd name="connsiteY23" fmla="*/ 648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7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16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600 w 10000"/>
              <a:gd name="connsiteY1" fmla="*/ 60 h 10015"/>
              <a:gd name="connsiteX2" fmla="*/ 629 w 10000"/>
              <a:gd name="connsiteY2" fmla="*/ 82 h 10015"/>
              <a:gd name="connsiteX3" fmla="*/ 934 w 10000"/>
              <a:gd name="connsiteY3" fmla="*/ 111 h 10015"/>
              <a:gd name="connsiteX4" fmla="*/ 1256 w 10000"/>
              <a:gd name="connsiteY4" fmla="*/ 168 h 10015"/>
              <a:gd name="connsiteX5" fmla="*/ 1523 w 10000"/>
              <a:gd name="connsiteY5" fmla="*/ 251 h 10015"/>
              <a:gd name="connsiteX6" fmla="*/ 1793 w 10000"/>
              <a:gd name="connsiteY6" fmla="*/ 341 h 10015"/>
              <a:gd name="connsiteX7" fmla="*/ 2089 w 10000"/>
              <a:gd name="connsiteY7" fmla="*/ 447 h 10015"/>
              <a:gd name="connsiteX8" fmla="*/ 2379 w 10000"/>
              <a:gd name="connsiteY8" fmla="*/ 553 h 10015"/>
              <a:gd name="connsiteX9" fmla="*/ 2791 w 10000"/>
              <a:gd name="connsiteY9" fmla="*/ 735 h 10015"/>
              <a:gd name="connsiteX10" fmla="*/ 3192 w 10000"/>
              <a:gd name="connsiteY10" fmla="*/ 927 h 10015"/>
              <a:gd name="connsiteX11" fmla="*/ 3639 w 10000"/>
              <a:gd name="connsiteY11" fmla="*/ 1201 h 10015"/>
              <a:gd name="connsiteX12" fmla="*/ 4158 w 10000"/>
              <a:gd name="connsiteY12" fmla="*/ 1534 h 10015"/>
              <a:gd name="connsiteX13" fmla="*/ 4555 w 10000"/>
              <a:gd name="connsiteY13" fmla="*/ 1830 h 10015"/>
              <a:gd name="connsiteX14" fmla="*/ 5092 w 10000"/>
              <a:gd name="connsiteY14" fmla="*/ 2258 h 10015"/>
              <a:gd name="connsiteX15" fmla="*/ 5546 w 10000"/>
              <a:gd name="connsiteY15" fmla="*/ 2706 h 10015"/>
              <a:gd name="connsiteX16" fmla="*/ 5882 w 10000"/>
              <a:gd name="connsiteY16" fmla="*/ 3043 h 10015"/>
              <a:gd name="connsiteX17" fmla="*/ 6165 w 10000"/>
              <a:gd name="connsiteY17" fmla="*/ 3331 h 10015"/>
              <a:gd name="connsiteX18" fmla="*/ 6498 w 10000"/>
              <a:gd name="connsiteY18" fmla="*/ 3751 h 10015"/>
              <a:gd name="connsiteX19" fmla="*/ 6796 w 10000"/>
              <a:gd name="connsiteY19" fmla="*/ 4101 h 10015"/>
              <a:gd name="connsiteX20" fmla="*/ 7299 w 10000"/>
              <a:gd name="connsiteY20" fmla="*/ 4814 h 10015"/>
              <a:gd name="connsiteX21" fmla="*/ 7862 w 10000"/>
              <a:gd name="connsiteY21" fmla="*/ 5661 h 10015"/>
              <a:gd name="connsiteX22" fmla="*/ 8298 w 10000"/>
              <a:gd name="connsiteY22" fmla="*/ 6431 h 10015"/>
              <a:gd name="connsiteX23" fmla="*/ 8926 w 10000"/>
              <a:gd name="connsiteY23" fmla="*/ 7643 h 10015"/>
              <a:gd name="connsiteX24" fmla="*/ 9486 w 10000"/>
              <a:gd name="connsiteY24" fmla="*/ 8851 h 10015"/>
              <a:gd name="connsiteX25" fmla="*/ 10000 w 10000"/>
              <a:gd name="connsiteY25" fmla="*/ 10000 h 10015"/>
              <a:gd name="connsiteX26" fmla="*/ 2 w 10000"/>
              <a:gd name="connsiteY26" fmla="*/ 10015 h 10015"/>
              <a:gd name="connsiteX27" fmla="*/ 0 w 10000"/>
              <a:gd name="connsiteY27" fmla="*/ 5 h 10015"/>
              <a:gd name="connsiteX28" fmla="*/ 234 w 10000"/>
              <a:gd name="connsiteY28" fmla="*/ 0 h 10015"/>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29 w 10000"/>
              <a:gd name="connsiteY0" fmla="*/ 26 h 10010"/>
              <a:gd name="connsiteX1" fmla="*/ 586 w 10000"/>
              <a:gd name="connsiteY1" fmla="*/ 55 h 10010"/>
              <a:gd name="connsiteX2" fmla="*/ 934 w 10000"/>
              <a:gd name="connsiteY2" fmla="*/ 106 h 10010"/>
              <a:gd name="connsiteX3" fmla="*/ 1256 w 10000"/>
              <a:gd name="connsiteY3" fmla="*/ 163 h 10010"/>
              <a:gd name="connsiteX4" fmla="*/ 1523 w 10000"/>
              <a:gd name="connsiteY4" fmla="*/ 246 h 10010"/>
              <a:gd name="connsiteX5" fmla="*/ 1793 w 10000"/>
              <a:gd name="connsiteY5" fmla="*/ 336 h 10010"/>
              <a:gd name="connsiteX6" fmla="*/ 2089 w 10000"/>
              <a:gd name="connsiteY6" fmla="*/ 442 h 10010"/>
              <a:gd name="connsiteX7" fmla="*/ 2379 w 10000"/>
              <a:gd name="connsiteY7" fmla="*/ 548 h 10010"/>
              <a:gd name="connsiteX8" fmla="*/ 2791 w 10000"/>
              <a:gd name="connsiteY8" fmla="*/ 730 h 10010"/>
              <a:gd name="connsiteX9" fmla="*/ 3192 w 10000"/>
              <a:gd name="connsiteY9" fmla="*/ 922 h 10010"/>
              <a:gd name="connsiteX10" fmla="*/ 3639 w 10000"/>
              <a:gd name="connsiteY10" fmla="*/ 1196 h 10010"/>
              <a:gd name="connsiteX11" fmla="*/ 4158 w 10000"/>
              <a:gd name="connsiteY11" fmla="*/ 1529 h 10010"/>
              <a:gd name="connsiteX12" fmla="*/ 4555 w 10000"/>
              <a:gd name="connsiteY12" fmla="*/ 1825 h 10010"/>
              <a:gd name="connsiteX13" fmla="*/ 5092 w 10000"/>
              <a:gd name="connsiteY13" fmla="*/ 2253 h 10010"/>
              <a:gd name="connsiteX14" fmla="*/ 5546 w 10000"/>
              <a:gd name="connsiteY14" fmla="*/ 2701 h 10010"/>
              <a:gd name="connsiteX15" fmla="*/ 5882 w 10000"/>
              <a:gd name="connsiteY15" fmla="*/ 3038 h 10010"/>
              <a:gd name="connsiteX16" fmla="*/ 6165 w 10000"/>
              <a:gd name="connsiteY16" fmla="*/ 3326 h 10010"/>
              <a:gd name="connsiteX17" fmla="*/ 6498 w 10000"/>
              <a:gd name="connsiteY17" fmla="*/ 3746 h 10010"/>
              <a:gd name="connsiteX18" fmla="*/ 6796 w 10000"/>
              <a:gd name="connsiteY18" fmla="*/ 4096 h 10010"/>
              <a:gd name="connsiteX19" fmla="*/ 7299 w 10000"/>
              <a:gd name="connsiteY19" fmla="*/ 4809 h 10010"/>
              <a:gd name="connsiteX20" fmla="*/ 7862 w 10000"/>
              <a:gd name="connsiteY20" fmla="*/ 5656 h 10010"/>
              <a:gd name="connsiteX21" fmla="*/ 8298 w 10000"/>
              <a:gd name="connsiteY21" fmla="*/ 6426 h 10010"/>
              <a:gd name="connsiteX22" fmla="*/ 8926 w 10000"/>
              <a:gd name="connsiteY22" fmla="*/ 7638 h 10010"/>
              <a:gd name="connsiteX23" fmla="*/ 9486 w 10000"/>
              <a:gd name="connsiteY23" fmla="*/ 8846 h 10010"/>
              <a:gd name="connsiteX24" fmla="*/ 10000 w 10000"/>
              <a:gd name="connsiteY24" fmla="*/ 9995 h 10010"/>
              <a:gd name="connsiteX25" fmla="*/ 2 w 10000"/>
              <a:gd name="connsiteY25" fmla="*/ 10010 h 10010"/>
              <a:gd name="connsiteX26" fmla="*/ 0 w 10000"/>
              <a:gd name="connsiteY26" fmla="*/ 0 h 10010"/>
              <a:gd name="connsiteX27" fmla="*/ 229 w 10000"/>
              <a:gd name="connsiteY27" fmla="*/ 26 h 1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000" h="10010">
                <a:moveTo>
                  <a:pt x="229" y="26"/>
                </a:moveTo>
                <a:cubicBezTo>
                  <a:pt x="353" y="44"/>
                  <a:pt x="469" y="42"/>
                  <a:pt x="586" y="55"/>
                </a:cubicBezTo>
                <a:cubicBezTo>
                  <a:pt x="703" y="68"/>
                  <a:pt x="818" y="89"/>
                  <a:pt x="934" y="106"/>
                </a:cubicBezTo>
                <a:cubicBezTo>
                  <a:pt x="1046" y="124"/>
                  <a:pt x="1149" y="144"/>
                  <a:pt x="1256" y="163"/>
                </a:cubicBezTo>
                <a:lnTo>
                  <a:pt x="1523" y="246"/>
                </a:lnTo>
                <a:lnTo>
                  <a:pt x="1793" y="336"/>
                </a:lnTo>
                <a:lnTo>
                  <a:pt x="2089" y="442"/>
                </a:lnTo>
                <a:cubicBezTo>
                  <a:pt x="2187" y="477"/>
                  <a:pt x="2262" y="500"/>
                  <a:pt x="2379" y="548"/>
                </a:cubicBezTo>
                <a:cubicBezTo>
                  <a:pt x="2496" y="596"/>
                  <a:pt x="2654" y="669"/>
                  <a:pt x="2791" y="730"/>
                </a:cubicBezTo>
                <a:cubicBezTo>
                  <a:pt x="2927" y="792"/>
                  <a:pt x="3051" y="844"/>
                  <a:pt x="3192" y="922"/>
                </a:cubicBezTo>
                <a:cubicBezTo>
                  <a:pt x="3333" y="1000"/>
                  <a:pt x="3490" y="1105"/>
                  <a:pt x="3639" y="1196"/>
                </a:cubicBezTo>
                <a:cubicBezTo>
                  <a:pt x="3800" y="1297"/>
                  <a:pt x="4005" y="1424"/>
                  <a:pt x="4158" y="1529"/>
                </a:cubicBezTo>
                <a:cubicBezTo>
                  <a:pt x="4311" y="1634"/>
                  <a:pt x="4399" y="1704"/>
                  <a:pt x="4555" y="1825"/>
                </a:cubicBezTo>
                <a:cubicBezTo>
                  <a:pt x="4711" y="1946"/>
                  <a:pt x="4913" y="2110"/>
                  <a:pt x="5092" y="2253"/>
                </a:cubicBezTo>
                <a:cubicBezTo>
                  <a:pt x="5257" y="2399"/>
                  <a:pt x="5395" y="2552"/>
                  <a:pt x="5546" y="2701"/>
                </a:cubicBezTo>
                <a:cubicBezTo>
                  <a:pt x="5678" y="2832"/>
                  <a:pt x="5770" y="2926"/>
                  <a:pt x="5882" y="3038"/>
                </a:cubicBezTo>
                <a:cubicBezTo>
                  <a:pt x="5985" y="3142"/>
                  <a:pt x="6062" y="3208"/>
                  <a:pt x="6165" y="3326"/>
                </a:cubicBezTo>
                <a:cubicBezTo>
                  <a:pt x="6268" y="3444"/>
                  <a:pt x="6387" y="3606"/>
                  <a:pt x="6498" y="3746"/>
                </a:cubicBezTo>
                <a:cubicBezTo>
                  <a:pt x="6603" y="3874"/>
                  <a:pt x="6697" y="3979"/>
                  <a:pt x="6796" y="4096"/>
                </a:cubicBezTo>
                <a:cubicBezTo>
                  <a:pt x="6930" y="4273"/>
                  <a:pt x="7131" y="4571"/>
                  <a:pt x="7299" y="4809"/>
                </a:cubicBezTo>
                <a:cubicBezTo>
                  <a:pt x="7477" y="5069"/>
                  <a:pt x="7696" y="5387"/>
                  <a:pt x="7862" y="5656"/>
                </a:cubicBezTo>
                <a:cubicBezTo>
                  <a:pt x="8028" y="5925"/>
                  <a:pt x="8121" y="6096"/>
                  <a:pt x="8298" y="6426"/>
                </a:cubicBezTo>
                <a:cubicBezTo>
                  <a:pt x="8475" y="6756"/>
                  <a:pt x="8728" y="7235"/>
                  <a:pt x="8926" y="7638"/>
                </a:cubicBezTo>
                <a:cubicBezTo>
                  <a:pt x="9124" y="8041"/>
                  <a:pt x="9299" y="8443"/>
                  <a:pt x="9486" y="8846"/>
                </a:cubicBezTo>
                <a:cubicBezTo>
                  <a:pt x="9665" y="9239"/>
                  <a:pt x="9829" y="9612"/>
                  <a:pt x="10000" y="9995"/>
                </a:cubicBezTo>
                <a:lnTo>
                  <a:pt x="2" y="10010"/>
                </a:lnTo>
                <a:cubicBezTo>
                  <a:pt x="1" y="6673"/>
                  <a:pt x="1" y="3337"/>
                  <a:pt x="0" y="0"/>
                </a:cubicBezTo>
                <a:lnTo>
                  <a:pt x="229" y="26"/>
                </a:lnTo>
                <a:close/>
              </a:path>
            </a:pathLst>
          </a:custGeom>
          <a:solidFill>
            <a:srgbClr val="005EB8"/>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16" name="Forme libre 9"/>
          <p:cNvSpPr>
            <a:spLocks/>
          </p:cNvSpPr>
          <p:nvPr userDrawn="1"/>
        </p:nvSpPr>
        <p:spPr bwMode="auto">
          <a:xfrm rot="10800000">
            <a:off x="6631118" y="3710519"/>
            <a:ext cx="5594919" cy="317102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944 w 9996"/>
              <a:gd name="connsiteY43" fmla="*/ 9282 h 10000"/>
              <a:gd name="connsiteX44" fmla="*/ 3363 w 9996"/>
              <a:gd name="connsiteY44" fmla="*/ 9466 h 10000"/>
              <a:gd name="connsiteX45" fmla="*/ 2656 w 9996"/>
              <a:gd name="connsiteY45" fmla="*/ 9645 h 10000"/>
              <a:gd name="connsiteX46" fmla="*/ 2282 w 9996"/>
              <a:gd name="connsiteY46" fmla="*/ 9724 h 10000"/>
              <a:gd name="connsiteX47" fmla="*/ 1523 w 9996"/>
              <a:gd name="connsiteY47" fmla="*/ 9852 h 10000"/>
              <a:gd name="connsiteX48" fmla="*/ 1016 w 9996"/>
              <a:gd name="connsiteY48" fmla="*/ 9920 h 10000"/>
              <a:gd name="connsiteX49" fmla="*/ 559 w 9996"/>
              <a:gd name="connsiteY49" fmla="*/ 9972 h 10000"/>
              <a:gd name="connsiteX50" fmla="*/ 183 w 9996"/>
              <a:gd name="connsiteY50" fmla="*/ 10000 h 10000"/>
              <a:gd name="connsiteX51" fmla="*/ 16 w 9996"/>
              <a:gd name="connsiteY51" fmla="*/ 9999 h 10000"/>
              <a:gd name="connsiteX52" fmla="*/ 8 w 9996"/>
              <a:gd name="connsiteY52" fmla="*/ 9201 h 10000"/>
              <a:gd name="connsiteX53" fmla="*/ 8 w 9996"/>
              <a:gd name="connsiteY53" fmla="*/ 8650 h 10000"/>
              <a:gd name="connsiteX54" fmla="*/ 8 w 9996"/>
              <a:gd name="connsiteY54" fmla="*/ 6881 h 10000"/>
              <a:gd name="connsiteX55" fmla="*/ 0 w 9996"/>
              <a:gd name="connsiteY55" fmla="*/ 3 h 10000"/>
              <a:gd name="connsiteX56" fmla="*/ 234 w 9996"/>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273 w 10000"/>
              <a:gd name="connsiteY22" fmla="*/ 4256 h 10000"/>
              <a:gd name="connsiteX23" fmla="*/ 9502 w 10000"/>
              <a:gd name="connsiteY23" fmla="*/ 4494 h 10000"/>
              <a:gd name="connsiteX24" fmla="*/ 9803 w 10000"/>
              <a:gd name="connsiteY24" fmla="*/ 4800 h 10000"/>
              <a:gd name="connsiteX25" fmla="*/ 10000 w 10000"/>
              <a:gd name="connsiteY25" fmla="*/ 4997 h 10000"/>
              <a:gd name="connsiteX26" fmla="*/ 9849 w 10000"/>
              <a:gd name="connsiteY26" fmla="*/ 5173 h 10000"/>
              <a:gd name="connsiteX27" fmla="*/ 9634 w 10000"/>
              <a:gd name="connsiteY27" fmla="*/ 5400 h 10000"/>
              <a:gd name="connsiteX28" fmla="*/ 9428 w 10000"/>
              <a:gd name="connsiteY28" fmla="*/ 5610 h 10000"/>
              <a:gd name="connsiteX29" fmla="*/ 9170 w 10000"/>
              <a:gd name="connsiteY29" fmla="*/ 5866 h 10000"/>
              <a:gd name="connsiteX30" fmla="*/ 8840 w 10000"/>
              <a:gd name="connsiteY30" fmla="*/ 6164 h 10000"/>
              <a:gd name="connsiteX31" fmla="*/ 8671 w 10000"/>
              <a:gd name="connsiteY31" fmla="*/ 6318 h 10000"/>
              <a:gd name="connsiteX32" fmla="*/ 8416 w 10000"/>
              <a:gd name="connsiteY32" fmla="*/ 6540 h 10000"/>
              <a:gd name="connsiteX33" fmla="*/ 8192 w 10000"/>
              <a:gd name="connsiteY33" fmla="*/ 6735 h 10000"/>
              <a:gd name="connsiteX34" fmla="*/ 7942 w 10000"/>
              <a:gd name="connsiteY34" fmla="*/ 6933 h 10000"/>
              <a:gd name="connsiteX35" fmla="*/ 7587 w 10000"/>
              <a:gd name="connsiteY35" fmla="*/ 7208 h 10000"/>
              <a:gd name="connsiteX36" fmla="*/ 7210 w 10000"/>
              <a:gd name="connsiteY36" fmla="*/ 7493 h 10000"/>
              <a:gd name="connsiteX37" fmla="*/ 6833 w 10000"/>
              <a:gd name="connsiteY37" fmla="*/ 7759 h 10000"/>
              <a:gd name="connsiteX38" fmla="*/ 6464 w 10000"/>
              <a:gd name="connsiteY38" fmla="*/ 8005 h 10000"/>
              <a:gd name="connsiteX39" fmla="*/ 5967 w 10000"/>
              <a:gd name="connsiteY39" fmla="*/ 8319 h 10000"/>
              <a:gd name="connsiteX40" fmla="*/ 5537 w 10000"/>
              <a:gd name="connsiteY40" fmla="*/ 8575 h 10000"/>
              <a:gd name="connsiteX41" fmla="*/ 5181 w 10000"/>
              <a:gd name="connsiteY41" fmla="*/ 8761 h 10000"/>
              <a:gd name="connsiteX42" fmla="*/ 4786 w 10000"/>
              <a:gd name="connsiteY42" fmla="*/ 8948 h 10000"/>
              <a:gd name="connsiteX43" fmla="*/ 4370 w 10000"/>
              <a:gd name="connsiteY43" fmla="*/ 9125 h 10000"/>
              <a:gd name="connsiteX44" fmla="*/ 3946 w 10000"/>
              <a:gd name="connsiteY44" fmla="*/ 9282 h 10000"/>
              <a:gd name="connsiteX45" fmla="*/ 3364 w 10000"/>
              <a:gd name="connsiteY45" fmla="*/ 9466 h 10000"/>
              <a:gd name="connsiteX46" fmla="*/ 2657 w 10000"/>
              <a:gd name="connsiteY46" fmla="*/ 9645 h 10000"/>
              <a:gd name="connsiteX47" fmla="*/ 2283 w 10000"/>
              <a:gd name="connsiteY47" fmla="*/ 9724 h 10000"/>
              <a:gd name="connsiteX48" fmla="*/ 1524 w 10000"/>
              <a:gd name="connsiteY48" fmla="*/ 9852 h 10000"/>
              <a:gd name="connsiteX49" fmla="*/ 1016 w 10000"/>
              <a:gd name="connsiteY49" fmla="*/ 9920 h 10000"/>
              <a:gd name="connsiteX50" fmla="*/ 559 w 10000"/>
              <a:gd name="connsiteY50" fmla="*/ 9972 h 10000"/>
              <a:gd name="connsiteX51" fmla="*/ 183 w 10000"/>
              <a:gd name="connsiteY51" fmla="*/ 10000 h 10000"/>
              <a:gd name="connsiteX52" fmla="*/ 16 w 10000"/>
              <a:gd name="connsiteY52" fmla="*/ 9999 h 10000"/>
              <a:gd name="connsiteX53" fmla="*/ 8 w 10000"/>
              <a:gd name="connsiteY53" fmla="*/ 9201 h 10000"/>
              <a:gd name="connsiteX54" fmla="*/ 8 w 10000"/>
              <a:gd name="connsiteY54" fmla="*/ 8650 h 10000"/>
              <a:gd name="connsiteX55" fmla="*/ 8 w 10000"/>
              <a:gd name="connsiteY55" fmla="*/ 6881 h 10000"/>
              <a:gd name="connsiteX56" fmla="*/ 0 w 10000"/>
              <a:gd name="connsiteY56" fmla="*/ 3 h 10000"/>
              <a:gd name="connsiteX57" fmla="*/ 234 w 10000"/>
              <a:gd name="connsiteY5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809 w 10000"/>
              <a:gd name="connsiteY20" fmla="*/ 3826 h 10000"/>
              <a:gd name="connsiteX21" fmla="*/ 9273 w 10000"/>
              <a:gd name="connsiteY21" fmla="*/ 4256 h 10000"/>
              <a:gd name="connsiteX22" fmla="*/ 9502 w 10000"/>
              <a:gd name="connsiteY22" fmla="*/ 4494 h 10000"/>
              <a:gd name="connsiteX23" fmla="*/ 9803 w 10000"/>
              <a:gd name="connsiteY23" fmla="*/ 4800 h 10000"/>
              <a:gd name="connsiteX24" fmla="*/ 10000 w 10000"/>
              <a:gd name="connsiteY24" fmla="*/ 4997 h 10000"/>
              <a:gd name="connsiteX25" fmla="*/ 9849 w 10000"/>
              <a:gd name="connsiteY25" fmla="*/ 5173 h 10000"/>
              <a:gd name="connsiteX26" fmla="*/ 9634 w 10000"/>
              <a:gd name="connsiteY26" fmla="*/ 5400 h 10000"/>
              <a:gd name="connsiteX27" fmla="*/ 9428 w 10000"/>
              <a:gd name="connsiteY27" fmla="*/ 5610 h 10000"/>
              <a:gd name="connsiteX28" fmla="*/ 9170 w 10000"/>
              <a:gd name="connsiteY28" fmla="*/ 5866 h 10000"/>
              <a:gd name="connsiteX29" fmla="*/ 8840 w 10000"/>
              <a:gd name="connsiteY29" fmla="*/ 6164 h 10000"/>
              <a:gd name="connsiteX30" fmla="*/ 8671 w 10000"/>
              <a:gd name="connsiteY30" fmla="*/ 6318 h 10000"/>
              <a:gd name="connsiteX31" fmla="*/ 8416 w 10000"/>
              <a:gd name="connsiteY31" fmla="*/ 6540 h 10000"/>
              <a:gd name="connsiteX32" fmla="*/ 8192 w 10000"/>
              <a:gd name="connsiteY32" fmla="*/ 6735 h 10000"/>
              <a:gd name="connsiteX33" fmla="*/ 7942 w 10000"/>
              <a:gd name="connsiteY33" fmla="*/ 6933 h 10000"/>
              <a:gd name="connsiteX34" fmla="*/ 7587 w 10000"/>
              <a:gd name="connsiteY34" fmla="*/ 7208 h 10000"/>
              <a:gd name="connsiteX35" fmla="*/ 7210 w 10000"/>
              <a:gd name="connsiteY35" fmla="*/ 7493 h 10000"/>
              <a:gd name="connsiteX36" fmla="*/ 6833 w 10000"/>
              <a:gd name="connsiteY36" fmla="*/ 7759 h 10000"/>
              <a:gd name="connsiteX37" fmla="*/ 6464 w 10000"/>
              <a:gd name="connsiteY37" fmla="*/ 8005 h 10000"/>
              <a:gd name="connsiteX38" fmla="*/ 5967 w 10000"/>
              <a:gd name="connsiteY38" fmla="*/ 8319 h 10000"/>
              <a:gd name="connsiteX39" fmla="*/ 5537 w 10000"/>
              <a:gd name="connsiteY39" fmla="*/ 8575 h 10000"/>
              <a:gd name="connsiteX40" fmla="*/ 5181 w 10000"/>
              <a:gd name="connsiteY40" fmla="*/ 8761 h 10000"/>
              <a:gd name="connsiteX41" fmla="*/ 4786 w 10000"/>
              <a:gd name="connsiteY41" fmla="*/ 8948 h 10000"/>
              <a:gd name="connsiteX42" fmla="*/ 4370 w 10000"/>
              <a:gd name="connsiteY42" fmla="*/ 9125 h 10000"/>
              <a:gd name="connsiteX43" fmla="*/ 3946 w 10000"/>
              <a:gd name="connsiteY43" fmla="*/ 9282 h 10000"/>
              <a:gd name="connsiteX44" fmla="*/ 3364 w 10000"/>
              <a:gd name="connsiteY44" fmla="*/ 9466 h 10000"/>
              <a:gd name="connsiteX45" fmla="*/ 2657 w 10000"/>
              <a:gd name="connsiteY45" fmla="*/ 9645 h 10000"/>
              <a:gd name="connsiteX46" fmla="*/ 2283 w 10000"/>
              <a:gd name="connsiteY46" fmla="*/ 9724 h 10000"/>
              <a:gd name="connsiteX47" fmla="*/ 1524 w 10000"/>
              <a:gd name="connsiteY47" fmla="*/ 9852 h 10000"/>
              <a:gd name="connsiteX48" fmla="*/ 1016 w 10000"/>
              <a:gd name="connsiteY48" fmla="*/ 9920 h 10000"/>
              <a:gd name="connsiteX49" fmla="*/ 559 w 10000"/>
              <a:gd name="connsiteY49" fmla="*/ 9972 h 10000"/>
              <a:gd name="connsiteX50" fmla="*/ 183 w 10000"/>
              <a:gd name="connsiteY50" fmla="*/ 10000 h 10000"/>
              <a:gd name="connsiteX51" fmla="*/ 16 w 10000"/>
              <a:gd name="connsiteY51" fmla="*/ 9999 h 10000"/>
              <a:gd name="connsiteX52" fmla="*/ 8 w 10000"/>
              <a:gd name="connsiteY52" fmla="*/ 9201 h 10000"/>
              <a:gd name="connsiteX53" fmla="*/ 8 w 10000"/>
              <a:gd name="connsiteY53" fmla="*/ 8650 h 10000"/>
              <a:gd name="connsiteX54" fmla="*/ 8 w 10000"/>
              <a:gd name="connsiteY54" fmla="*/ 6881 h 10000"/>
              <a:gd name="connsiteX55" fmla="*/ 0 w 10000"/>
              <a:gd name="connsiteY55" fmla="*/ 3 h 10000"/>
              <a:gd name="connsiteX56" fmla="*/ 234 w 10000"/>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8809 w 10000"/>
              <a:gd name="connsiteY19" fmla="*/ 3826 h 10000"/>
              <a:gd name="connsiteX20" fmla="*/ 9273 w 10000"/>
              <a:gd name="connsiteY20" fmla="*/ 4256 h 10000"/>
              <a:gd name="connsiteX21" fmla="*/ 9502 w 10000"/>
              <a:gd name="connsiteY21" fmla="*/ 4494 h 10000"/>
              <a:gd name="connsiteX22" fmla="*/ 9803 w 10000"/>
              <a:gd name="connsiteY22" fmla="*/ 4800 h 10000"/>
              <a:gd name="connsiteX23" fmla="*/ 10000 w 10000"/>
              <a:gd name="connsiteY23" fmla="*/ 4997 h 10000"/>
              <a:gd name="connsiteX24" fmla="*/ 9849 w 10000"/>
              <a:gd name="connsiteY24" fmla="*/ 5173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946 w 10000"/>
              <a:gd name="connsiteY42" fmla="*/ 9282 h 10000"/>
              <a:gd name="connsiteX43" fmla="*/ 3364 w 10000"/>
              <a:gd name="connsiteY43" fmla="*/ 9466 h 10000"/>
              <a:gd name="connsiteX44" fmla="*/ 2657 w 10000"/>
              <a:gd name="connsiteY44" fmla="*/ 9645 h 10000"/>
              <a:gd name="connsiteX45" fmla="*/ 2283 w 10000"/>
              <a:gd name="connsiteY45" fmla="*/ 9724 h 10000"/>
              <a:gd name="connsiteX46" fmla="*/ 1524 w 10000"/>
              <a:gd name="connsiteY46" fmla="*/ 9852 h 10000"/>
              <a:gd name="connsiteX47" fmla="*/ 1016 w 10000"/>
              <a:gd name="connsiteY47" fmla="*/ 9920 h 10000"/>
              <a:gd name="connsiteX48" fmla="*/ 559 w 10000"/>
              <a:gd name="connsiteY48" fmla="*/ 9972 h 10000"/>
              <a:gd name="connsiteX49" fmla="*/ 183 w 10000"/>
              <a:gd name="connsiteY49" fmla="*/ 10000 h 10000"/>
              <a:gd name="connsiteX50" fmla="*/ 16 w 10000"/>
              <a:gd name="connsiteY50" fmla="*/ 9999 h 10000"/>
              <a:gd name="connsiteX51" fmla="*/ 8 w 10000"/>
              <a:gd name="connsiteY51" fmla="*/ 9201 h 10000"/>
              <a:gd name="connsiteX52" fmla="*/ 8 w 10000"/>
              <a:gd name="connsiteY52" fmla="*/ 8650 h 10000"/>
              <a:gd name="connsiteX53" fmla="*/ 8 w 10000"/>
              <a:gd name="connsiteY53" fmla="*/ 6881 h 10000"/>
              <a:gd name="connsiteX54" fmla="*/ 0 w 10000"/>
              <a:gd name="connsiteY54" fmla="*/ 3 h 10000"/>
              <a:gd name="connsiteX55" fmla="*/ 234 w 10000"/>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8823 w 10014"/>
              <a:gd name="connsiteY19" fmla="*/ 3826 h 10000"/>
              <a:gd name="connsiteX20" fmla="*/ 9287 w 10014"/>
              <a:gd name="connsiteY20" fmla="*/ 4256 h 10000"/>
              <a:gd name="connsiteX21" fmla="*/ 9516 w 10014"/>
              <a:gd name="connsiteY21" fmla="*/ 4494 h 10000"/>
              <a:gd name="connsiteX22" fmla="*/ 9817 w 10014"/>
              <a:gd name="connsiteY22" fmla="*/ 4800 h 10000"/>
              <a:gd name="connsiteX23" fmla="*/ 10014 w 10014"/>
              <a:gd name="connsiteY23" fmla="*/ 4997 h 10000"/>
              <a:gd name="connsiteX24" fmla="*/ 9863 w 10014"/>
              <a:gd name="connsiteY24" fmla="*/ 5173 h 10000"/>
              <a:gd name="connsiteX25" fmla="*/ 9648 w 10014"/>
              <a:gd name="connsiteY25" fmla="*/ 5400 h 10000"/>
              <a:gd name="connsiteX26" fmla="*/ 9442 w 10014"/>
              <a:gd name="connsiteY26" fmla="*/ 5610 h 10000"/>
              <a:gd name="connsiteX27" fmla="*/ 9184 w 10014"/>
              <a:gd name="connsiteY27" fmla="*/ 5866 h 10000"/>
              <a:gd name="connsiteX28" fmla="*/ 8854 w 10014"/>
              <a:gd name="connsiteY28" fmla="*/ 6164 h 10000"/>
              <a:gd name="connsiteX29" fmla="*/ 8685 w 10014"/>
              <a:gd name="connsiteY29" fmla="*/ 6318 h 10000"/>
              <a:gd name="connsiteX30" fmla="*/ 8430 w 10014"/>
              <a:gd name="connsiteY30" fmla="*/ 6540 h 10000"/>
              <a:gd name="connsiteX31" fmla="*/ 8206 w 10014"/>
              <a:gd name="connsiteY31" fmla="*/ 6735 h 10000"/>
              <a:gd name="connsiteX32" fmla="*/ 7956 w 10014"/>
              <a:gd name="connsiteY32" fmla="*/ 6933 h 10000"/>
              <a:gd name="connsiteX33" fmla="*/ 7601 w 10014"/>
              <a:gd name="connsiteY33" fmla="*/ 7208 h 10000"/>
              <a:gd name="connsiteX34" fmla="*/ 7224 w 10014"/>
              <a:gd name="connsiteY34" fmla="*/ 7493 h 10000"/>
              <a:gd name="connsiteX35" fmla="*/ 6847 w 10014"/>
              <a:gd name="connsiteY35" fmla="*/ 7759 h 10000"/>
              <a:gd name="connsiteX36" fmla="*/ 6478 w 10014"/>
              <a:gd name="connsiteY36" fmla="*/ 8005 h 10000"/>
              <a:gd name="connsiteX37" fmla="*/ 5981 w 10014"/>
              <a:gd name="connsiteY37" fmla="*/ 8319 h 10000"/>
              <a:gd name="connsiteX38" fmla="*/ 5551 w 10014"/>
              <a:gd name="connsiteY38" fmla="*/ 8575 h 10000"/>
              <a:gd name="connsiteX39" fmla="*/ 5195 w 10014"/>
              <a:gd name="connsiteY39" fmla="*/ 8761 h 10000"/>
              <a:gd name="connsiteX40" fmla="*/ 4800 w 10014"/>
              <a:gd name="connsiteY40" fmla="*/ 8948 h 10000"/>
              <a:gd name="connsiteX41" fmla="*/ 4384 w 10014"/>
              <a:gd name="connsiteY41" fmla="*/ 9125 h 10000"/>
              <a:gd name="connsiteX42" fmla="*/ 3960 w 10014"/>
              <a:gd name="connsiteY42" fmla="*/ 9282 h 10000"/>
              <a:gd name="connsiteX43" fmla="*/ 3378 w 10014"/>
              <a:gd name="connsiteY43" fmla="*/ 9466 h 10000"/>
              <a:gd name="connsiteX44" fmla="*/ 2671 w 10014"/>
              <a:gd name="connsiteY44" fmla="*/ 9645 h 10000"/>
              <a:gd name="connsiteX45" fmla="*/ 2297 w 10014"/>
              <a:gd name="connsiteY45" fmla="*/ 9724 h 10000"/>
              <a:gd name="connsiteX46" fmla="*/ 1538 w 10014"/>
              <a:gd name="connsiteY46" fmla="*/ 9852 h 10000"/>
              <a:gd name="connsiteX47" fmla="*/ 1030 w 10014"/>
              <a:gd name="connsiteY47" fmla="*/ 9920 h 10000"/>
              <a:gd name="connsiteX48" fmla="*/ 573 w 10014"/>
              <a:gd name="connsiteY48" fmla="*/ 9972 h 10000"/>
              <a:gd name="connsiteX49" fmla="*/ 197 w 10014"/>
              <a:gd name="connsiteY49" fmla="*/ 10000 h 10000"/>
              <a:gd name="connsiteX50" fmla="*/ 30 w 10014"/>
              <a:gd name="connsiteY50" fmla="*/ 9999 h 10000"/>
              <a:gd name="connsiteX51" fmla="*/ 22 w 10014"/>
              <a:gd name="connsiteY51" fmla="*/ 9201 h 10000"/>
              <a:gd name="connsiteX52" fmla="*/ 22 w 10014"/>
              <a:gd name="connsiteY52" fmla="*/ 8650 h 10000"/>
              <a:gd name="connsiteX53" fmla="*/ 22 w 10014"/>
              <a:gd name="connsiteY53" fmla="*/ 6881 h 10000"/>
              <a:gd name="connsiteX54" fmla="*/ 21 w 10014"/>
              <a:gd name="connsiteY54" fmla="*/ 4264 h 10000"/>
              <a:gd name="connsiteX55" fmla="*/ 14 w 10014"/>
              <a:gd name="connsiteY55" fmla="*/ 3 h 10000"/>
              <a:gd name="connsiteX56" fmla="*/ 248 w 10014"/>
              <a:gd name="connsiteY5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9287 w 10014"/>
              <a:gd name="connsiteY19" fmla="*/ 4256 h 10000"/>
              <a:gd name="connsiteX20" fmla="*/ 9516 w 10014"/>
              <a:gd name="connsiteY20" fmla="*/ 4494 h 10000"/>
              <a:gd name="connsiteX21" fmla="*/ 9817 w 10014"/>
              <a:gd name="connsiteY21" fmla="*/ 4800 h 10000"/>
              <a:gd name="connsiteX22" fmla="*/ 10014 w 10014"/>
              <a:gd name="connsiteY22" fmla="*/ 4997 h 10000"/>
              <a:gd name="connsiteX23" fmla="*/ 9863 w 10014"/>
              <a:gd name="connsiteY23" fmla="*/ 5173 h 10000"/>
              <a:gd name="connsiteX24" fmla="*/ 9648 w 10014"/>
              <a:gd name="connsiteY24" fmla="*/ 5400 h 10000"/>
              <a:gd name="connsiteX25" fmla="*/ 9442 w 10014"/>
              <a:gd name="connsiteY25" fmla="*/ 5610 h 10000"/>
              <a:gd name="connsiteX26" fmla="*/ 9184 w 10014"/>
              <a:gd name="connsiteY26" fmla="*/ 5866 h 10000"/>
              <a:gd name="connsiteX27" fmla="*/ 8854 w 10014"/>
              <a:gd name="connsiteY27" fmla="*/ 6164 h 10000"/>
              <a:gd name="connsiteX28" fmla="*/ 8685 w 10014"/>
              <a:gd name="connsiteY28" fmla="*/ 6318 h 10000"/>
              <a:gd name="connsiteX29" fmla="*/ 8430 w 10014"/>
              <a:gd name="connsiteY29" fmla="*/ 6540 h 10000"/>
              <a:gd name="connsiteX30" fmla="*/ 8206 w 10014"/>
              <a:gd name="connsiteY30" fmla="*/ 6735 h 10000"/>
              <a:gd name="connsiteX31" fmla="*/ 7956 w 10014"/>
              <a:gd name="connsiteY31" fmla="*/ 6933 h 10000"/>
              <a:gd name="connsiteX32" fmla="*/ 7601 w 10014"/>
              <a:gd name="connsiteY32" fmla="*/ 7208 h 10000"/>
              <a:gd name="connsiteX33" fmla="*/ 7224 w 10014"/>
              <a:gd name="connsiteY33" fmla="*/ 7493 h 10000"/>
              <a:gd name="connsiteX34" fmla="*/ 6847 w 10014"/>
              <a:gd name="connsiteY34" fmla="*/ 7759 h 10000"/>
              <a:gd name="connsiteX35" fmla="*/ 6478 w 10014"/>
              <a:gd name="connsiteY35" fmla="*/ 8005 h 10000"/>
              <a:gd name="connsiteX36" fmla="*/ 5981 w 10014"/>
              <a:gd name="connsiteY36" fmla="*/ 8319 h 10000"/>
              <a:gd name="connsiteX37" fmla="*/ 5551 w 10014"/>
              <a:gd name="connsiteY37" fmla="*/ 8575 h 10000"/>
              <a:gd name="connsiteX38" fmla="*/ 5195 w 10014"/>
              <a:gd name="connsiteY38" fmla="*/ 8761 h 10000"/>
              <a:gd name="connsiteX39" fmla="*/ 4800 w 10014"/>
              <a:gd name="connsiteY39" fmla="*/ 8948 h 10000"/>
              <a:gd name="connsiteX40" fmla="*/ 4384 w 10014"/>
              <a:gd name="connsiteY40" fmla="*/ 9125 h 10000"/>
              <a:gd name="connsiteX41" fmla="*/ 3960 w 10014"/>
              <a:gd name="connsiteY41" fmla="*/ 9282 h 10000"/>
              <a:gd name="connsiteX42" fmla="*/ 3378 w 10014"/>
              <a:gd name="connsiteY42" fmla="*/ 9466 h 10000"/>
              <a:gd name="connsiteX43" fmla="*/ 2671 w 10014"/>
              <a:gd name="connsiteY43" fmla="*/ 9645 h 10000"/>
              <a:gd name="connsiteX44" fmla="*/ 2297 w 10014"/>
              <a:gd name="connsiteY44" fmla="*/ 9724 h 10000"/>
              <a:gd name="connsiteX45" fmla="*/ 1538 w 10014"/>
              <a:gd name="connsiteY45" fmla="*/ 9852 h 10000"/>
              <a:gd name="connsiteX46" fmla="*/ 1030 w 10014"/>
              <a:gd name="connsiteY46" fmla="*/ 9920 h 10000"/>
              <a:gd name="connsiteX47" fmla="*/ 573 w 10014"/>
              <a:gd name="connsiteY47" fmla="*/ 9972 h 10000"/>
              <a:gd name="connsiteX48" fmla="*/ 197 w 10014"/>
              <a:gd name="connsiteY48" fmla="*/ 10000 h 10000"/>
              <a:gd name="connsiteX49" fmla="*/ 30 w 10014"/>
              <a:gd name="connsiteY49" fmla="*/ 9999 h 10000"/>
              <a:gd name="connsiteX50" fmla="*/ 22 w 10014"/>
              <a:gd name="connsiteY50" fmla="*/ 9201 h 10000"/>
              <a:gd name="connsiteX51" fmla="*/ 22 w 10014"/>
              <a:gd name="connsiteY51" fmla="*/ 8650 h 10000"/>
              <a:gd name="connsiteX52" fmla="*/ 22 w 10014"/>
              <a:gd name="connsiteY52" fmla="*/ 6881 h 10000"/>
              <a:gd name="connsiteX53" fmla="*/ 21 w 10014"/>
              <a:gd name="connsiteY53" fmla="*/ 4264 h 10000"/>
              <a:gd name="connsiteX54" fmla="*/ 14 w 10014"/>
              <a:gd name="connsiteY54" fmla="*/ 3 h 10000"/>
              <a:gd name="connsiteX55" fmla="*/ 248 w 10014"/>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9287 w 10014"/>
              <a:gd name="connsiteY18" fmla="*/ 4256 h 10000"/>
              <a:gd name="connsiteX19" fmla="*/ 9516 w 10014"/>
              <a:gd name="connsiteY19" fmla="*/ 4494 h 10000"/>
              <a:gd name="connsiteX20" fmla="*/ 9817 w 10014"/>
              <a:gd name="connsiteY20" fmla="*/ 4800 h 10000"/>
              <a:gd name="connsiteX21" fmla="*/ 10014 w 10014"/>
              <a:gd name="connsiteY21" fmla="*/ 4997 h 10000"/>
              <a:gd name="connsiteX22" fmla="*/ 9863 w 10014"/>
              <a:gd name="connsiteY22" fmla="*/ 5173 h 10000"/>
              <a:gd name="connsiteX23" fmla="*/ 9648 w 10014"/>
              <a:gd name="connsiteY23" fmla="*/ 5400 h 10000"/>
              <a:gd name="connsiteX24" fmla="*/ 9442 w 10014"/>
              <a:gd name="connsiteY24" fmla="*/ 5610 h 10000"/>
              <a:gd name="connsiteX25" fmla="*/ 9184 w 10014"/>
              <a:gd name="connsiteY25" fmla="*/ 5866 h 10000"/>
              <a:gd name="connsiteX26" fmla="*/ 8854 w 10014"/>
              <a:gd name="connsiteY26" fmla="*/ 6164 h 10000"/>
              <a:gd name="connsiteX27" fmla="*/ 8685 w 10014"/>
              <a:gd name="connsiteY27" fmla="*/ 6318 h 10000"/>
              <a:gd name="connsiteX28" fmla="*/ 8430 w 10014"/>
              <a:gd name="connsiteY28" fmla="*/ 6540 h 10000"/>
              <a:gd name="connsiteX29" fmla="*/ 8206 w 10014"/>
              <a:gd name="connsiteY29" fmla="*/ 6735 h 10000"/>
              <a:gd name="connsiteX30" fmla="*/ 7956 w 10014"/>
              <a:gd name="connsiteY30" fmla="*/ 6933 h 10000"/>
              <a:gd name="connsiteX31" fmla="*/ 7601 w 10014"/>
              <a:gd name="connsiteY31" fmla="*/ 7208 h 10000"/>
              <a:gd name="connsiteX32" fmla="*/ 7224 w 10014"/>
              <a:gd name="connsiteY32" fmla="*/ 7493 h 10000"/>
              <a:gd name="connsiteX33" fmla="*/ 6847 w 10014"/>
              <a:gd name="connsiteY33" fmla="*/ 7759 h 10000"/>
              <a:gd name="connsiteX34" fmla="*/ 6478 w 10014"/>
              <a:gd name="connsiteY34" fmla="*/ 8005 h 10000"/>
              <a:gd name="connsiteX35" fmla="*/ 5981 w 10014"/>
              <a:gd name="connsiteY35" fmla="*/ 8319 h 10000"/>
              <a:gd name="connsiteX36" fmla="*/ 5551 w 10014"/>
              <a:gd name="connsiteY36" fmla="*/ 8575 h 10000"/>
              <a:gd name="connsiteX37" fmla="*/ 5195 w 10014"/>
              <a:gd name="connsiteY37" fmla="*/ 8761 h 10000"/>
              <a:gd name="connsiteX38" fmla="*/ 4800 w 10014"/>
              <a:gd name="connsiteY38" fmla="*/ 8948 h 10000"/>
              <a:gd name="connsiteX39" fmla="*/ 4384 w 10014"/>
              <a:gd name="connsiteY39" fmla="*/ 9125 h 10000"/>
              <a:gd name="connsiteX40" fmla="*/ 3960 w 10014"/>
              <a:gd name="connsiteY40" fmla="*/ 9282 h 10000"/>
              <a:gd name="connsiteX41" fmla="*/ 3378 w 10014"/>
              <a:gd name="connsiteY41" fmla="*/ 9466 h 10000"/>
              <a:gd name="connsiteX42" fmla="*/ 2671 w 10014"/>
              <a:gd name="connsiteY42" fmla="*/ 9645 h 10000"/>
              <a:gd name="connsiteX43" fmla="*/ 2297 w 10014"/>
              <a:gd name="connsiteY43" fmla="*/ 9724 h 10000"/>
              <a:gd name="connsiteX44" fmla="*/ 1538 w 10014"/>
              <a:gd name="connsiteY44" fmla="*/ 9852 h 10000"/>
              <a:gd name="connsiteX45" fmla="*/ 1030 w 10014"/>
              <a:gd name="connsiteY45" fmla="*/ 9920 h 10000"/>
              <a:gd name="connsiteX46" fmla="*/ 573 w 10014"/>
              <a:gd name="connsiteY46" fmla="*/ 9972 h 10000"/>
              <a:gd name="connsiteX47" fmla="*/ 197 w 10014"/>
              <a:gd name="connsiteY47" fmla="*/ 10000 h 10000"/>
              <a:gd name="connsiteX48" fmla="*/ 30 w 10014"/>
              <a:gd name="connsiteY48" fmla="*/ 9999 h 10000"/>
              <a:gd name="connsiteX49" fmla="*/ 22 w 10014"/>
              <a:gd name="connsiteY49" fmla="*/ 9201 h 10000"/>
              <a:gd name="connsiteX50" fmla="*/ 22 w 10014"/>
              <a:gd name="connsiteY50" fmla="*/ 8650 h 10000"/>
              <a:gd name="connsiteX51" fmla="*/ 22 w 10014"/>
              <a:gd name="connsiteY51" fmla="*/ 6881 h 10000"/>
              <a:gd name="connsiteX52" fmla="*/ 21 w 10014"/>
              <a:gd name="connsiteY52" fmla="*/ 4264 h 10000"/>
              <a:gd name="connsiteX53" fmla="*/ 14 w 10014"/>
              <a:gd name="connsiteY53" fmla="*/ 3 h 10000"/>
              <a:gd name="connsiteX54" fmla="*/ 248 w 10014"/>
              <a:gd name="connsiteY54"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9287 w 10014"/>
              <a:gd name="connsiteY17" fmla="*/ 4256 h 10000"/>
              <a:gd name="connsiteX18" fmla="*/ 9516 w 10014"/>
              <a:gd name="connsiteY18" fmla="*/ 4494 h 10000"/>
              <a:gd name="connsiteX19" fmla="*/ 9817 w 10014"/>
              <a:gd name="connsiteY19" fmla="*/ 4800 h 10000"/>
              <a:gd name="connsiteX20" fmla="*/ 10014 w 10014"/>
              <a:gd name="connsiteY20" fmla="*/ 4997 h 10000"/>
              <a:gd name="connsiteX21" fmla="*/ 9863 w 10014"/>
              <a:gd name="connsiteY21" fmla="*/ 5173 h 10000"/>
              <a:gd name="connsiteX22" fmla="*/ 9648 w 10014"/>
              <a:gd name="connsiteY22" fmla="*/ 5400 h 10000"/>
              <a:gd name="connsiteX23" fmla="*/ 9442 w 10014"/>
              <a:gd name="connsiteY23" fmla="*/ 5610 h 10000"/>
              <a:gd name="connsiteX24" fmla="*/ 9184 w 10014"/>
              <a:gd name="connsiteY24" fmla="*/ 5866 h 10000"/>
              <a:gd name="connsiteX25" fmla="*/ 8854 w 10014"/>
              <a:gd name="connsiteY25" fmla="*/ 6164 h 10000"/>
              <a:gd name="connsiteX26" fmla="*/ 8685 w 10014"/>
              <a:gd name="connsiteY26" fmla="*/ 6318 h 10000"/>
              <a:gd name="connsiteX27" fmla="*/ 8430 w 10014"/>
              <a:gd name="connsiteY27" fmla="*/ 6540 h 10000"/>
              <a:gd name="connsiteX28" fmla="*/ 8206 w 10014"/>
              <a:gd name="connsiteY28" fmla="*/ 6735 h 10000"/>
              <a:gd name="connsiteX29" fmla="*/ 7956 w 10014"/>
              <a:gd name="connsiteY29" fmla="*/ 6933 h 10000"/>
              <a:gd name="connsiteX30" fmla="*/ 7601 w 10014"/>
              <a:gd name="connsiteY30" fmla="*/ 7208 h 10000"/>
              <a:gd name="connsiteX31" fmla="*/ 7224 w 10014"/>
              <a:gd name="connsiteY31" fmla="*/ 7493 h 10000"/>
              <a:gd name="connsiteX32" fmla="*/ 6847 w 10014"/>
              <a:gd name="connsiteY32" fmla="*/ 7759 h 10000"/>
              <a:gd name="connsiteX33" fmla="*/ 6478 w 10014"/>
              <a:gd name="connsiteY33" fmla="*/ 8005 h 10000"/>
              <a:gd name="connsiteX34" fmla="*/ 5981 w 10014"/>
              <a:gd name="connsiteY34" fmla="*/ 8319 h 10000"/>
              <a:gd name="connsiteX35" fmla="*/ 5551 w 10014"/>
              <a:gd name="connsiteY35" fmla="*/ 8575 h 10000"/>
              <a:gd name="connsiteX36" fmla="*/ 5195 w 10014"/>
              <a:gd name="connsiteY36" fmla="*/ 8761 h 10000"/>
              <a:gd name="connsiteX37" fmla="*/ 4800 w 10014"/>
              <a:gd name="connsiteY37" fmla="*/ 8948 h 10000"/>
              <a:gd name="connsiteX38" fmla="*/ 4384 w 10014"/>
              <a:gd name="connsiteY38" fmla="*/ 9125 h 10000"/>
              <a:gd name="connsiteX39" fmla="*/ 3960 w 10014"/>
              <a:gd name="connsiteY39" fmla="*/ 9282 h 10000"/>
              <a:gd name="connsiteX40" fmla="*/ 3378 w 10014"/>
              <a:gd name="connsiteY40" fmla="*/ 9466 h 10000"/>
              <a:gd name="connsiteX41" fmla="*/ 2671 w 10014"/>
              <a:gd name="connsiteY41" fmla="*/ 9645 h 10000"/>
              <a:gd name="connsiteX42" fmla="*/ 2297 w 10014"/>
              <a:gd name="connsiteY42" fmla="*/ 9724 h 10000"/>
              <a:gd name="connsiteX43" fmla="*/ 1538 w 10014"/>
              <a:gd name="connsiteY43" fmla="*/ 9852 h 10000"/>
              <a:gd name="connsiteX44" fmla="*/ 1030 w 10014"/>
              <a:gd name="connsiteY44" fmla="*/ 9920 h 10000"/>
              <a:gd name="connsiteX45" fmla="*/ 573 w 10014"/>
              <a:gd name="connsiteY45" fmla="*/ 9972 h 10000"/>
              <a:gd name="connsiteX46" fmla="*/ 197 w 10014"/>
              <a:gd name="connsiteY46" fmla="*/ 10000 h 10000"/>
              <a:gd name="connsiteX47" fmla="*/ 30 w 10014"/>
              <a:gd name="connsiteY47" fmla="*/ 9999 h 10000"/>
              <a:gd name="connsiteX48" fmla="*/ 22 w 10014"/>
              <a:gd name="connsiteY48" fmla="*/ 9201 h 10000"/>
              <a:gd name="connsiteX49" fmla="*/ 22 w 10014"/>
              <a:gd name="connsiteY49" fmla="*/ 8650 h 10000"/>
              <a:gd name="connsiteX50" fmla="*/ 22 w 10014"/>
              <a:gd name="connsiteY50" fmla="*/ 6881 h 10000"/>
              <a:gd name="connsiteX51" fmla="*/ 21 w 10014"/>
              <a:gd name="connsiteY51" fmla="*/ 4264 h 10000"/>
              <a:gd name="connsiteX52" fmla="*/ 14 w 10014"/>
              <a:gd name="connsiteY52" fmla="*/ 3 h 10000"/>
              <a:gd name="connsiteX53" fmla="*/ 248 w 10014"/>
              <a:gd name="connsiteY53"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9287 w 10014"/>
              <a:gd name="connsiteY16" fmla="*/ 4256 h 10000"/>
              <a:gd name="connsiteX17" fmla="*/ 9516 w 10014"/>
              <a:gd name="connsiteY17" fmla="*/ 4494 h 10000"/>
              <a:gd name="connsiteX18" fmla="*/ 9817 w 10014"/>
              <a:gd name="connsiteY18" fmla="*/ 4800 h 10000"/>
              <a:gd name="connsiteX19" fmla="*/ 10014 w 10014"/>
              <a:gd name="connsiteY19" fmla="*/ 4997 h 10000"/>
              <a:gd name="connsiteX20" fmla="*/ 9863 w 10014"/>
              <a:gd name="connsiteY20" fmla="*/ 5173 h 10000"/>
              <a:gd name="connsiteX21" fmla="*/ 9648 w 10014"/>
              <a:gd name="connsiteY21" fmla="*/ 5400 h 10000"/>
              <a:gd name="connsiteX22" fmla="*/ 9442 w 10014"/>
              <a:gd name="connsiteY22" fmla="*/ 5610 h 10000"/>
              <a:gd name="connsiteX23" fmla="*/ 9184 w 10014"/>
              <a:gd name="connsiteY23" fmla="*/ 5866 h 10000"/>
              <a:gd name="connsiteX24" fmla="*/ 8854 w 10014"/>
              <a:gd name="connsiteY24" fmla="*/ 6164 h 10000"/>
              <a:gd name="connsiteX25" fmla="*/ 8685 w 10014"/>
              <a:gd name="connsiteY25" fmla="*/ 6318 h 10000"/>
              <a:gd name="connsiteX26" fmla="*/ 8430 w 10014"/>
              <a:gd name="connsiteY26" fmla="*/ 6540 h 10000"/>
              <a:gd name="connsiteX27" fmla="*/ 8206 w 10014"/>
              <a:gd name="connsiteY27" fmla="*/ 6735 h 10000"/>
              <a:gd name="connsiteX28" fmla="*/ 7956 w 10014"/>
              <a:gd name="connsiteY28" fmla="*/ 6933 h 10000"/>
              <a:gd name="connsiteX29" fmla="*/ 7601 w 10014"/>
              <a:gd name="connsiteY29" fmla="*/ 7208 h 10000"/>
              <a:gd name="connsiteX30" fmla="*/ 7224 w 10014"/>
              <a:gd name="connsiteY30" fmla="*/ 7493 h 10000"/>
              <a:gd name="connsiteX31" fmla="*/ 6847 w 10014"/>
              <a:gd name="connsiteY31" fmla="*/ 7759 h 10000"/>
              <a:gd name="connsiteX32" fmla="*/ 6478 w 10014"/>
              <a:gd name="connsiteY32" fmla="*/ 8005 h 10000"/>
              <a:gd name="connsiteX33" fmla="*/ 5981 w 10014"/>
              <a:gd name="connsiteY33" fmla="*/ 8319 h 10000"/>
              <a:gd name="connsiteX34" fmla="*/ 5551 w 10014"/>
              <a:gd name="connsiteY34" fmla="*/ 8575 h 10000"/>
              <a:gd name="connsiteX35" fmla="*/ 5195 w 10014"/>
              <a:gd name="connsiteY35" fmla="*/ 8761 h 10000"/>
              <a:gd name="connsiteX36" fmla="*/ 4800 w 10014"/>
              <a:gd name="connsiteY36" fmla="*/ 8948 h 10000"/>
              <a:gd name="connsiteX37" fmla="*/ 4384 w 10014"/>
              <a:gd name="connsiteY37" fmla="*/ 9125 h 10000"/>
              <a:gd name="connsiteX38" fmla="*/ 3960 w 10014"/>
              <a:gd name="connsiteY38" fmla="*/ 9282 h 10000"/>
              <a:gd name="connsiteX39" fmla="*/ 3378 w 10014"/>
              <a:gd name="connsiteY39" fmla="*/ 9466 h 10000"/>
              <a:gd name="connsiteX40" fmla="*/ 2671 w 10014"/>
              <a:gd name="connsiteY40" fmla="*/ 9645 h 10000"/>
              <a:gd name="connsiteX41" fmla="*/ 2297 w 10014"/>
              <a:gd name="connsiteY41" fmla="*/ 9724 h 10000"/>
              <a:gd name="connsiteX42" fmla="*/ 1538 w 10014"/>
              <a:gd name="connsiteY42" fmla="*/ 9852 h 10000"/>
              <a:gd name="connsiteX43" fmla="*/ 1030 w 10014"/>
              <a:gd name="connsiteY43" fmla="*/ 9920 h 10000"/>
              <a:gd name="connsiteX44" fmla="*/ 573 w 10014"/>
              <a:gd name="connsiteY44" fmla="*/ 9972 h 10000"/>
              <a:gd name="connsiteX45" fmla="*/ 197 w 10014"/>
              <a:gd name="connsiteY45" fmla="*/ 10000 h 10000"/>
              <a:gd name="connsiteX46" fmla="*/ 30 w 10014"/>
              <a:gd name="connsiteY46" fmla="*/ 9999 h 10000"/>
              <a:gd name="connsiteX47" fmla="*/ 22 w 10014"/>
              <a:gd name="connsiteY47" fmla="*/ 9201 h 10000"/>
              <a:gd name="connsiteX48" fmla="*/ 22 w 10014"/>
              <a:gd name="connsiteY48" fmla="*/ 8650 h 10000"/>
              <a:gd name="connsiteX49" fmla="*/ 22 w 10014"/>
              <a:gd name="connsiteY49" fmla="*/ 6881 h 10000"/>
              <a:gd name="connsiteX50" fmla="*/ 21 w 10014"/>
              <a:gd name="connsiteY50" fmla="*/ 4264 h 10000"/>
              <a:gd name="connsiteX51" fmla="*/ 14 w 10014"/>
              <a:gd name="connsiteY51" fmla="*/ 3 h 10000"/>
              <a:gd name="connsiteX52" fmla="*/ 248 w 10014"/>
              <a:gd name="connsiteY52"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9287 w 10014"/>
              <a:gd name="connsiteY15" fmla="*/ 4256 h 10000"/>
              <a:gd name="connsiteX16" fmla="*/ 9516 w 10014"/>
              <a:gd name="connsiteY16" fmla="*/ 4494 h 10000"/>
              <a:gd name="connsiteX17" fmla="*/ 9817 w 10014"/>
              <a:gd name="connsiteY17" fmla="*/ 4800 h 10000"/>
              <a:gd name="connsiteX18" fmla="*/ 10014 w 10014"/>
              <a:gd name="connsiteY18" fmla="*/ 4997 h 10000"/>
              <a:gd name="connsiteX19" fmla="*/ 9863 w 10014"/>
              <a:gd name="connsiteY19" fmla="*/ 5173 h 10000"/>
              <a:gd name="connsiteX20" fmla="*/ 9648 w 10014"/>
              <a:gd name="connsiteY20" fmla="*/ 5400 h 10000"/>
              <a:gd name="connsiteX21" fmla="*/ 9442 w 10014"/>
              <a:gd name="connsiteY21" fmla="*/ 5610 h 10000"/>
              <a:gd name="connsiteX22" fmla="*/ 9184 w 10014"/>
              <a:gd name="connsiteY22" fmla="*/ 5866 h 10000"/>
              <a:gd name="connsiteX23" fmla="*/ 8854 w 10014"/>
              <a:gd name="connsiteY23" fmla="*/ 6164 h 10000"/>
              <a:gd name="connsiteX24" fmla="*/ 8685 w 10014"/>
              <a:gd name="connsiteY24" fmla="*/ 6318 h 10000"/>
              <a:gd name="connsiteX25" fmla="*/ 8430 w 10014"/>
              <a:gd name="connsiteY25" fmla="*/ 6540 h 10000"/>
              <a:gd name="connsiteX26" fmla="*/ 8206 w 10014"/>
              <a:gd name="connsiteY26" fmla="*/ 6735 h 10000"/>
              <a:gd name="connsiteX27" fmla="*/ 7956 w 10014"/>
              <a:gd name="connsiteY27" fmla="*/ 6933 h 10000"/>
              <a:gd name="connsiteX28" fmla="*/ 7601 w 10014"/>
              <a:gd name="connsiteY28" fmla="*/ 7208 h 10000"/>
              <a:gd name="connsiteX29" fmla="*/ 7224 w 10014"/>
              <a:gd name="connsiteY29" fmla="*/ 7493 h 10000"/>
              <a:gd name="connsiteX30" fmla="*/ 6847 w 10014"/>
              <a:gd name="connsiteY30" fmla="*/ 7759 h 10000"/>
              <a:gd name="connsiteX31" fmla="*/ 6478 w 10014"/>
              <a:gd name="connsiteY31" fmla="*/ 8005 h 10000"/>
              <a:gd name="connsiteX32" fmla="*/ 5981 w 10014"/>
              <a:gd name="connsiteY32" fmla="*/ 8319 h 10000"/>
              <a:gd name="connsiteX33" fmla="*/ 5551 w 10014"/>
              <a:gd name="connsiteY33" fmla="*/ 8575 h 10000"/>
              <a:gd name="connsiteX34" fmla="*/ 5195 w 10014"/>
              <a:gd name="connsiteY34" fmla="*/ 8761 h 10000"/>
              <a:gd name="connsiteX35" fmla="*/ 4800 w 10014"/>
              <a:gd name="connsiteY35" fmla="*/ 8948 h 10000"/>
              <a:gd name="connsiteX36" fmla="*/ 4384 w 10014"/>
              <a:gd name="connsiteY36" fmla="*/ 9125 h 10000"/>
              <a:gd name="connsiteX37" fmla="*/ 3960 w 10014"/>
              <a:gd name="connsiteY37" fmla="*/ 9282 h 10000"/>
              <a:gd name="connsiteX38" fmla="*/ 3378 w 10014"/>
              <a:gd name="connsiteY38" fmla="*/ 9466 h 10000"/>
              <a:gd name="connsiteX39" fmla="*/ 2671 w 10014"/>
              <a:gd name="connsiteY39" fmla="*/ 9645 h 10000"/>
              <a:gd name="connsiteX40" fmla="*/ 2297 w 10014"/>
              <a:gd name="connsiteY40" fmla="*/ 9724 h 10000"/>
              <a:gd name="connsiteX41" fmla="*/ 1538 w 10014"/>
              <a:gd name="connsiteY41" fmla="*/ 9852 h 10000"/>
              <a:gd name="connsiteX42" fmla="*/ 1030 w 10014"/>
              <a:gd name="connsiteY42" fmla="*/ 9920 h 10000"/>
              <a:gd name="connsiteX43" fmla="*/ 573 w 10014"/>
              <a:gd name="connsiteY43" fmla="*/ 9972 h 10000"/>
              <a:gd name="connsiteX44" fmla="*/ 197 w 10014"/>
              <a:gd name="connsiteY44" fmla="*/ 10000 h 10000"/>
              <a:gd name="connsiteX45" fmla="*/ 30 w 10014"/>
              <a:gd name="connsiteY45" fmla="*/ 9999 h 10000"/>
              <a:gd name="connsiteX46" fmla="*/ 22 w 10014"/>
              <a:gd name="connsiteY46" fmla="*/ 9201 h 10000"/>
              <a:gd name="connsiteX47" fmla="*/ 22 w 10014"/>
              <a:gd name="connsiteY47" fmla="*/ 8650 h 10000"/>
              <a:gd name="connsiteX48" fmla="*/ 22 w 10014"/>
              <a:gd name="connsiteY48" fmla="*/ 6881 h 10000"/>
              <a:gd name="connsiteX49" fmla="*/ 21 w 10014"/>
              <a:gd name="connsiteY49" fmla="*/ 4264 h 10000"/>
              <a:gd name="connsiteX50" fmla="*/ 14 w 10014"/>
              <a:gd name="connsiteY50" fmla="*/ 3 h 10000"/>
              <a:gd name="connsiteX51" fmla="*/ 248 w 10014"/>
              <a:gd name="connsiteY5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9287 w 10014"/>
              <a:gd name="connsiteY13" fmla="*/ 4256 h 10000"/>
              <a:gd name="connsiteX14" fmla="*/ 9516 w 10014"/>
              <a:gd name="connsiteY14" fmla="*/ 4494 h 10000"/>
              <a:gd name="connsiteX15" fmla="*/ 9817 w 10014"/>
              <a:gd name="connsiteY15" fmla="*/ 4800 h 10000"/>
              <a:gd name="connsiteX16" fmla="*/ 10014 w 10014"/>
              <a:gd name="connsiteY16" fmla="*/ 4997 h 10000"/>
              <a:gd name="connsiteX17" fmla="*/ 9863 w 10014"/>
              <a:gd name="connsiteY17" fmla="*/ 5173 h 10000"/>
              <a:gd name="connsiteX18" fmla="*/ 9648 w 10014"/>
              <a:gd name="connsiteY18" fmla="*/ 5400 h 10000"/>
              <a:gd name="connsiteX19" fmla="*/ 9442 w 10014"/>
              <a:gd name="connsiteY19" fmla="*/ 5610 h 10000"/>
              <a:gd name="connsiteX20" fmla="*/ 9184 w 10014"/>
              <a:gd name="connsiteY20" fmla="*/ 5866 h 10000"/>
              <a:gd name="connsiteX21" fmla="*/ 8854 w 10014"/>
              <a:gd name="connsiteY21" fmla="*/ 6164 h 10000"/>
              <a:gd name="connsiteX22" fmla="*/ 8685 w 10014"/>
              <a:gd name="connsiteY22" fmla="*/ 6318 h 10000"/>
              <a:gd name="connsiteX23" fmla="*/ 8430 w 10014"/>
              <a:gd name="connsiteY23" fmla="*/ 6540 h 10000"/>
              <a:gd name="connsiteX24" fmla="*/ 8206 w 10014"/>
              <a:gd name="connsiteY24" fmla="*/ 6735 h 10000"/>
              <a:gd name="connsiteX25" fmla="*/ 7956 w 10014"/>
              <a:gd name="connsiteY25" fmla="*/ 6933 h 10000"/>
              <a:gd name="connsiteX26" fmla="*/ 7601 w 10014"/>
              <a:gd name="connsiteY26" fmla="*/ 7208 h 10000"/>
              <a:gd name="connsiteX27" fmla="*/ 7224 w 10014"/>
              <a:gd name="connsiteY27" fmla="*/ 7493 h 10000"/>
              <a:gd name="connsiteX28" fmla="*/ 6847 w 10014"/>
              <a:gd name="connsiteY28" fmla="*/ 7759 h 10000"/>
              <a:gd name="connsiteX29" fmla="*/ 6478 w 10014"/>
              <a:gd name="connsiteY29" fmla="*/ 8005 h 10000"/>
              <a:gd name="connsiteX30" fmla="*/ 5981 w 10014"/>
              <a:gd name="connsiteY30" fmla="*/ 8319 h 10000"/>
              <a:gd name="connsiteX31" fmla="*/ 5551 w 10014"/>
              <a:gd name="connsiteY31" fmla="*/ 8575 h 10000"/>
              <a:gd name="connsiteX32" fmla="*/ 5195 w 10014"/>
              <a:gd name="connsiteY32" fmla="*/ 8761 h 10000"/>
              <a:gd name="connsiteX33" fmla="*/ 4800 w 10014"/>
              <a:gd name="connsiteY33" fmla="*/ 8948 h 10000"/>
              <a:gd name="connsiteX34" fmla="*/ 4384 w 10014"/>
              <a:gd name="connsiteY34" fmla="*/ 9125 h 10000"/>
              <a:gd name="connsiteX35" fmla="*/ 3960 w 10014"/>
              <a:gd name="connsiteY35" fmla="*/ 9282 h 10000"/>
              <a:gd name="connsiteX36" fmla="*/ 3378 w 10014"/>
              <a:gd name="connsiteY36" fmla="*/ 9466 h 10000"/>
              <a:gd name="connsiteX37" fmla="*/ 2671 w 10014"/>
              <a:gd name="connsiteY37" fmla="*/ 9645 h 10000"/>
              <a:gd name="connsiteX38" fmla="*/ 2297 w 10014"/>
              <a:gd name="connsiteY38" fmla="*/ 9724 h 10000"/>
              <a:gd name="connsiteX39" fmla="*/ 1538 w 10014"/>
              <a:gd name="connsiteY39" fmla="*/ 9852 h 10000"/>
              <a:gd name="connsiteX40" fmla="*/ 1030 w 10014"/>
              <a:gd name="connsiteY40" fmla="*/ 9920 h 10000"/>
              <a:gd name="connsiteX41" fmla="*/ 573 w 10014"/>
              <a:gd name="connsiteY41" fmla="*/ 9972 h 10000"/>
              <a:gd name="connsiteX42" fmla="*/ 197 w 10014"/>
              <a:gd name="connsiteY42" fmla="*/ 10000 h 10000"/>
              <a:gd name="connsiteX43" fmla="*/ 30 w 10014"/>
              <a:gd name="connsiteY43" fmla="*/ 9999 h 10000"/>
              <a:gd name="connsiteX44" fmla="*/ 22 w 10014"/>
              <a:gd name="connsiteY44" fmla="*/ 9201 h 10000"/>
              <a:gd name="connsiteX45" fmla="*/ 22 w 10014"/>
              <a:gd name="connsiteY45" fmla="*/ 8650 h 10000"/>
              <a:gd name="connsiteX46" fmla="*/ 22 w 10014"/>
              <a:gd name="connsiteY46" fmla="*/ 6881 h 10000"/>
              <a:gd name="connsiteX47" fmla="*/ 21 w 10014"/>
              <a:gd name="connsiteY47" fmla="*/ 4264 h 10000"/>
              <a:gd name="connsiteX48" fmla="*/ 14 w 10014"/>
              <a:gd name="connsiteY48" fmla="*/ 3 h 10000"/>
              <a:gd name="connsiteX49" fmla="*/ 248 w 10014"/>
              <a:gd name="connsiteY49"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9287 w 10014"/>
              <a:gd name="connsiteY12" fmla="*/ 4256 h 10000"/>
              <a:gd name="connsiteX13" fmla="*/ 9516 w 10014"/>
              <a:gd name="connsiteY13" fmla="*/ 4494 h 10000"/>
              <a:gd name="connsiteX14" fmla="*/ 9817 w 10014"/>
              <a:gd name="connsiteY14" fmla="*/ 4800 h 10000"/>
              <a:gd name="connsiteX15" fmla="*/ 10014 w 10014"/>
              <a:gd name="connsiteY15" fmla="*/ 4997 h 10000"/>
              <a:gd name="connsiteX16" fmla="*/ 9863 w 10014"/>
              <a:gd name="connsiteY16" fmla="*/ 5173 h 10000"/>
              <a:gd name="connsiteX17" fmla="*/ 9648 w 10014"/>
              <a:gd name="connsiteY17" fmla="*/ 5400 h 10000"/>
              <a:gd name="connsiteX18" fmla="*/ 9442 w 10014"/>
              <a:gd name="connsiteY18" fmla="*/ 5610 h 10000"/>
              <a:gd name="connsiteX19" fmla="*/ 9184 w 10014"/>
              <a:gd name="connsiteY19" fmla="*/ 5866 h 10000"/>
              <a:gd name="connsiteX20" fmla="*/ 8854 w 10014"/>
              <a:gd name="connsiteY20" fmla="*/ 6164 h 10000"/>
              <a:gd name="connsiteX21" fmla="*/ 8685 w 10014"/>
              <a:gd name="connsiteY21" fmla="*/ 6318 h 10000"/>
              <a:gd name="connsiteX22" fmla="*/ 8430 w 10014"/>
              <a:gd name="connsiteY22" fmla="*/ 6540 h 10000"/>
              <a:gd name="connsiteX23" fmla="*/ 8206 w 10014"/>
              <a:gd name="connsiteY23" fmla="*/ 6735 h 10000"/>
              <a:gd name="connsiteX24" fmla="*/ 7956 w 10014"/>
              <a:gd name="connsiteY24" fmla="*/ 6933 h 10000"/>
              <a:gd name="connsiteX25" fmla="*/ 7601 w 10014"/>
              <a:gd name="connsiteY25" fmla="*/ 7208 h 10000"/>
              <a:gd name="connsiteX26" fmla="*/ 7224 w 10014"/>
              <a:gd name="connsiteY26" fmla="*/ 7493 h 10000"/>
              <a:gd name="connsiteX27" fmla="*/ 6847 w 10014"/>
              <a:gd name="connsiteY27" fmla="*/ 7759 h 10000"/>
              <a:gd name="connsiteX28" fmla="*/ 6478 w 10014"/>
              <a:gd name="connsiteY28" fmla="*/ 8005 h 10000"/>
              <a:gd name="connsiteX29" fmla="*/ 5981 w 10014"/>
              <a:gd name="connsiteY29" fmla="*/ 8319 h 10000"/>
              <a:gd name="connsiteX30" fmla="*/ 5551 w 10014"/>
              <a:gd name="connsiteY30" fmla="*/ 8575 h 10000"/>
              <a:gd name="connsiteX31" fmla="*/ 5195 w 10014"/>
              <a:gd name="connsiteY31" fmla="*/ 8761 h 10000"/>
              <a:gd name="connsiteX32" fmla="*/ 4800 w 10014"/>
              <a:gd name="connsiteY32" fmla="*/ 8948 h 10000"/>
              <a:gd name="connsiteX33" fmla="*/ 4384 w 10014"/>
              <a:gd name="connsiteY33" fmla="*/ 9125 h 10000"/>
              <a:gd name="connsiteX34" fmla="*/ 3960 w 10014"/>
              <a:gd name="connsiteY34" fmla="*/ 9282 h 10000"/>
              <a:gd name="connsiteX35" fmla="*/ 3378 w 10014"/>
              <a:gd name="connsiteY35" fmla="*/ 9466 h 10000"/>
              <a:gd name="connsiteX36" fmla="*/ 2671 w 10014"/>
              <a:gd name="connsiteY36" fmla="*/ 9645 h 10000"/>
              <a:gd name="connsiteX37" fmla="*/ 2297 w 10014"/>
              <a:gd name="connsiteY37" fmla="*/ 9724 h 10000"/>
              <a:gd name="connsiteX38" fmla="*/ 1538 w 10014"/>
              <a:gd name="connsiteY38" fmla="*/ 9852 h 10000"/>
              <a:gd name="connsiteX39" fmla="*/ 1030 w 10014"/>
              <a:gd name="connsiteY39" fmla="*/ 9920 h 10000"/>
              <a:gd name="connsiteX40" fmla="*/ 573 w 10014"/>
              <a:gd name="connsiteY40" fmla="*/ 9972 h 10000"/>
              <a:gd name="connsiteX41" fmla="*/ 197 w 10014"/>
              <a:gd name="connsiteY41" fmla="*/ 10000 h 10000"/>
              <a:gd name="connsiteX42" fmla="*/ 30 w 10014"/>
              <a:gd name="connsiteY42" fmla="*/ 9999 h 10000"/>
              <a:gd name="connsiteX43" fmla="*/ 22 w 10014"/>
              <a:gd name="connsiteY43" fmla="*/ 9201 h 10000"/>
              <a:gd name="connsiteX44" fmla="*/ 22 w 10014"/>
              <a:gd name="connsiteY44" fmla="*/ 8650 h 10000"/>
              <a:gd name="connsiteX45" fmla="*/ 22 w 10014"/>
              <a:gd name="connsiteY45" fmla="*/ 6881 h 10000"/>
              <a:gd name="connsiteX46" fmla="*/ 21 w 10014"/>
              <a:gd name="connsiteY46" fmla="*/ 4264 h 10000"/>
              <a:gd name="connsiteX47" fmla="*/ 14 w 10014"/>
              <a:gd name="connsiteY47" fmla="*/ 3 h 10000"/>
              <a:gd name="connsiteX48" fmla="*/ 248 w 10014"/>
              <a:gd name="connsiteY48"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9287 w 10014"/>
              <a:gd name="connsiteY11" fmla="*/ 4256 h 10000"/>
              <a:gd name="connsiteX12" fmla="*/ 9516 w 10014"/>
              <a:gd name="connsiteY12" fmla="*/ 4494 h 10000"/>
              <a:gd name="connsiteX13" fmla="*/ 9817 w 10014"/>
              <a:gd name="connsiteY13" fmla="*/ 4800 h 10000"/>
              <a:gd name="connsiteX14" fmla="*/ 10014 w 10014"/>
              <a:gd name="connsiteY14" fmla="*/ 4997 h 10000"/>
              <a:gd name="connsiteX15" fmla="*/ 9863 w 10014"/>
              <a:gd name="connsiteY15" fmla="*/ 5173 h 10000"/>
              <a:gd name="connsiteX16" fmla="*/ 9648 w 10014"/>
              <a:gd name="connsiteY16" fmla="*/ 5400 h 10000"/>
              <a:gd name="connsiteX17" fmla="*/ 9442 w 10014"/>
              <a:gd name="connsiteY17" fmla="*/ 5610 h 10000"/>
              <a:gd name="connsiteX18" fmla="*/ 9184 w 10014"/>
              <a:gd name="connsiteY18" fmla="*/ 5866 h 10000"/>
              <a:gd name="connsiteX19" fmla="*/ 8854 w 10014"/>
              <a:gd name="connsiteY19" fmla="*/ 6164 h 10000"/>
              <a:gd name="connsiteX20" fmla="*/ 8685 w 10014"/>
              <a:gd name="connsiteY20" fmla="*/ 6318 h 10000"/>
              <a:gd name="connsiteX21" fmla="*/ 8430 w 10014"/>
              <a:gd name="connsiteY21" fmla="*/ 6540 h 10000"/>
              <a:gd name="connsiteX22" fmla="*/ 8206 w 10014"/>
              <a:gd name="connsiteY22" fmla="*/ 6735 h 10000"/>
              <a:gd name="connsiteX23" fmla="*/ 7956 w 10014"/>
              <a:gd name="connsiteY23" fmla="*/ 6933 h 10000"/>
              <a:gd name="connsiteX24" fmla="*/ 7601 w 10014"/>
              <a:gd name="connsiteY24" fmla="*/ 7208 h 10000"/>
              <a:gd name="connsiteX25" fmla="*/ 7224 w 10014"/>
              <a:gd name="connsiteY25" fmla="*/ 7493 h 10000"/>
              <a:gd name="connsiteX26" fmla="*/ 6847 w 10014"/>
              <a:gd name="connsiteY26" fmla="*/ 7759 h 10000"/>
              <a:gd name="connsiteX27" fmla="*/ 6478 w 10014"/>
              <a:gd name="connsiteY27" fmla="*/ 8005 h 10000"/>
              <a:gd name="connsiteX28" fmla="*/ 5981 w 10014"/>
              <a:gd name="connsiteY28" fmla="*/ 8319 h 10000"/>
              <a:gd name="connsiteX29" fmla="*/ 5551 w 10014"/>
              <a:gd name="connsiteY29" fmla="*/ 8575 h 10000"/>
              <a:gd name="connsiteX30" fmla="*/ 5195 w 10014"/>
              <a:gd name="connsiteY30" fmla="*/ 8761 h 10000"/>
              <a:gd name="connsiteX31" fmla="*/ 4800 w 10014"/>
              <a:gd name="connsiteY31" fmla="*/ 8948 h 10000"/>
              <a:gd name="connsiteX32" fmla="*/ 4384 w 10014"/>
              <a:gd name="connsiteY32" fmla="*/ 9125 h 10000"/>
              <a:gd name="connsiteX33" fmla="*/ 3960 w 10014"/>
              <a:gd name="connsiteY33" fmla="*/ 9282 h 10000"/>
              <a:gd name="connsiteX34" fmla="*/ 3378 w 10014"/>
              <a:gd name="connsiteY34" fmla="*/ 9466 h 10000"/>
              <a:gd name="connsiteX35" fmla="*/ 2671 w 10014"/>
              <a:gd name="connsiteY35" fmla="*/ 9645 h 10000"/>
              <a:gd name="connsiteX36" fmla="*/ 2297 w 10014"/>
              <a:gd name="connsiteY36" fmla="*/ 9724 h 10000"/>
              <a:gd name="connsiteX37" fmla="*/ 1538 w 10014"/>
              <a:gd name="connsiteY37" fmla="*/ 9852 h 10000"/>
              <a:gd name="connsiteX38" fmla="*/ 1030 w 10014"/>
              <a:gd name="connsiteY38" fmla="*/ 9920 h 10000"/>
              <a:gd name="connsiteX39" fmla="*/ 573 w 10014"/>
              <a:gd name="connsiteY39" fmla="*/ 9972 h 10000"/>
              <a:gd name="connsiteX40" fmla="*/ 197 w 10014"/>
              <a:gd name="connsiteY40" fmla="*/ 10000 h 10000"/>
              <a:gd name="connsiteX41" fmla="*/ 30 w 10014"/>
              <a:gd name="connsiteY41" fmla="*/ 9999 h 10000"/>
              <a:gd name="connsiteX42" fmla="*/ 22 w 10014"/>
              <a:gd name="connsiteY42" fmla="*/ 9201 h 10000"/>
              <a:gd name="connsiteX43" fmla="*/ 22 w 10014"/>
              <a:gd name="connsiteY43" fmla="*/ 8650 h 10000"/>
              <a:gd name="connsiteX44" fmla="*/ 22 w 10014"/>
              <a:gd name="connsiteY44" fmla="*/ 6881 h 10000"/>
              <a:gd name="connsiteX45" fmla="*/ 21 w 10014"/>
              <a:gd name="connsiteY45" fmla="*/ 4264 h 10000"/>
              <a:gd name="connsiteX46" fmla="*/ 14 w 10014"/>
              <a:gd name="connsiteY46" fmla="*/ 3 h 10000"/>
              <a:gd name="connsiteX47" fmla="*/ 248 w 10014"/>
              <a:gd name="connsiteY47"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9287 w 10014"/>
              <a:gd name="connsiteY10" fmla="*/ 4256 h 10000"/>
              <a:gd name="connsiteX11" fmla="*/ 9516 w 10014"/>
              <a:gd name="connsiteY11" fmla="*/ 4494 h 10000"/>
              <a:gd name="connsiteX12" fmla="*/ 9817 w 10014"/>
              <a:gd name="connsiteY12" fmla="*/ 4800 h 10000"/>
              <a:gd name="connsiteX13" fmla="*/ 10014 w 10014"/>
              <a:gd name="connsiteY13" fmla="*/ 4997 h 10000"/>
              <a:gd name="connsiteX14" fmla="*/ 9863 w 10014"/>
              <a:gd name="connsiteY14" fmla="*/ 5173 h 10000"/>
              <a:gd name="connsiteX15" fmla="*/ 9648 w 10014"/>
              <a:gd name="connsiteY15" fmla="*/ 5400 h 10000"/>
              <a:gd name="connsiteX16" fmla="*/ 9442 w 10014"/>
              <a:gd name="connsiteY16" fmla="*/ 5610 h 10000"/>
              <a:gd name="connsiteX17" fmla="*/ 9184 w 10014"/>
              <a:gd name="connsiteY17" fmla="*/ 5866 h 10000"/>
              <a:gd name="connsiteX18" fmla="*/ 8854 w 10014"/>
              <a:gd name="connsiteY18" fmla="*/ 6164 h 10000"/>
              <a:gd name="connsiteX19" fmla="*/ 8685 w 10014"/>
              <a:gd name="connsiteY19" fmla="*/ 6318 h 10000"/>
              <a:gd name="connsiteX20" fmla="*/ 8430 w 10014"/>
              <a:gd name="connsiteY20" fmla="*/ 6540 h 10000"/>
              <a:gd name="connsiteX21" fmla="*/ 8206 w 10014"/>
              <a:gd name="connsiteY21" fmla="*/ 6735 h 10000"/>
              <a:gd name="connsiteX22" fmla="*/ 7956 w 10014"/>
              <a:gd name="connsiteY22" fmla="*/ 6933 h 10000"/>
              <a:gd name="connsiteX23" fmla="*/ 7601 w 10014"/>
              <a:gd name="connsiteY23" fmla="*/ 7208 h 10000"/>
              <a:gd name="connsiteX24" fmla="*/ 7224 w 10014"/>
              <a:gd name="connsiteY24" fmla="*/ 7493 h 10000"/>
              <a:gd name="connsiteX25" fmla="*/ 6847 w 10014"/>
              <a:gd name="connsiteY25" fmla="*/ 7759 h 10000"/>
              <a:gd name="connsiteX26" fmla="*/ 6478 w 10014"/>
              <a:gd name="connsiteY26" fmla="*/ 8005 h 10000"/>
              <a:gd name="connsiteX27" fmla="*/ 5981 w 10014"/>
              <a:gd name="connsiteY27" fmla="*/ 8319 h 10000"/>
              <a:gd name="connsiteX28" fmla="*/ 5551 w 10014"/>
              <a:gd name="connsiteY28" fmla="*/ 8575 h 10000"/>
              <a:gd name="connsiteX29" fmla="*/ 5195 w 10014"/>
              <a:gd name="connsiteY29" fmla="*/ 8761 h 10000"/>
              <a:gd name="connsiteX30" fmla="*/ 4800 w 10014"/>
              <a:gd name="connsiteY30" fmla="*/ 8948 h 10000"/>
              <a:gd name="connsiteX31" fmla="*/ 4384 w 10014"/>
              <a:gd name="connsiteY31" fmla="*/ 9125 h 10000"/>
              <a:gd name="connsiteX32" fmla="*/ 3960 w 10014"/>
              <a:gd name="connsiteY32" fmla="*/ 9282 h 10000"/>
              <a:gd name="connsiteX33" fmla="*/ 3378 w 10014"/>
              <a:gd name="connsiteY33" fmla="*/ 9466 h 10000"/>
              <a:gd name="connsiteX34" fmla="*/ 2671 w 10014"/>
              <a:gd name="connsiteY34" fmla="*/ 9645 h 10000"/>
              <a:gd name="connsiteX35" fmla="*/ 2297 w 10014"/>
              <a:gd name="connsiteY35" fmla="*/ 9724 h 10000"/>
              <a:gd name="connsiteX36" fmla="*/ 1538 w 10014"/>
              <a:gd name="connsiteY36" fmla="*/ 9852 h 10000"/>
              <a:gd name="connsiteX37" fmla="*/ 1030 w 10014"/>
              <a:gd name="connsiteY37" fmla="*/ 9920 h 10000"/>
              <a:gd name="connsiteX38" fmla="*/ 573 w 10014"/>
              <a:gd name="connsiteY38" fmla="*/ 9972 h 10000"/>
              <a:gd name="connsiteX39" fmla="*/ 197 w 10014"/>
              <a:gd name="connsiteY39" fmla="*/ 10000 h 10000"/>
              <a:gd name="connsiteX40" fmla="*/ 30 w 10014"/>
              <a:gd name="connsiteY40" fmla="*/ 9999 h 10000"/>
              <a:gd name="connsiteX41" fmla="*/ 22 w 10014"/>
              <a:gd name="connsiteY41" fmla="*/ 9201 h 10000"/>
              <a:gd name="connsiteX42" fmla="*/ 22 w 10014"/>
              <a:gd name="connsiteY42" fmla="*/ 8650 h 10000"/>
              <a:gd name="connsiteX43" fmla="*/ 22 w 10014"/>
              <a:gd name="connsiteY43" fmla="*/ 6881 h 10000"/>
              <a:gd name="connsiteX44" fmla="*/ 21 w 10014"/>
              <a:gd name="connsiteY44" fmla="*/ 4264 h 10000"/>
              <a:gd name="connsiteX45" fmla="*/ 14 w 10014"/>
              <a:gd name="connsiteY45" fmla="*/ 3 h 10000"/>
              <a:gd name="connsiteX46" fmla="*/ 248 w 10014"/>
              <a:gd name="connsiteY4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9287 w 10014"/>
              <a:gd name="connsiteY9" fmla="*/ 4256 h 10000"/>
              <a:gd name="connsiteX10" fmla="*/ 9516 w 10014"/>
              <a:gd name="connsiteY10" fmla="*/ 4494 h 10000"/>
              <a:gd name="connsiteX11" fmla="*/ 9817 w 10014"/>
              <a:gd name="connsiteY11" fmla="*/ 4800 h 10000"/>
              <a:gd name="connsiteX12" fmla="*/ 10014 w 10014"/>
              <a:gd name="connsiteY12" fmla="*/ 4997 h 10000"/>
              <a:gd name="connsiteX13" fmla="*/ 9863 w 10014"/>
              <a:gd name="connsiteY13" fmla="*/ 5173 h 10000"/>
              <a:gd name="connsiteX14" fmla="*/ 9648 w 10014"/>
              <a:gd name="connsiteY14" fmla="*/ 5400 h 10000"/>
              <a:gd name="connsiteX15" fmla="*/ 9442 w 10014"/>
              <a:gd name="connsiteY15" fmla="*/ 5610 h 10000"/>
              <a:gd name="connsiteX16" fmla="*/ 9184 w 10014"/>
              <a:gd name="connsiteY16" fmla="*/ 5866 h 10000"/>
              <a:gd name="connsiteX17" fmla="*/ 8854 w 10014"/>
              <a:gd name="connsiteY17" fmla="*/ 6164 h 10000"/>
              <a:gd name="connsiteX18" fmla="*/ 8685 w 10014"/>
              <a:gd name="connsiteY18" fmla="*/ 6318 h 10000"/>
              <a:gd name="connsiteX19" fmla="*/ 8430 w 10014"/>
              <a:gd name="connsiteY19" fmla="*/ 6540 h 10000"/>
              <a:gd name="connsiteX20" fmla="*/ 8206 w 10014"/>
              <a:gd name="connsiteY20" fmla="*/ 6735 h 10000"/>
              <a:gd name="connsiteX21" fmla="*/ 7956 w 10014"/>
              <a:gd name="connsiteY21" fmla="*/ 6933 h 10000"/>
              <a:gd name="connsiteX22" fmla="*/ 7601 w 10014"/>
              <a:gd name="connsiteY22" fmla="*/ 7208 h 10000"/>
              <a:gd name="connsiteX23" fmla="*/ 7224 w 10014"/>
              <a:gd name="connsiteY23" fmla="*/ 7493 h 10000"/>
              <a:gd name="connsiteX24" fmla="*/ 6847 w 10014"/>
              <a:gd name="connsiteY24" fmla="*/ 7759 h 10000"/>
              <a:gd name="connsiteX25" fmla="*/ 6478 w 10014"/>
              <a:gd name="connsiteY25" fmla="*/ 8005 h 10000"/>
              <a:gd name="connsiteX26" fmla="*/ 5981 w 10014"/>
              <a:gd name="connsiteY26" fmla="*/ 8319 h 10000"/>
              <a:gd name="connsiteX27" fmla="*/ 5551 w 10014"/>
              <a:gd name="connsiteY27" fmla="*/ 8575 h 10000"/>
              <a:gd name="connsiteX28" fmla="*/ 5195 w 10014"/>
              <a:gd name="connsiteY28" fmla="*/ 8761 h 10000"/>
              <a:gd name="connsiteX29" fmla="*/ 4800 w 10014"/>
              <a:gd name="connsiteY29" fmla="*/ 8948 h 10000"/>
              <a:gd name="connsiteX30" fmla="*/ 4384 w 10014"/>
              <a:gd name="connsiteY30" fmla="*/ 9125 h 10000"/>
              <a:gd name="connsiteX31" fmla="*/ 3960 w 10014"/>
              <a:gd name="connsiteY31" fmla="*/ 9282 h 10000"/>
              <a:gd name="connsiteX32" fmla="*/ 3378 w 10014"/>
              <a:gd name="connsiteY32" fmla="*/ 9466 h 10000"/>
              <a:gd name="connsiteX33" fmla="*/ 2671 w 10014"/>
              <a:gd name="connsiteY33" fmla="*/ 9645 h 10000"/>
              <a:gd name="connsiteX34" fmla="*/ 2297 w 10014"/>
              <a:gd name="connsiteY34" fmla="*/ 9724 h 10000"/>
              <a:gd name="connsiteX35" fmla="*/ 1538 w 10014"/>
              <a:gd name="connsiteY35" fmla="*/ 9852 h 10000"/>
              <a:gd name="connsiteX36" fmla="*/ 1030 w 10014"/>
              <a:gd name="connsiteY36" fmla="*/ 9920 h 10000"/>
              <a:gd name="connsiteX37" fmla="*/ 573 w 10014"/>
              <a:gd name="connsiteY37" fmla="*/ 9972 h 10000"/>
              <a:gd name="connsiteX38" fmla="*/ 197 w 10014"/>
              <a:gd name="connsiteY38" fmla="*/ 10000 h 10000"/>
              <a:gd name="connsiteX39" fmla="*/ 30 w 10014"/>
              <a:gd name="connsiteY39" fmla="*/ 9999 h 10000"/>
              <a:gd name="connsiteX40" fmla="*/ 22 w 10014"/>
              <a:gd name="connsiteY40" fmla="*/ 9201 h 10000"/>
              <a:gd name="connsiteX41" fmla="*/ 22 w 10014"/>
              <a:gd name="connsiteY41" fmla="*/ 8650 h 10000"/>
              <a:gd name="connsiteX42" fmla="*/ 22 w 10014"/>
              <a:gd name="connsiteY42" fmla="*/ 6881 h 10000"/>
              <a:gd name="connsiteX43" fmla="*/ 21 w 10014"/>
              <a:gd name="connsiteY43" fmla="*/ 4264 h 10000"/>
              <a:gd name="connsiteX44" fmla="*/ 14 w 10014"/>
              <a:gd name="connsiteY44" fmla="*/ 3 h 10000"/>
              <a:gd name="connsiteX45" fmla="*/ 248 w 10014"/>
              <a:gd name="connsiteY4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9287 w 10014"/>
              <a:gd name="connsiteY8" fmla="*/ 4256 h 10000"/>
              <a:gd name="connsiteX9" fmla="*/ 9516 w 10014"/>
              <a:gd name="connsiteY9" fmla="*/ 4494 h 10000"/>
              <a:gd name="connsiteX10" fmla="*/ 9817 w 10014"/>
              <a:gd name="connsiteY10" fmla="*/ 4800 h 10000"/>
              <a:gd name="connsiteX11" fmla="*/ 10014 w 10014"/>
              <a:gd name="connsiteY11" fmla="*/ 4997 h 10000"/>
              <a:gd name="connsiteX12" fmla="*/ 9863 w 10014"/>
              <a:gd name="connsiteY12" fmla="*/ 5173 h 10000"/>
              <a:gd name="connsiteX13" fmla="*/ 9648 w 10014"/>
              <a:gd name="connsiteY13" fmla="*/ 5400 h 10000"/>
              <a:gd name="connsiteX14" fmla="*/ 9442 w 10014"/>
              <a:gd name="connsiteY14" fmla="*/ 5610 h 10000"/>
              <a:gd name="connsiteX15" fmla="*/ 9184 w 10014"/>
              <a:gd name="connsiteY15" fmla="*/ 5866 h 10000"/>
              <a:gd name="connsiteX16" fmla="*/ 8854 w 10014"/>
              <a:gd name="connsiteY16" fmla="*/ 6164 h 10000"/>
              <a:gd name="connsiteX17" fmla="*/ 8685 w 10014"/>
              <a:gd name="connsiteY17" fmla="*/ 6318 h 10000"/>
              <a:gd name="connsiteX18" fmla="*/ 8430 w 10014"/>
              <a:gd name="connsiteY18" fmla="*/ 6540 h 10000"/>
              <a:gd name="connsiteX19" fmla="*/ 8206 w 10014"/>
              <a:gd name="connsiteY19" fmla="*/ 6735 h 10000"/>
              <a:gd name="connsiteX20" fmla="*/ 7956 w 10014"/>
              <a:gd name="connsiteY20" fmla="*/ 6933 h 10000"/>
              <a:gd name="connsiteX21" fmla="*/ 7601 w 10014"/>
              <a:gd name="connsiteY21" fmla="*/ 7208 h 10000"/>
              <a:gd name="connsiteX22" fmla="*/ 7224 w 10014"/>
              <a:gd name="connsiteY22" fmla="*/ 7493 h 10000"/>
              <a:gd name="connsiteX23" fmla="*/ 6847 w 10014"/>
              <a:gd name="connsiteY23" fmla="*/ 7759 h 10000"/>
              <a:gd name="connsiteX24" fmla="*/ 6478 w 10014"/>
              <a:gd name="connsiteY24" fmla="*/ 8005 h 10000"/>
              <a:gd name="connsiteX25" fmla="*/ 5981 w 10014"/>
              <a:gd name="connsiteY25" fmla="*/ 8319 h 10000"/>
              <a:gd name="connsiteX26" fmla="*/ 5551 w 10014"/>
              <a:gd name="connsiteY26" fmla="*/ 8575 h 10000"/>
              <a:gd name="connsiteX27" fmla="*/ 5195 w 10014"/>
              <a:gd name="connsiteY27" fmla="*/ 8761 h 10000"/>
              <a:gd name="connsiteX28" fmla="*/ 4800 w 10014"/>
              <a:gd name="connsiteY28" fmla="*/ 8948 h 10000"/>
              <a:gd name="connsiteX29" fmla="*/ 4384 w 10014"/>
              <a:gd name="connsiteY29" fmla="*/ 9125 h 10000"/>
              <a:gd name="connsiteX30" fmla="*/ 3960 w 10014"/>
              <a:gd name="connsiteY30" fmla="*/ 9282 h 10000"/>
              <a:gd name="connsiteX31" fmla="*/ 3378 w 10014"/>
              <a:gd name="connsiteY31" fmla="*/ 9466 h 10000"/>
              <a:gd name="connsiteX32" fmla="*/ 2671 w 10014"/>
              <a:gd name="connsiteY32" fmla="*/ 9645 h 10000"/>
              <a:gd name="connsiteX33" fmla="*/ 2297 w 10014"/>
              <a:gd name="connsiteY33" fmla="*/ 9724 h 10000"/>
              <a:gd name="connsiteX34" fmla="*/ 1538 w 10014"/>
              <a:gd name="connsiteY34" fmla="*/ 9852 h 10000"/>
              <a:gd name="connsiteX35" fmla="*/ 1030 w 10014"/>
              <a:gd name="connsiteY35" fmla="*/ 9920 h 10000"/>
              <a:gd name="connsiteX36" fmla="*/ 573 w 10014"/>
              <a:gd name="connsiteY36" fmla="*/ 9972 h 10000"/>
              <a:gd name="connsiteX37" fmla="*/ 197 w 10014"/>
              <a:gd name="connsiteY37" fmla="*/ 10000 h 10000"/>
              <a:gd name="connsiteX38" fmla="*/ 30 w 10014"/>
              <a:gd name="connsiteY38" fmla="*/ 9999 h 10000"/>
              <a:gd name="connsiteX39" fmla="*/ 22 w 10014"/>
              <a:gd name="connsiteY39" fmla="*/ 9201 h 10000"/>
              <a:gd name="connsiteX40" fmla="*/ 22 w 10014"/>
              <a:gd name="connsiteY40" fmla="*/ 8650 h 10000"/>
              <a:gd name="connsiteX41" fmla="*/ 22 w 10014"/>
              <a:gd name="connsiteY41" fmla="*/ 6881 h 10000"/>
              <a:gd name="connsiteX42" fmla="*/ 21 w 10014"/>
              <a:gd name="connsiteY42" fmla="*/ 4264 h 10000"/>
              <a:gd name="connsiteX43" fmla="*/ 14 w 10014"/>
              <a:gd name="connsiteY43" fmla="*/ 3 h 10000"/>
              <a:gd name="connsiteX44" fmla="*/ 248 w 10014"/>
              <a:gd name="connsiteY44" fmla="*/ 0 h 10000"/>
              <a:gd name="connsiteX0" fmla="*/ 248 w 10014"/>
              <a:gd name="connsiteY0" fmla="*/ 23 h 10023"/>
              <a:gd name="connsiteX1" fmla="*/ 619 w 10014"/>
              <a:gd name="connsiteY1" fmla="*/ 50 h 10023"/>
              <a:gd name="connsiteX2" fmla="*/ 943 w 10014"/>
              <a:gd name="connsiteY2" fmla="*/ 75 h 10023"/>
              <a:gd name="connsiteX3" fmla="*/ 1386 w 10014"/>
              <a:gd name="connsiteY3" fmla="*/ 124 h 10023"/>
              <a:gd name="connsiteX4" fmla="*/ 1849 w 10014"/>
              <a:gd name="connsiteY4" fmla="*/ 193 h 10023"/>
              <a:gd name="connsiteX5" fmla="*/ 2145 w 10014"/>
              <a:gd name="connsiteY5" fmla="*/ 246 h 10023"/>
              <a:gd name="connsiteX6" fmla="*/ 2463 w 10014"/>
              <a:gd name="connsiteY6" fmla="*/ 311 h 10023"/>
              <a:gd name="connsiteX7" fmla="*/ 9287 w 10014"/>
              <a:gd name="connsiteY7" fmla="*/ 4279 h 10023"/>
              <a:gd name="connsiteX8" fmla="*/ 9516 w 10014"/>
              <a:gd name="connsiteY8" fmla="*/ 4517 h 10023"/>
              <a:gd name="connsiteX9" fmla="*/ 9817 w 10014"/>
              <a:gd name="connsiteY9" fmla="*/ 4823 h 10023"/>
              <a:gd name="connsiteX10" fmla="*/ 10014 w 10014"/>
              <a:gd name="connsiteY10" fmla="*/ 5020 h 10023"/>
              <a:gd name="connsiteX11" fmla="*/ 9863 w 10014"/>
              <a:gd name="connsiteY11" fmla="*/ 5196 h 10023"/>
              <a:gd name="connsiteX12" fmla="*/ 9648 w 10014"/>
              <a:gd name="connsiteY12" fmla="*/ 5423 h 10023"/>
              <a:gd name="connsiteX13" fmla="*/ 9442 w 10014"/>
              <a:gd name="connsiteY13" fmla="*/ 5633 h 10023"/>
              <a:gd name="connsiteX14" fmla="*/ 9184 w 10014"/>
              <a:gd name="connsiteY14" fmla="*/ 5889 h 10023"/>
              <a:gd name="connsiteX15" fmla="*/ 8854 w 10014"/>
              <a:gd name="connsiteY15" fmla="*/ 6187 h 10023"/>
              <a:gd name="connsiteX16" fmla="*/ 8685 w 10014"/>
              <a:gd name="connsiteY16" fmla="*/ 6341 h 10023"/>
              <a:gd name="connsiteX17" fmla="*/ 8430 w 10014"/>
              <a:gd name="connsiteY17" fmla="*/ 6563 h 10023"/>
              <a:gd name="connsiteX18" fmla="*/ 8206 w 10014"/>
              <a:gd name="connsiteY18" fmla="*/ 6758 h 10023"/>
              <a:gd name="connsiteX19" fmla="*/ 7956 w 10014"/>
              <a:gd name="connsiteY19" fmla="*/ 6956 h 10023"/>
              <a:gd name="connsiteX20" fmla="*/ 7601 w 10014"/>
              <a:gd name="connsiteY20" fmla="*/ 7231 h 10023"/>
              <a:gd name="connsiteX21" fmla="*/ 7224 w 10014"/>
              <a:gd name="connsiteY21" fmla="*/ 7516 h 10023"/>
              <a:gd name="connsiteX22" fmla="*/ 6847 w 10014"/>
              <a:gd name="connsiteY22" fmla="*/ 7782 h 10023"/>
              <a:gd name="connsiteX23" fmla="*/ 6478 w 10014"/>
              <a:gd name="connsiteY23" fmla="*/ 8028 h 10023"/>
              <a:gd name="connsiteX24" fmla="*/ 5981 w 10014"/>
              <a:gd name="connsiteY24" fmla="*/ 8342 h 10023"/>
              <a:gd name="connsiteX25" fmla="*/ 5551 w 10014"/>
              <a:gd name="connsiteY25" fmla="*/ 8598 h 10023"/>
              <a:gd name="connsiteX26" fmla="*/ 5195 w 10014"/>
              <a:gd name="connsiteY26" fmla="*/ 8784 h 10023"/>
              <a:gd name="connsiteX27" fmla="*/ 4800 w 10014"/>
              <a:gd name="connsiteY27" fmla="*/ 8971 h 10023"/>
              <a:gd name="connsiteX28" fmla="*/ 4384 w 10014"/>
              <a:gd name="connsiteY28" fmla="*/ 9148 h 10023"/>
              <a:gd name="connsiteX29" fmla="*/ 3960 w 10014"/>
              <a:gd name="connsiteY29" fmla="*/ 9305 h 10023"/>
              <a:gd name="connsiteX30" fmla="*/ 3378 w 10014"/>
              <a:gd name="connsiteY30" fmla="*/ 9489 h 10023"/>
              <a:gd name="connsiteX31" fmla="*/ 2671 w 10014"/>
              <a:gd name="connsiteY31" fmla="*/ 9668 h 10023"/>
              <a:gd name="connsiteX32" fmla="*/ 2297 w 10014"/>
              <a:gd name="connsiteY32" fmla="*/ 9747 h 10023"/>
              <a:gd name="connsiteX33" fmla="*/ 1538 w 10014"/>
              <a:gd name="connsiteY33" fmla="*/ 9875 h 10023"/>
              <a:gd name="connsiteX34" fmla="*/ 1030 w 10014"/>
              <a:gd name="connsiteY34" fmla="*/ 9943 h 10023"/>
              <a:gd name="connsiteX35" fmla="*/ 573 w 10014"/>
              <a:gd name="connsiteY35" fmla="*/ 9995 h 10023"/>
              <a:gd name="connsiteX36" fmla="*/ 197 w 10014"/>
              <a:gd name="connsiteY36" fmla="*/ 10023 h 10023"/>
              <a:gd name="connsiteX37" fmla="*/ 30 w 10014"/>
              <a:gd name="connsiteY37" fmla="*/ 10022 h 10023"/>
              <a:gd name="connsiteX38" fmla="*/ 22 w 10014"/>
              <a:gd name="connsiteY38" fmla="*/ 9224 h 10023"/>
              <a:gd name="connsiteX39" fmla="*/ 22 w 10014"/>
              <a:gd name="connsiteY39" fmla="*/ 8673 h 10023"/>
              <a:gd name="connsiteX40" fmla="*/ 22 w 10014"/>
              <a:gd name="connsiteY40" fmla="*/ 6904 h 10023"/>
              <a:gd name="connsiteX41" fmla="*/ 21 w 10014"/>
              <a:gd name="connsiteY41" fmla="*/ 4287 h 10023"/>
              <a:gd name="connsiteX42" fmla="*/ 14 w 10014"/>
              <a:gd name="connsiteY42" fmla="*/ 26 h 10023"/>
              <a:gd name="connsiteX43" fmla="*/ 248 w 10014"/>
              <a:gd name="connsiteY43" fmla="*/ 23 h 10023"/>
              <a:gd name="connsiteX0" fmla="*/ 248 w 10014"/>
              <a:gd name="connsiteY0" fmla="*/ 89 h 10089"/>
              <a:gd name="connsiteX1" fmla="*/ 619 w 10014"/>
              <a:gd name="connsiteY1" fmla="*/ 116 h 10089"/>
              <a:gd name="connsiteX2" fmla="*/ 943 w 10014"/>
              <a:gd name="connsiteY2" fmla="*/ 141 h 10089"/>
              <a:gd name="connsiteX3" fmla="*/ 1386 w 10014"/>
              <a:gd name="connsiteY3" fmla="*/ 190 h 10089"/>
              <a:gd name="connsiteX4" fmla="*/ 1849 w 10014"/>
              <a:gd name="connsiteY4" fmla="*/ 259 h 10089"/>
              <a:gd name="connsiteX5" fmla="*/ 2145 w 10014"/>
              <a:gd name="connsiteY5" fmla="*/ 312 h 10089"/>
              <a:gd name="connsiteX6" fmla="*/ 9287 w 10014"/>
              <a:gd name="connsiteY6" fmla="*/ 4345 h 10089"/>
              <a:gd name="connsiteX7" fmla="*/ 9516 w 10014"/>
              <a:gd name="connsiteY7" fmla="*/ 4583 h 10089"/>
              <a:gd name="connsiteX8" fmla="*/ 9817 w 10014"/>
              <a:gd name="connsiteY8" fmla="*/ 4889 h 10089"/>
              <a:gd name="connsiteX9" fmla="*/ 10014 w 10014"/>
              <a:gd name="connsiteY9" fmla="*/ 5086 h 10089"/>
              <a:gd name="connsiteX10" fmla="*/ 9863 w 10014"/>
              <a:gd name="connsiteY10" fmla="*/ 5262 h 10089"/>
              <a:gd name="connsiteX11" fmla="*/ 9648 w 10014"/>
              <a:gd name="connsiteY11" fmla="*/ 5489 h 10089"/>
              <a:gd name="connsiteX12" fmla="*/ 9442 w 10014"/>
              <a:gd name="connsiteY12" fmla="*/ 5699 h 10089"/>
              <a:gd name="connsiteX13" fmla="*/ 9184 w 10014"/>
              <a:gd name="connsiteY13" fmla="*/ 5955 h 10089"/>
              <a:gd name="connsiteX14" fmla="*/ 8854 w 10014"/>
              <a:gd name="connsiteY14" fmla="*/ 6253 h 10089"/>
              <a:gd name="connsiteX15" fmla="*/ 8685 w 10014"/>
              <a:gd name="connsiteY15" fmla="*/ 6407 h 10089"/>
              <a:gd name="connsiteX16" fmla="*/ 8430 w 10014"/>
              <a:gd name="connsiteY16" fmla="*/ 6629 h 10089"/>
              <a:gd name="connsiteX17" fmla="*/ 8206 w 10014"/>
              <a:gd name="connsiteY17" fmla="*/ 6824 h 10089"/>
              <a:gd name="connsiteX18" fmla="*/ 7956 w 10014"/>
              <a:gd name="connsiteY18" fmla="*/ 7022 h 10089"/>
              <a:gd name="connsiteX19" fmla="*/ 7601 w 10014"/>
              <a:gd name="connsiteY19" fmla="*/ 7297 h 10089"/>
              <a:gd name="connsiteX20" fmla="*/ 7224 w 10014"/>
              <a:gd name="connsiteY20" fmla="*/ 7582 h 10089"/>
              <a:gd name="connsiteX21" fmla="*/ 6847 w 10014"/>
              <a:gd name="connsiteY21" fmla="*/ 7848 h 10089"/>
              <a:gd name="connsiteX22" fmla="*/ 6478 w 10014"/>
              <a:gd name="connsiteY22" fmla="*/ 8094 h 10089"/>
              <a:gd name="connsiteX23" fmla="*/ 5981 w 10014"/>
              <a:gd name="connsiteY23" fmla="*/ 8408 h 10089"/>
              <a:gd name="connsiteX24" fmla="*/ 5551 w 10014"/>
              <a:gd name="connsiteY24" fmla="*/ 8664 h 10089"/>
              <a:gd name="connsiteX25" fmla="*/ 5195 w 10014"/>
              <a:gd name="connsiteY25" fmla="*/ 8850 h 10089"/>
              <a:gd name="connsiteX26" fmla="*/ 4800 w 10014"/>
              <a:gd name="connsiteY26" fmla="*/ 9037 h 10089"/>
              <a:gd name="connsiteX27" fmla="*/ 4384 w 10014"/>
              <a:gd name="connsiteY27" fmla="*/ 9214 h 10089"/>
              <a:gd name="connsiteX28" fmla="*/ 3960 w 10014"/>
              <a:gd name="connsiteY28" fmla="*/ 9371 h 10089"/>
              <a:gd name="connsiteX29" fmla="*/ 3378 w 10014"/>
              <a:gd name="connsiteY29" fmla="*/ 9555 h 10089"/>
              <a:gd name="connsiteX30" fmla="*/ 2671 w 10014"/>
              <a:gd name="connsiteY30" fmla="*/ 9734 h 10089"/>
              <a:gd name="connsiteX31" fmla="*/ 2297 w 10014"/>
              <a:gd name="connsiteY31" fmla="*/ 9813 h 10089"/>
              <a:gd name="connsiteX32" fmla="*/ 1538 w 10014"/>
              <a:gd name="connsiteY32" fmla="*/ 9941 h 10089"/>
              <a:gd name="connsiteX33" fmla="*/ 1030 w 10014"/>
              <a:gd name="connsiteY33" fmla="*/ 10009 h 10089"/>
              <a:gd name="connsiteX34" fmla="*/ 573 w 10014"/>
              <a:gd name="connsiteY34" fmla="*/ 10061 h 10089"/>
              <a:gd name="connsiteX35" fmla="*/ 197 w 10014"/>
              <a:gd name="connsiteY35" fmla="*/ 10089 h 10089"/>
              <a:gd name="connsiteX36" fmla="*/ 30 w 10014"/>
              <a:gd name="connsiteY36" fmla="*/ 10088 h 10089"/>
              <a:gd name="connsiteX37" fmla="*/ 22 w 10014"/>
              <a:gd name="connsiteY37" fmla="*/ 9290 h 10089"/>
              <a:gd name="connsiteX38" fmla="*/ 22 w 10014"/>
              <a:gd name="connsiteY38" fmla="*/ 8739 h 10089"/>
              <a:gd name="connsiteX39" fmla="*/ 22 w 10014"/>
              <a:gd name="connsiteY39" fmla="*/ 6970 h 10089"/>
              <a:gd name="connsiteX40" fmla="*/ 21 w 10014"/>
              <a:gd name="connsiteY40" fmla="*/ 4353 h 10089"/>
              <a:gd name="connsiteX41" fmla="*/ 14 w 10014"/>
              <a:gd name="connsiteY41" fmla="*/ 92 h 10089"/>
              <a:gd name="connsiteX42" fmla="*/ 248 w 10014"/>
              <a:gd name="connsiteY42" fmla="*/ 89 h 10089"/>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9287 w 10014"/>
              <a:gd name="connsiteY5" fmla="*/ 4256 h 10000"/>
              <a:gd name="connsiteX6" fmla="*/ 9516 w 10014"/>
              <a:gd name="connsiteY6" fmla="*/ 4494 h 10000"/>
              <a:gd name="connsiteX7" fmla="*/ 9817 w 10014"/>
              <a:gd name="connsiteY7" fmla="*/ 4800 h 10000"/>
              <a:gd name="connsiteX8" fmla="*/ 10014 w 10014"/>
              <a:gd name="connsiteY8" fmla="*/ 4997 h 10000"/>
              <a:gd name="connsiteX9" fmla="*/ 9863 w 10014"/>
              <a:gd name="connsiteY9" fmla="*/ 5173 h 10000"/>
              <a:gd name="connsiteX10" fmla="*/ 9648 w 10014"/>
              <a:gd name="connsiteY10" fmla="*/ 5400 h 10000"/>
              <a:gd name="connsiteX11" fmla="*/ 9442 w 10014"/>
              <a:gd name="connsiteY11" fmla="*/ 5610 h 10000"/>
              <a:gd name="connsiteX12" fmla="*/ 9184 w 10014"/>
              <a:gd name="connsiteY12" fmla="*/ 5866 h 10000"/>
              <a:gd name="connsiteX13" fmla="*/ 8854 w 10014"/>
              <a:gd name="connsiteY13" fmla="*/ 6164 h 10000"/>
              <a:gd name="connsiteX14" fmla="*/ 8685 w 10014"/>
              <a:gd name="connsiteY14" fmla="*/ 6318 h 10000"/>
              <a:gd name="connsiteX15" fmla="*/ 8430 w 10014"/>
              <a:gd name="connsiteY15" fmla="*/ 6540 h 10000"/>
              <a:gd name="connsiteX16" fmla="*/ 8206 w 10014"/>
              <a:gd name="connsiteY16" fmla="*/ 6735 h 10000"/>
              <a:gd name="connsiteX17" fmla="*/ 7956 w 10014"/>
              <a:gd name="connsiteY17" fmla="*/ 6933 h 10000"/>
              <a:gd name="connsiteX18" fmla="*/ 7601 w 10014"/>
              <a:gd name="connsiteY18" fmla="*/ 7208 h 10000"/>
              <a:gd name="connsiteX19" fmla="*/ 7224 w 10014"/>
              <a:gd name="connsiteY19" fmla="*/ 7493 h 10000"/>
              <a:gd name="connsiteX20" fmla="*/ 6847 w 10014"/>
              <a:gd name="connsiteY20" fmla="*/ 7759 h 10000"/>
              <a:gd name="connsiteX21" fmla="*/ 6478 w 10014"/>
              <a:gd name="connsiteY21" fmla="*/ 8005 h 10000"/>
              <a:gd name="connsiteX22" fmla="*/ 5981 w 10014"/>
              <a:gd name="connsiteY22" fmla="*/ 8319 h 10000"/>
              <a:gd name="connsiteX23" fmla="*/ 5551 w 10014"/>
              <a:gd name="connsiteY23" fmla="*/ 8575 h 10000"/>
              <a:gd name="connsiteX24" fmla="*/ 5195 w 10014"/>
              <a:gd name="connsiteY24" fmla="*/ 8761 h 10000"/>
              <a:gd name="connsiteX25" fmla="*/ 4800 w 10014"/>
              <a:gd name="connsiteY25" fmla="*/ 8948 h 10000"/>
              <a:gd name="connsiteX26" fmla="*/ 4384 w 10014"/>
              <a:gd name="connsiteY26" fmla="*/ 9125 h 10000"/>
              <a:gd name="connsiteX27" fmla="*/ 3960 w 10014"/>
              <a:gd name="connsiteY27" fmla="*/ 9282 h 10000"/>
              <a:gd name="connsiteX28" fmla="*/ 3378 w 10014"/>
              <a:gd name="connsiteY28" fmla="*/ 9466 h 10000"/>
              <a:gd name="connsiteX29" fmla="*/ 2671 w 10014"/>
              <a:gd name="connsiteY29" fmla="*/ 9645 h 10000"/>
              <a:gd name="connsiteX30" fmla="*/ 2297 w 10014"/>
              <a:gd name="connsiteY30" fmla="*/ 9724 h 10000"/>
              <a:gd name="connsiteX31" fmla="*/ 1538 w 10014"/>
              <a:gd name="connsiteY31" fmla="*/ 9852 h 10000"/>
              <a:gd name="connsiteX32" fmla="*/ 1030 w 10014"/>
              <a:gd name="connsiteY32" fmla="*/ 9920 h 10000"/>
              <a:gd name="connsiteX33" fmla="*/ 573 w 10014"/>
              <a:gd name="connsiteY33" fmla="*/ 9972 h 10000"/>
              <a:gd name="connsiteX34" fmla="*/ 197 w 10014"/>
              <a:gd name="connsiteY34" fmla="*/ 10000 h 10000"/>
              <a:gd name="connsiteX35" fmla="*/ 30 w 10014"/>
              <a:gd name="connsiteY35" fmla="*/ 9999 h 10000"/>
              <a:gd name="connsiteX36" fmla="*/ 22 w 10014"/>
              <a:gd name="connsiteY36" fmla="*/ 9201 h 10000"/>
              <a:gd name="connsiteX37" fmla="*/ 22 w 10014"/>
              <a:gd name="connsiteY37" fmla="*/ 8650 h 10000"/>
              <a:gd name="connsiteX38" fmla="*/ 22 w 10014"/>
              <a:gd name="connsiteY38" fmla="*/ 6881 h 10000"/>
              <a:gd name="connsiteX39" fmla="*/ 21 w 10014"/>
              <a:gd name="connsiteY39" fmla="*/ 4264 h 10000"/>
              <a:gd name="connsiteX40" fmla="*/ 14 w 10014"/>
              <a:gd name="connsiteY40" fmla="*/ 3 h 10000"/>
              <a:gd name="connsiteX41" fmla="*/ 248 w 10014"/>
              <a:gd name="connsiteY4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9287 w 10014"/>
              <a:gd name="connsiteY4" fmla="*/ 4256 h 10000"/>
              <a:gd name="connsiteX5" fmla="*/ 9516 w 10014"/>
              <a:gd name="connsiteY5" fmla="*/ 4494 h 10000"/>
              <a:gd name="connsiteX6" fmla="*/ 9817 w 10014"/>
              <a:gd name="connsiteY6" fmla="*/ 4800 h 10000"/>
              <a:gd name="connsiteX7" fmla="*/ 10014 w 10014"/>
              <a:gd name="connsiteY7" fmla="*/ 4997 h 10000"/>
              <a:gd name="connsiteX8" fmla="*/ 9863 w 10014"/>
              <a:gd name="connsiteY8" fmla="*/ 5173 h 10000"/>
              <a:gd name="connsiteX9" fmla="*/ 9648 w 10014"/>
              <a:gd name="connsiteY9" fmla="*/ 5400 h 10000"/>
              <a:gd name="connsiteX10" fmla="*/ 9442 w 10014"/>
              <a:gd name="connsiteY10" fmla="*/ 5610 h 10000"/>
              <a:gd name="connsiteX11" fmla="*/ 9184 w 10014"/>
              <a:gd name="connsiteY11" fmla="*/ 5866 h 10000"/>
              <a:gd name="connsiteX12" fmla="*/ 8854 w 10014"/>
              <a:gd name="connsiteY12" fmla="*/ 6164 h 10000"/>
              <a:gd name="connsiteX13" fmla="*/ 8685 w 10014"/>
              <a:gd name="connsiteY13" fmla="*/ 6318 h 10000"/>
              <a:gd name="connsiteX14" fmla="*/ 8430 w 10014"/>
              <a:gd name="connsiteY14" fmla="*/ 6540 h 10000"/>
              <a:gd name="connsiteX15" fmla="*/ 8206 w 10014"/>
              <a:gd name="connsiteY15" fmla="*/ 6735 h 10000"/>
              <a:gd name="connsiteX16" fmla="*/ 7956 w 10014"/>
              <a:gd name="connsiteY16" fmla="*/ 6933 h 10000"/>
              <a:gd name="connsiteX17" fmla="*/ 7601 w 10014"/>
              <a:gd name="connsiteY17" fmla="*/ 7208 h 10000"/>
              <a:gd name="connsiteX18" fmla="*/ 7224 w 10014"/>
              <a:gd name="connsiteY18" fmla="*/ 7493 h 10000"/>
              <a:gd name="connsiteX19" fmla="*/ 6847 w 10014"/>
              <a:gd name="connsiteY19" fmla="*/ 7759 h 10000"/>
              <a:gd name="connsiteX20" fmla="*/ 6478 w 10014"/>
              <a:gd name="connsiteY20" fmla="*/ 8005 h 10000"/>
              <a:gd name="connsiteX21" fmla="*/ 5981 w 10014"/>
              <a:gd name="connsiteY21" fmla="*/ 8319 h 10000"/>
              <a:gd name="connsiteX22" fmla="*/ 5551 w 10014"/>
              <a:gd name="connsiteY22" fmla="*/ 8575 h 10000"/>
              <a:gd name="connsiteX23" fmla="*/ 5195 w 10014"/>
              <a:gd name="connsiteY23" fmla="*/ 8761 h 10000"/>
              <a:gd name="connsiteX24" fmla="*/ 4800 w 10014"/>
              <a:gd name="connsiteY24" fmla="*/ 8948 h 10000"/>
              <a:gd name="connsiteX25" fmla="*/ 4384 w 10014"/>
              <a:gd name="connsiteY25" fmla="*/ 9125 h 10000"/>
              <a:gd name="connsiteX26" fmla="*/ 3960 w 10014"/>
              <a:gd name="connsiteY26" fmla="*/ 9282 h 10000"/>
              <a:gd name="connsiteX27" fmla="*/ 3378 w 10014"/>
              <a:gd name="connsiteY27" fmla="*/ 9466 h 10000"/>
              <a:gd name="connsiteX28" fmla="*/ 2671 w 10014"/>
              <a:gd name="connsiteY28" fmla="*/ 9645 h 10000"/>
              <a:gd name="connsiteX29" fmla="*/ 2297 w 10014"/>
              <a:gd name="connsiteY29" fmla="*/ 9724 h 10000"/>
              <a:gd name="connsiteX30" fmla="*/ 1538 w 10014"/>
              <a:gd name="connsiteY30" fmla="*/ 9852 h 10000"/>
              <a:gd name="connsiteX31" fmla="*/ 1030 w 10014"/>
              <a:gd name="connsiteY31" fmla="*/ 9920 h 10000"/>
              <a:gd name="connsiteX32" fmla="*/ 573 w 10014"/>
              <a:gd name="connsiteY32" fmla="*/ 9972 h 10000"/>
              <a:gd name="connsiteX33" fmla="*/ 197 w 10014"/>
              <a:gd name="connsiteY33" fmla="*/ 10000 h 10000"/>
              <a:gd name="connsiteX34" fmla="*/ 30 w 10014"/>
              <a:gd name="connsiteY34" fmla="*/ 9999 h 10000"/>
              <a:gd name="connsiteX35" fmla="*/ 22 w 10014"/>
              <a:gd name="connsiteY35" fmla="*/ 9201 h 10000"/>
              <a:gd name="connsiteX36" fmla="*/ 22 w 10014"/>
              <a:gd name="connsiteY36" fmla="*/ 8650 h 10000"/>
              <a:gd name="connsiteX37" fmla="*/ 22 w 10014"/>
              <a:gd name="connsiteY37" fmla="*/ 6881 h 10000"/>
              <a:gd name="connsiteX38" fmla="*/ 21 w 10014"/>
              <a:gd name="connsiteY38" fmla="*/ 4264 h 10000"/>
              <a:gd name="connsiteX39" fmla="*/ 14 w 10014"/>
              <a:gd name="connsiteY39" fmla="*/ 3 h 10000"/>
              <a:gd name="connsiteX40" fmla="*/ 248 w 10014"/>
              <a:gd name="connsiteY40" fmla="*/ 0 h 10000"/>
              <a:gd name="connsiteX0" fmla="*/ 248 w 10014"/>
              <a:gd name="connsiteY0" fmla="*/ 0 h 10000"/>
              <a:gd name="connsiteX1" fmla="*/ 619 w 10014"/>
              <a:gd name="connsiteY1" fmla="*/ 27 h 10000"/>
              <a:gd name="connsiteX2" fmla="*/ 943 w 10014"/>
              <a:gd name="connsiteY2" fmla="*/ 52 h 10000"/>
              <a:gd name="connsiteX3" fmla="*/ 9287 w 10014"/>
              <a:gd name="connsiteY3" fmla="*/ 4256 h 10000"/>
              <a:gd name="connsiteX4" fmla="*/ 9516 w 10014"/>
              <a:gd name="connsiteY4" fmla="*/ 4494 h 10000"/>
              <a:gd name="connsiteX5" fmla="*/ 9817 w 10014"/>
              <a:gd name="connsiteY5" fmla="*/ 4800 h 10000"/>
              <a:gd name="connsiteX6" fmla="*/ 10014 w 10014"/>
              <a:gd name="connsiteY6" fmla="*/ 4997 h 10000"/>
              <a:gd name="connsiteX7" fmla="*/ 9863 w 10014"/>
              <a:gd name="connsiteY7" fmla="*/ 5173 h 10000"/>
              <a:gd name="connsiteX8" fmla="*/ 9648 w 10014"/>
              <a:gd name="connsiteY8" fmla="*/ 5400 h 10000"/>
              <a:gd name="connsiteX9" fmla="*/ 9442 w 10014"/>
              <a:gd name="connsiteY9" fmla="*/ 5610 h 10000"/>
              <a:gd name="connsiteX10" fmla="*/ 9184 w 10014"/>
              <a:gd name="connsiteY10" fmla="*/ 5866 h 10000"/>
              <a:gd name="connsiteX11" fmla="*/ 8854 w 10014"/>
              <a:gd name="connsiteY11" fmla="*/ 6164 h 10000"/>
              <a:gd name="connsiteX12" fmla="*/ 8685 w 10014"/>
              <a:gd name="connsiteY12" fmla="*/ 6318 h 10000"/>
              <a:gd name="connsiteX13" fmla="*/ 8430 w 10014"/>
              <a:gd name="connsiteY13" fmla="*/ 6540 h 10000"/>
              <a:gd name="connsiteX14" fmla="*/ 8206 w 10014"/>
              <a:gd name="connsiteY14" fmla="*/ 6735 h 10000"/>
              <a:gd name="connsiteX15" fmla="*/ 7956 w 10014"/>
              <a:gd name="connsiteY15" fmla="*/ 6933 h 10000"/>
              <a:gd name="connsiteX16" fmla="*/ 7601 w 10014"/>
              <a:gd name="connsiteY16" fmla="*/ 7208 h 10000"/>
              <a:gd name="connsiteX17" fmla="*/ 7224 w 10014"/>
              <a:gd name="connsiteY17" fmla="*/ 7493 h 10000"/>
              <a:gd name="connsiteX18" fmla="*/ 6847 w 10014"/>
              <a:gd name="connsiteY18" fmla="*/ 7759 h 10000"/>
              <a:gd name="connsiteX19" fmla="*/ 6478 w 10014"/>
              <a:gd name="connsiteY19" fmla="*/ 8005 h 10000"/>
              <a:gd name="connsiteX20" fmla="*/ 5981 w 10014"/>
              <a:gd name="connsiteY20" fmla="*/ 8319 h 10000"/>
              <a:gd name="connsiteX21" fmla="*/ 5551 w 10014"/>
              <a:gd name="connsiteY21" fmla="*/ 8575 h 10000"/>
              <a:gd name="connsiteX22" fmla="*/ 5195 w 10014"/>
              <a:gd name="connsiteY22" fmla="*/ 8761 h 10000"/>
              <a:gd name="connsiteX23" fmla="*/ 4800 w 10014"/>
              <a:gd name="connsiteY23" fmla="*/ 8948 h 10000"/>
              <a:gd name="connsiteX24" fmla="*/ 4384 w 10014"/>
              <a:gd name="connsiteY24" fmla="*/ 9125 h 10000"/>
              <a:gd name="connsiteX25" fmla="*/ 3960 w 10014"/>
              <a:gd name="connsiteY25" fmla="*/ 9282 h 10000"/>
              <a:gd name="connsiteX26" fmla="*/ 3378 w 10014"/>
              <a:gd name="connsiteY26" fmla="*/ 9466 h 10000"/>
              <a:gd name="connsiteX27" fmla="*/ 2671 w 10014"/>
              <a:gd name="connsiteY27" fmla="*/ 9645 h 10000"/>
              <a:gd name="connsiteX28" fmla="*/ 2297 w 10014"/>
              <a:gd name="connsiteY28" fmla="*/ 9724 h 10000"/>
              <a:gd name="connsiteX29" fmla="*/ 1538 w 10014"/>
              <a:gd name="connsiteY29" fmla="*/ 9852 h 10000"/>
              <a:gd name="connsiteX30" fmla="*/ 1030 w 10014"/>
              <a:gd name="connsiteY30" fmla="*/ 9920 h 10000"/>
              <a:gd name="connsiteX31" fmla="*/ 573 w 10014"/>
              <a:gd name="connsiteY31" fmla="*/ 9972 h 10000"/>
              <a:gd name="connsiteX32" fmla="*/ 197 w 10014"/>
              <a:gd name="connsiteY32" fmla="*/ 10000 h 10000"/>
              <a:gd name="connsiteX33" fmla="*/ 30 w 10014"/>
              <a:gd name="connsiteY33" fmla="*/ 9999 h 10000"/>
              <a:gd name="connsiteX34" fmla="*/ 22 w 10014"/>
              <a:gd name="connsiteY34" fmla="*/ 9201 h 10000"/>
              <a:gd name="connsiteX35" fmla="*/ 22 w 10014"/>
              <a:gd name="connsiteY35" fmla="*/ 8650 h 10000"/>
              <a:gd name="connsiteX36" fmla="*/ 22 w 10014"/>
              <a:gd name="connsiteY36" fmla="*/ 6881 h 10000"/>
              <a:gd name="connsiteX37" fmla="*/ 21 w 10014"/>
              <a:gd name="connsiteY37" fmla="*/ 4264 h 10000"/>
              <a:gd name="connsiteX38" fmla="*/ 14 w 10014"/>
              <a:gd name="connsiteY38" fmla="*/ 3 h 10000"/>
              <a:gd name="connsiteX39" fmla="*/ 248 w 10014"/>
              <a:gd name="connsiteY39" fmla="*/ 0 h 10000"/>
              <a:gd name="connsiteX0" fmla="*/ 14 w 10014"/>
              <a:gd name="connsiteY0" fmla="*/ 0 h 9997"/>
              <a:gd name="connsiteX1" fmla="*/ 619 w 10014"/>
              <a:gd name="connsiteY1" fmla="*/ 24 h 9997"/>
              <a:gd name="connsiteX2" fmla="*/ 943 w 10014"/>
              <a:gd name="connsiteY2" fmla="*/ 49 h 9997"/>
              <a:gd name="connsiteX3" fmla="*/ 9287 w 10014"/>
              <a:gd name="connsiteY3" fmla="*/ 4253 h 9997"/>
              <a:gd name="connsiteX4" fmla="*/ 9516 w 10014"/>
              <a:gd name="connsiteY4" fmla="*/ 4491 h 9997"/>
              <a:gd name="connsiteX5" fmla="*/ 9817 w 10014"/>
              <a:gd name="connsiteY5" fmla="*/ 4797 h 9997"/>
              <a:gd name="connsiteX6" fmla="*/ 10014 w 10014"/>
              <a:gd name="connsiteY6" fmla="*/ 4994 h 9997"/>
              <a:gd name="connsiteX7" fmla="*/ 9863 w 10014"/>
              <a:gd name="connsiteY7" fmla="*/ 5170 h 9997"/>
              <a:gd name="connsiteX8" fmla="*/ 9648 w 10014"/>
              <a:gd name="connsiteY8" fmla="*/ 5397 h 9997"/>
              <a:gd name="connsiteX9" fmla="*/ 9442 w 10014"/>
              <a:gd name="connsiteY9" fmla="*/ 5607 h 9997"/>
              <a:gd name="connsiteX10" fmla="*/ 9184 w 10014"/>
              <a:gd name="connsiteY10" fmla="*/ 5863 h 9997"/>
              <a:gd name="connsiteX11" fmla="*/ 8854 w 10014"/>
              <a:gd name="connsiteY11" fmla="*/ 6161 h 9997"/>
              <a:gd name="connsiteX12" fmla="*/ 8685 w 10014"/>
              <a:gd name="connsiteY12" fmla="*/ 6315 h 9997"/>
              <a:gd name="connsiteX13" fmla="*/ 8430 w 10014"/>
              <a:gd name="connsiteY13" fmla="*/ 6537 h 9997"/>
              <a:gd name="connsiteX14" fmla="*/ 8206 w 10014"/>
              <a:gd name="connsiteY14" fmla="*/ 6732 h 9997"/>
              <a:gd name="connsiteX15" fmla="*/ 7956 w 10014"/>
              <a:gd name="connsiteY15" fmla="*/ 6930 h 9997"/>
              <a:gd name="connsiteX16" fmla="*/ 7601 w 10014"/>
              <a:gd name="connsiteY16" fmla="*/ 7205 h 9997"/>
              <a:gd name="connsiteX17" fmla="*/ 7224 w 10014"/>
              <a:gd name="connsiteY17" fmla="*/ 7490 h 9997"/>
              <a:gd name="connsiteX18" fmla="*/ 6847 w 10014"/>
              <a:gd name="connsiteY18" fmla="*/ 7756 h 9997"/>
              <a:gd name="connsiteX19" fmla="*/ 6478 w 10014"/>
              <a:gd name="connsiteY19" fmla="*/ 8002 h 9997"/>
              <a:gd name="connsiteX20" fmla="*/ 5981 w 10014"/>
              <a:gd name="connsiteY20" fmla="*/ 8316 h 9997"/>
              <a:gd name="connsiteX21" fmla="*/ 5551 w 10014"/>
              <a:gd name="connsiteY21" fmla="*/ 8572 h 9997"/>
              <a:gd name="connsiteX22" fmla="*/ 5195 w 10014"/>
              <a:gd name="connsiteY22" fmla="*/ 8758 h 9997"/>
              <a:gd name="connsiteX23" fmla="*/ 4800 w 10014"/>
              <a:gd name="connsiteY23" fmla="*/ 8945 h 9997"/>
              <a:gd name="connsiteX24" fmla="*/ 4384 w 10014"/>
              <a:gd name="connsiteY24" fmla="*/ 9122 h 9997"/>
              <a:gd name="connsiteX25" fmla="*/ 3960 w 10014"/>
              <a:gd name="connsiteY25" fmla="*/ 9279 h 9997"/>
              <a:gd name="connsiteX26" fmla="*/ 3378 w 10014"/>
              <a:gd name="connsiteY26" fmla="*/ 9463 h 9997"/>
              <a:gd name="connsiteX27" fmla="*/ 2671 w 10014"/>
              <a:gd name="connsiteY27" fmla="*/ 9642 h 9997"/>
              <a:gd name="connsiteX28" fmla="*/ 2297 w 10014"/>
              <a:gd name="connsiteY28" fmla="*/ 9721 h 9997"/>
              <a:gd name="connsiteX29" fmla="*/ 1538 w 10014"/>
              <a:gd name="connsiteY29" fmla="*/ 9849 h 9997"/>
              <a:gd name="connsiteX30" fmla="*/ 1030 w 10014"/>
              <a:gd name="connsiteY30" fmla="*/ 9917 h 9997"/>
              <a:gd name="connsiteX31" fmla="*/ 573 w 10014"/>
              <a:gd name="connsiteY31" fmla="*/ 9969 h 9997"/>
              <a:gd name="connsiteX32" fmla="*/ 197 w 10014"/>
              <a:gd name="connsiteY32" fmla="*/ 9997 h 9997"/>
              <a:gd name="connsiteX33" fmla="*/ 30 w 10014"/>
              <a:gd name="connsiteY33" fmla="*/ 9996 h 9997"/>
              <a:gd name="connsiteX34" fmla="*/ 22 w 10014"/>
              <a:gd name="connsiteY34" fmla="*/ 9198 h 9997"/>
              <a:gd name="connsiteX35" fmla="*/ 22 w 10014"/>
              <a:gd name="connsiteY35" fmla="*/ 8647 h 9997"/>
              <a:gd name="connsiteX36" fmla="*/ 22 w 10014"/>
              <a:gd name="connsiteY36" fmla="*/ 6878 h 9997"/>
              <a:gd name="connsiteX37" fmla="*/ 21 w 10014"/>
              <a:gd name="connsiteY37" fmla="*/ 4261 h 9997"/>
              <a:gd name="connsiteX38" fmla="*/ 14 w 10014"/>
              <a:gd name="connsiteY38" fmla="*/ 0 h 9997"/>
              <a:gd name="connsiteX0" fmla="*/ 14 w 10000"/>
              <a:gd name="connsiteY0" fmla="*/ 0 h 10000"/>
              <a:gd name="connsiteX1" fmla="*/ 942 w 10000"/>
              <a:gd name="connsiteY1" fmla="*/ 49 h 10000"/>
              <a:gd name="connsiteX2" fmla="*/ 9274 w 10000"/>
              <a:gd name="connsiteY2" fmla="*/ 4254 h 10000"/>
              <a:gd name="connsiteX3" fmla="*/ 9503 w 10000"/>
              <a:gd name="connsiteY3" fmla="*/ 4492 h 10000"/>
              <a:gd name="connsiteX4" fmla="*/ 9803 w 10000"/>
              <a:gd name="connsiteY4" fmla="*/ 4798 h 10000"/>
              <a:gd name="connsiteX5" fmla="*/ 10000 w 10000"/>
              <a:gd name="connsiteY5" fmla="*/ 4995 h 10000"/>
              <a:gd name="connsiteX6" fmla="*/ 9849 w 10000"/>
              <a:gd name="connsiteY6" fmla="*/ 5172 h 10000"/>
              <a:gd name="connsiteX7" fmla="*/ 9635 w 10000"/>
              <a:gd name="connsiteY7" fmla="*/ 5399 h 10000"/>
              <a:gd name="connsiteX8" fmla="*/ 9429 w 10000"/>
              <a:gd name="connsiteY8" fmla="*/ 5609 h 10000"/>
              <a:gd name="connsiteX9" fmla="*/ 9171 w 10000"/>
              <a:gd name="connsiteY9" fmla="*/ 5865 h 10000"/>
              <a:gd name="connsiteX10" fmla="*/ 8842 w 10000"/>
              <a:gd name="connsiteY10" fmla="*/ 6163 h 10000"/>
              <a:gd name="connsiteX11" fmla="*/ 8673 w 10000"/>
              <a:gd name="connsiteY11" fmla="*/ 6317 h 10000"/>
              <a:gd name="connsiteX12" fmla="*/ 8418 w 10000"/>
              <a:gd name="connsiteY12" fmla="*/ 6539 h 10000"/>
              <a:gd name="connsiteX13" fmla="*/ 8195 w 10000"/>
              <a:gd name="connsiteY13" fmla="*/ 6734 h 10000"/>
              <a:gd name="connsiteX14" fmla="*/ 7945 w 10000"/>
              <a:gd name="connsiteY14" fmla="*/ 6932 h 10000"/>
              <a:gd name="connsiteX15" fmla="*/ 7590 w 10000"/>
              <a:gd name="connsiteY15" fmla="*/ 7207 h 10000"/>
              <a:gd name="connsiteX16" fmla="*/ 7214 w 10000"/>
              <a:gd name="connsiteY16" fmla="*/ 7492 h 10000"/>
              <a:gd name="connsiteX17" fmla="*/ 6837 w 10000"/>
              <a:gd name="connsiteY17" fmla="*/ 7758 h 10000"/>
              <a:gd name="connsiteX18" fmla="*/ 6469 w 10000"/>
              <a:gd name="connsiteY18" fmla="*/ 8004 h 10000"/>
              <a:gd name="connsiteX19" fmla="*/ 5973 w 10000"/>
              <a:gd name="connsiteY19" fmla="*/ 8318 h 10000"/>
              <a:gd name="connsiteX20" fmla="*/ 5543 w 10000"/>
              <a:gd name="connsiteY20" fmla="*/ 8575 h 10000"/>
              <a:gd name="connsiteX21" fmla="*/ 5188 w 10000"/>
              <a:gd name="connsiteY21" fmla="*/ 8761 h 10000"/>
              <a:gd name="connsiteX22" fmla="*/ 4793 w 10000"/>
              <a:gd name="connsiteY22" fmla="*/ 8948 h 10000"/>
              <a:gd name="connsiteX23" fmla="*/ 4378 w 10000"/>
              <a:gd name="connsiteY23" fmla="*/ 9125 h 10000"/>
              <a:gd name="connsiteX24" fmla="*/ 3954 w 10000"/>
              <a:gd name="connsiteY24" fmla="*/ 9282 h 10000"/>
              <a:gd name="connsiteX25" fmla="*/ 3373 w 10000"/>
              <a:gd name="connsiteY25" fmla="*/ 9466 h 10000"/>
              <a:gd name="connsiteX26" fmla="*/ 2667 w 10000"/>
              <a:gd name="connsiteY26" fmla="*/ 9645 h 10000"/>
              <a:gd name="connsiteX27" fmla="*/ 2294 w 10000"/>
              <a:gd name="connsiteY27" fmla="*/ 9724 h 10000"/>
              <a:gd name="connsiteX28" fmla="*/ 1536 w 10000"/>
              <a:gd name="connsiteY28" fmla="*/ 9852 h 10000"/>
              <a:gd name="connsiteX29" fmla="*/ 1029 w 10000"/>
              <a:gd name="connsiteY29" fmla="*/ 9920 h 10000"/>
              <a:gd name="connsiteX30" fmla="*/ 572 w 10000"/>
              <a:gd name="connsiteY30" fmla="*/ 9972 h 10000"/>
              <a:gd name="connsiteX31" fmla="*/ 197 w 10000"/>
              <a:gd name="connsiteY31" fmla="*/ 10000 h 10000"/>
              <a:gd name="connsiteX32" fmla="*/ 30 w 10000"/>
              <a:gd name="connsiteY32" fmla="*/ 9999 h 10000"/>
              <a:gd name="connsiteX33" fmla="*/ 22 w 10000"/>
              <a:gd name="connsiteY33" fmla="*/ 9201 h 10000"/>
              <a:gd name="connsiteX34" fmla="*/ 22 w 10000"/>
              <a:gd name="connsiteY34" fmla="*/ 8650 h 10000"/>
              <a:gd name="connsiteX35" fmla="*/ 22 w 10000"/>
              <a:gd name="connsiteY35" fmla="*/ 6880 h 10000"/>
              <a:gd name="connsiteX36" fmla="*/ 21 w 10000"/>
              <a:gd name="connsiteY36" fmla="*/ 4262 h 10000"/>
              <a:gd name="connsiteX37" fmla="*/ 14 w 10000"/>
              <a:gd name="connsiteY37" fmla="*/ 0 h 10000"/>
              <a:gd name="connsiteX0" fmla="*/ 14 w 10000"/>
              <a:gd name="connsiteY0" fmla="*/ 0 h 10000"/>
              <a:gd name="connsiteX1" fmla="*/ 9274 w 10000"/>
              <a:gd name="connsiteY1" fmla="*/ 4254 h 10000"/>
              <a:gd name="connsiteX2" fmla="*/ 9503 w 10000"/>
              <a:gd name="connsiteY2" fmla="*/ 4492 h 10000"/>
              <a:gd name="connsiteX3" fmla="*/ 9803 w 10000"/>
              <a:gd name="connsiteY3" fmla="*/ 4798 h 10000"/>
              <a:gd name="connsiteX4" fmla="*/ 10000 w 10000"/>
              <a:gd name="connsiteY4" fmla="*/ 4995 h 10000"/>
              <a:gd name="connsiteX5" fmla="*/ 9849 w 10000"/>
              <a:gd name="connsiteY5" fmla="*/ 5172 h 10000"/>
              <a:gd name="connsiteX6" fmla="*/ 9635 w 10000"/>
              <a:gd name="connsiteY6" fmla="*/ 5399 h 10000"/>
              <a:gd name="connsiteX7" fmla="*/ 9429 w 10000"/>
              <a:gd name="connsiteY7" fmla="*/ 5609 h 10000"/>
              <a:gd name="connsiteX8" fmla="*/ 9171 w 10000"/>
              <a:gd name="connsiteY8" fmla="*/ 5865 h 10000"/>
              <a:gd name="connsiteX9" fmla="*/ 8842 w 10000"/>
              <a:gd name="connsiteY9" fmla="*/ 6163 h 10000"/>
              <a:gd name="connsiteX10" fmla="*/ 8673 w 10000"/>
              <a:gd name="connsiteY10" fmla="*/ 6317 h 10000"/>
              <a:gd name="connsiteX11" fmla="*/ 8418 w 10000"/>
              <a:gd name="connsiteY11" fmla="*/ 6539 h 10000"/>
              <a:gd name="connsiteX12" fmla="*/ 8195 w 10000"/>
              <a:gd name="connsiteY12" fmla="*/ 6734 h 10000"/>
              <a:gd name="connsiteX13" fmla="*/ 7945 w 10000"/>
              <a:gd name="connsiteY13" fmla="*/ 6932 h 10000"/>
              <a:gd name="connsiteX14" fmla="*/ 7590 w 10000"/>
              <a:gd name="connsiteY14" fmla="*/ 7207 h 10000"/>
              <a:gd name="connsiteX15" fmla="*/ 7214 w 10000"/>
              <a:gd name="connsiteY15" fmla="*/ 7492 h 10000"/>
              <a:gd name="connsiteX16" fmla="*/ 6837 w 10000"/>
              <a:gd name="connsiteY16" fmla="*/ 7758 h 10000"/>
              <a:gd name="connsiteX17" fmla="*/ 6469 w 10000"/>
              <a:gd name="connsiteY17" fmla="*/ 8004 h 10000"/>
              <a:gd name="connsiteX18" fmla="*/ 5973 w 10000"/>
              <a:gd name="connsiteY18" fmla="*/ 8318 h 10000"/>
              <a:gd name="connsiteX19" fmla="*/ 5543 w 10000"/>
              <a:gd name="connsiteY19" fmla="*/ 8575 h 10000"/>
              <a:gd name="connsiteX20" fmla="*/ 5188 w 10000"/>
              <a:gd name="connsiteY20" fmla="*/ 8761 h 10000"/>
              <a:gd name="connsiteX21" fmla="*/ 4793 w 10000"/>
              <a:gd name="connsiteY21" fmla="*/ 8948 h 10000"/>
              <a:gd name="connsiteX22" fmla="*/ 4378 w 10000"/>
              <a:gd name="connsiteY22" fmla="*/ 9125 h 10000"/>
              <a:gd name="connsiteX23" fmla="*/ 3954 w 10000"/>
              <a:gd name="connsiteY23" fmla="*/ 9282 h 10000"/>
              <a:gd name="connsiteX24" fmla="*/ 3373 w 10000"/>
              <a:gd name="connsiteY24" fmla="*/ 9466 h 10000"/>
              <a:gd name="connsiteX25" fmla="*/ 2667 w 10000"/>
              <a:gd name="connsiteY25" fmla="*/ 9645 h 10000"/>
              <a:gd name="connsiteX26" fmla="*/ 2294 w 10000"/>
              <a:gd name="connsiteY26" fmla="*/ 9724 h 10000"/>
              <a:gd name="connsiteX27" fmla="*/ 1536 w 10000"/>
              <a:gd name="connsiteY27" fmla="*/ 9852 h 10000"/>
              <a:gd name="connsiteX28" fmla="*/ 1029 w 10000"/>
              <a:gd name="connsiteY28" fmla="*/ 9920 h 10000"/>
              <a:gd name="connsiteX29" fmla="*/ 572 w 10000"/>
              <a:gd name="connsiteY29" fmla="*/ 9972 h 10000"/>
              <a:gd name="connsiteX30" fmla="*/ 197 w 10000"/>
              <a:gd name="connsiteY30" fmla="*/ 10000 h 10000"/>
              <a:gd name="connsiteX31" fmla="*/ 30 w 10000"/>
              <a:gd name="connsiteY31" fmla="*/ 9999 h 10000"/>
              <a:gd name="connsiteX32" fmla="*/ 22 w 10000"/>
              <a:gd name="connsiteY32" fmla="*/ 9201 h 10000"/>
              <a:gd name="connsiteX33" fmla="*/ 22 w 10000"/>
              <a:gd name="connsiteY33" fmla="*/ 8650 h 10000"/>
              <a:gd name="connsiteX34" fmla="*/ 22 w 10000"/>
              <a:gd name="connsiteY34" fmla="*/ 6880 h 10000"/>
              <a:gd name="connsiteX35" fmla="*/ 21 w 10000"/>
              <a:gd name="connsiteY35" fmla="*/ 4262 h 10000"/>
              <a:gd name="connsiteX36" fmla="*/ 14 w 10000"/>
              <a:gd name="connsiteY36" fmla="*/ 0 h 10000"/>
              <a:gd name="connsiteX0" fmla="*/ 0 w 9979"/>
              <a:gd name="connsiteY0" fmla="*/ 206 h 5944"/>
              <a:gd name="connsiteX1" fmla="*/ 9253 w 9979"/>
              <a:gd name="connsiteY1" fmla="*/ 198 h 5944"/>
              <a:gd name="connsiteX2" fmla="*/ 9482 w 9979"/>
              <a:gd name="connsiteY2" fmla="*/ 436 h 5944"/>
              <a:gd name="connsiteX3" fmla="*/ 9782 w 9979"/>
              <a:gd name="connsiteY3" fmla="*/ 742 h 5944"/>
              <a:gd name="connsiteX4" fmla="*/ 9979 w 9979"/>
              <a:gd name="connsiteY4" fmla="*/ 939 h 5944"/>
              <a:gd name="connsiteX5" fmla="*/ 9828 w 9979"/>
              <a:gd name="connsiteY5" fmla="*/ 1116 h 5944"/>
              <a:gd name="connsiteX6" fmla="*/ 9614 w 9979"/>
              <a:gd name="connsiteY6" fmla="*/ 1343 h 5944"/>
              <a:gd name="connsiteX7" fmla="*/ 9408 w 9979"/>
              <a:gd name="connsiteY7" fmla="*/ 1553 h 5944"/>
              <a:gd name="connsiteX8" fmla="*/ 9150 w 9979"/>
              <a:gd name="connsiteY8" fmla="*/ 1809 h 5944"/>
              <a:gd name="connsiteX9" fmla="*/ 8821 w 9979"/>
              <a:gd name="connsiteY9" fmla="*/ 2107 h 5944"/>
              <a:gd name="connsiteX10" fmla="*/ 8652 w 9979"/>
              <a:gd name="connsiteY10" fmla="*/ 2261 h 5944"/>
              <a:gd name="connsiteX11" fmla="*/ 8397 w 9979"/>
              <a:gd name="connsiteY11" fmla="*/ 2483 h 5944"/>
              <a:gd name="connsiteX12" fmla="*/ 8174 w 9979"/>
              <a:gd name="connsiteY12" fmla="*/ 2678 h 5944"/>
              <a:gd name="connsiteX13" fmla="*/ 7924 w 9979"/>
              <a:gd name="connsiteY13" fmla="*/ 2876 h 5944"/>
              <a:gd name="connsiteX14" fmla="*/ 7569 w 9979"/>
              <a:gd name="connsiteY14" fmla="*/ 3151 h 5944"/>
              <a:gd name="connsiteX15" fmla="*/ 7193 w 9979"/>
              <a:gd name="connsiteY15" fmla="*/ 3436 h 5944"/>
              <a:gd name="connsiteX16" fmla="*/ 6816 w 9979"/>
              <a:gd name="connsiteY16" fmla="*/ 3702 h 5944"/>
              <a:gd name="connsiteX17" fmla="*/ 6448 w 9979"/>
              <a:gd name="connsiteY17" fmla="*/ 3948 h 5944"/>
              <a:gd name="connsiteX18" fmla="*/ 5952 w 9979"/>
              <a:gd name="connsiteY18" fmla="*/ 4262 h 5944"/>
              <a:gd name="connsiteX19" fmla="*/ 5522 w 9979"/>
              <a:gd name="connsiteY19" fmla="*/ 4519 h 5944"/>
              <a:gd name="connsiteX20" fmla="*/ 5167 w 9979"/>
              <a:gd name="connsiteY20" fmla="*/ 4705 h 5944"/>
              <a:gd name="connsiteX21" fmla="*/ 4772 w 9979"/>
              <a:gd name="connsiteY21" fmla="*/ 4892 h 5944"/>
              <a:gd name="connsiteX22" fmla="*/ 4357 w 9979"/>
              <a:gd name="connsiteY22" fmla="*/ 5069 h 5944"/>
              <a:gd name="connsiteX23" fmla="*/ 3933 w 9979"/>
              <a:gd name="connsiteY23" fmla="*/ 5226 h 5944"/>
              <a:gd name="connsiteX24" fmla="*/ 3352 w 9979"/>
              <a:gd name="connsiteY24" fmla="*/ 5410 h 5944"/>
              <a:gd name="connsiteX25" fmla="*/ 2646 w 9979"/>
              <a:gd name="connsiteY25" fmla="*/ 5589 h 5944"/>
              <a:gd name="connsiteX26" fmla="*/ 2273 w 9979"/>
              <a:gd name="connsiteY26" fmla="*/ 5668 h 5944"/>
              <a:gd name="connsiteX27" fmla="*/ 1515 w 9979"/>
              <a:gd name="connsiteY27" fmla="*/ 5796 h 5944"/>
              <a:gd name="connsiteX28" fmla="*/ 1008 w 9979"/>
              <a:gd name="connsiteY28" fmla="*/ 5864 h 5944"/>
              <a:gd name="connsiteX29" fmla="*/ 551 w 9979"/>
              <a:gd name="connsiteY29" fmla="*/ 5916 h 5944"/>
              <a:gd name="connsiteX30" fmla="*/ 176 w 9979"/>
              <a:gd name="connsiteY30" fmla="*/ 5944 h 5944"/>
              <a:gd name="connsiteX31" fmla="*/ 9 w 9979"/>
              <a:gd name="connsiteY31" fmla="*/ 5943 h 5944"/>
              <a:gd name="connsiteX32" fmla="*/ 1 w 9979"/>
              <a:gd name="connsiteY32" fmla="*/ 5145 h 5944"/>
              <a:gd name="connsiteX33" fmla="*/ 1 w 9979"/>
              <a:gd name="connsiteY33" fmla="*/ 4594 h 5944"/>
              <a:gd name="connsiteX34" fmla="*/ 1 w 9979"/>
              <a:gd name="connsiteY34" fmla="*/ 2824 h 5944"/>
              <a:gd name="connsiteX35" fmla="*/ 0 w 9979"/>
              <a:gd name="connsiteY35" fmla="*/ 206 h 5944"/>
              <a:gd name="connsiteX0" fmla="*/ 0 w 10000"/>
              <a:gd name="connsiteY0" fmla="*/ 14 h 9667"/>
              <a:gd name="connsiteX1" fmla="*/ 9272 w 10000"/>
              <a:gd name="connsiteY1" fmla="*/ 0 h 9667"/>
              <a:gd name="connsiteX2" fmla="*/ 9502 w 10000"/>
              <a:gd name="connsiteY2" fmla="*/ 401 h 9667"/>
              <a:gd name="connsiteX3" fmla="*/ 9803 w 10000"/>
              <a:gd name="connsiteY3" fmla="*/ 915 h 9667"/>
              <a:gd name="connsiteX4" fmla="*/ 10000 w 10000"/>
              <a:gd name="connsiteY4" fmla="*/ 1247 h 9667"/>
              <a:gd name="connsiteX5" fmla="*/ 9849 w 10000"/>
              <a:gd name="connsiteY5" fmla="*/ 1545 h 9667"/>
              <a:gd name="connsiteX6" fmla="*/ 9634 w 10000"/>
              <a:gd name="connsiteY6" fmla="*/ 1926 h 9667"/>
              <a:gd name="connsiteX7" fmla="*/ 9428 w 10000"/>
              <a:gd name="connsiteY7" fmla="*/ 2280 h 9667"/>
              <a:gd name="connsiteX8" fmla="*/ 9169 w 10000"/>
              <a:gd name="connsiteY8" fmla="*/ 2710 h 9667"/>
              <a:gd name="connsiteX9" fmla="*/ 8840 w 10000"/>
              <a:gd name="connsiteY9" fmla="*/ 3212 h 9667"/>
              <a:gd name="connsiteX10" fmla="*/ 8670 w 10000"/>
              <a:gd name="connsiteY10" fmla="*/ 3471 h 9667"/>
              <a:gd name="connsiteX11" fmla="*/ 8415 w 10000"/>
              <a:gd name="connsiteY11" fmla="*/ 3844 h 9667"/>
              <a:gd name="connsiteX12" fmla="*/ 8191 w 10000"/>
              <a:gd name="connsiteY12" fmla="*/ 4172 h 9667"/>
              <a:gd name="connsiteX13" fmla="*/ 7941 w 10000"/>
              <a:gd name="connsiteY13" fmla="*/ 4505 h 9667"/>
              <a:gd name="connsiteX14" fmla="*/ 7585 w 10000"/>
              <a:gd name="connsiteY14" fmla="*/ 4968 h 9667"/>
              <a:gd name="connsiteX15" fmla="*/ 7208 w 10000"/>
              <a:gd name="connsiteY15" fmla="*/ 5448 h 9667"/>
              <a:gd name="connsiteX16" fmla="*/ 6830 w 10000"/>
              <a:gd name="connsiteY16" fmla="*/ 5895 h 9667"/>
              <a:gd name="connsiteX17" fmla="*/ 6462 w 10000"/>
              <a:gd name="connsiteY17" fmla="*/ 6309 h 9667"/>
              <a:gd name="connsiteX18" fmla="*/ 5965 w 10000"/>
              <a:gd name="connsiteY18" fmla="*/ 6837 h 9667"/>
              <a:gd name="connsiteX19" fmla="*/ 5534 w 10000"/>
              <a:gd name="connsiteY19" fmla="*/ 7270 h 9667"/>
              <a:gd name="connsiteX20" fmla="*/ 5178 w 10000"/>
              <a:gd name="connsiteY20" fmla="*/ 7583 h 9667"/>
              <a:gd name="connsiteX21" fmla="*/ 4782 w 10000"/>
              <a:gd name="connsiteY21" fmla="*/ 7897 h 9667"/>
              <a:gd name="connsiteX22" fmla="*/ 4366 w 10000"/>
              <a:gd name="connsiteY22" fmla="*/ 8195 h 9667"/>
              <a:gd name="connsiteX23" fmla="*/ 3941 w 10000"/>
              <a:gd name="connsiteY23" fmla="*/ 8459 h 9667"/>
              <a:gd name="connsiteX24" fmla="*/ 3359 w 10000"/>
              <a:gd name="connsiteY24" fmla="*/ 8769 h 9667"/>
              <a:gd name="connsiteX25" fmla="*/ 2652 w 10000"/>
              <a:gd name="connsiteY25" fmla="*/ 9070 h 9667"/>
              <a:gd name="connsiteX26" fmla="*/ 2278 w 10000"/>
              <a:gd name="connsiteY26" fmla="*/ 9203 h 9667"/>
              <a:gd name="connsiteX27" fmla="*/ 1518 w 10000"/>
              <a:gd name="connsiteY27" fmla="*/ 9418 h 9667"/>
              <a:gd name="connsiteX28" fmla="*/ 1010 w 10000"/>
              <a:gd name="connsiteY28" fmla="*/ 9532 h 9667"/>
              <a:gd name="connsiteX29" fmla="*/ 552 w 10000"/>
              <a:gd name="connsiteY29" fmla="*/ 9620 h 9667"/>
              <a:gd name="connsiteX30" fmla="*/ 176 w 10000"/>
              <a:gd name="connsiteY30" fmla="*/ 9667 h 9667"/>
              <a:gd name="connsiteX31" fmla="*/ 9 w 10000"/>
              <a:gd name="connsiteY31" fmla="*/ 9665 h 9667"/>
              <a:gd name="connsiteX32" fmla="*/ 1 w 10000"/>
              <a:gd name="connsiteY32" fmla="*/ 8323 h 9667"/>
              <a:gd name="connsiteX33" fmla="*/ 1 w 10000"/>
              <a:gd name="connsiteY33" fmla="*/ 7396 h 9667"/>
              <a:gd name="connsiteX34" fmla="*/ 1 w 10000"/>
              <a:gd name="connsiteY34" fmla="*/ 4418 h 9667"/>
              <a:gd name="connsiteX35" fmla="*/ 0 w 10000"/>
              <a:gd name="connsiteY35" fmla="*/ 14 h 9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000" h="9667">
                <a:moveTo>
                  <a:pt x="0" y="14"/>
                </a:moveTo>
                <a:lnTo>
                  <a:pt x="9272" y="0"/>
                </a:lnTo>
                <a:lnTo>
                  <a:pt x="9502" y="401"/>
                </a:lnTo>
                <a:cubicBezTo>
                  <a:pt x="9590" y="554"/>
                  <a:pt x="9719" y="774"/>
                  <a:pt x="9803" y="915"/>
                </a:cubicBezTo>
                <a:lnTo>
                  <a:pt x="10000" y="1247"/>
                </a:lnTo>
                <a:cubicBezTo>
                  <a:pt x="10004" y="1227"/>
                  <a:pt x="9910" y="1433"/>
                  <a:pt x="9849" y="1545"/>
                </a:cubicBezTo>
                <a:cubicBezTo>
                  <a:pt x="9788" y="1657"/>
                  <a:pt x="9703" y="1804"/>
                  <a:pt x="9634" y="1926"/>
                </a:cubicBezTo>
                <a:lnTo>
                  <a:pt x="9428" y="2280"/>
                </a:lnTo>
                <a:cubicBezTo>
                  <a:pt x="9350" y="2411"/>
                  <a:pt x="9266" y="2554"/>
                  <a:pt x="9169" y="2710"/>
                </a:cubicBezTo>
                <a:cubicBezTo>
                  <a:pt x="9071" y="2865"/>
                  <a:pt x="8923" y="3086"/>
                  <a:pt x="8840" y="3212"/>
                </a:cubicBezTo>
                <a:cubicBezTo>
                  <a:pt x="8783" y="3298"/>
                  <a:pt x="8727" y="3385"/>
                  <a:pt x="8670" y="3471"/>
                </a:cubicBezTo>
                <a:cubicBezTo>
                  <a:pt x="8600" y="3577"/>
                  <a:pt x="8495" y="3727"/>
                  <a:pt x="8415" y="3844"/>
                </a:cubicBezTo>
                <a:cubicBezTo>
                  <a:pt x="8335" y="3962"/>
                  <a:pt x="8268" y="4063"/>
                  <a:pt x="8191" y="4172"/>
                </a:cubicBezTo>
                <a:cubicBezTo>
                  <a:pt x="8112" y="4283"/>
                  <a:pt x="8042" y="4373"/>
                  <a:pt x="7941" y="4505"/>
                </a:cubicBezTo>
                <a:lnTo>
                  <a:pt x="7585" y="4968"/>
                </a:lnTo>
                <a:cubicBezTo>
                  <a:pt x="7464" y="5126"/>
                  <a:pt x="7334" y="5295"/>
                  <a:pt x="7208" y="5448"/>
                </a:cubicBezTo>
                <a:cubicBezTo>
                  <a:pt x="7082" y="5602"/>
                  <a:pt x="6955" y="5750"/>
                  <a:pt x="6830" y="5895"/>
                </a:cubicBezTo>
                <a:cubicBezTo>
                  <a:pt x="6707" y="6038"/>
                  <a:pt x="6606" y="6151"/>
                  <a:pt x="6462" y="6309"/>
                </a:cubicBezTo>
                <a:lnTo>
                  <a:pt x="5965" y="6837"/>
                </a:lnTo>
                <a:cubicBezTo>
                  <a:pt x="5810" y="6999"/>
                  <a:pt x="5665" y="7145"/>
                  <a:pt x="5534" y="7270"/>
                </a:cubicBezTo>
                <a:cubicBezTo>
                  <a:pt x="5401" y="7392"/>
                  <a:pt x="5303" y="7478"/>
                  <a:pt x="5178" y="7583"/>
                </a:cubicBezTo>
                <a:cubicBezTo>
                  <a:pt x="5053" y="7687"/>
                  <a:pt x="4917" y="7795"/>
                  <a:pt x="4782" y="7897"/>
                </a:cubicBezTo>
                <a:cubicBezTo>
                  <a:pt x="4648" y="8000"/>
                  <a:pt x="4506" y="8101"/>
                  <a:pt x="4366" y="8195"/>
                </a:cubicBezTo>
                <a:cubicBezTo>
                  <a:pt x="4226" y="8289"/>
                  <a:pt x="4110" y="8363"/>
                  <a:pt x="3941" y="8459"/>
                </a:cubicBezTo>
                <a:cubicBezTo>
                  <a:pt x="3774" y="8555"/>
                  <a:pt x="3574" y="8668"/>
                  <a:pt x="3359" y="8769"/>
                </a:cubicBezTo>
                <a:cubicBezTo>
                  <a:pt x="3145" y="8870"/>
                  <a:pt x="2832" y="8997"/>
                  <a:pt x="2652" y="9070"/>
                </a:cubicBezTo>
                <a:cubicBezTo>
                  <a:pt x="2473" y="9142"/>
                  <a:pt x="2467" y="9144"/>
                  <a:pt x="2278" y="9203"/>
                </a:cubicBezTo>
                <a:cubicBezTo>
                  <a:pt x="2087" y="9260"/>
                  <a:pt x="1730" y="9362"/>
                  <a:pt x="1518" y="9418"/>
                </a:cubicBezTo>
                <a:cubicBezTo>
                  <a:pt x="1307" y="9472"/>
                  <a:pt x="1170" y="9499"/>
                  <a:pt x="1010" y="9532"/>
                </a:cubicBezTo>
                <a:cubicBezTo>
                  <a:pt x="849" y="9566"/>
                  <a:pt x="691" y="9598"/>
                  <a:pt x="552" y="9620"/>
                </a:cubicBezTo>
                <a:cubicBezTo>
                  <a:pt x="413" y="9643"/>
                  <a:pt x="260" y="9662"/>
                  <a:pt x="176" y="9667"/>
                </a:cubicBezTo>
                <a:lnTo>
                  <a:pt x="9" y="9665"/>
                </a:lnTo>
                <a:cubicBezTo>
                  <a:pt x="6" y="9218"/>
                  <a:pt x="4" y="8770"/>
                  <a:pt x="1" y="8323"/>
                </a:cubicBezTo>
                <a:cubicBezTo>
                  <a:pt x="-1" y="7944"/>
                  <a:pt x="1" y="8047"/>
                  <a:pt x="1" y="7396"/>
                </a:cubicBezTo>
                <a:lnTo>
                  <a:pt x="1" y="4418"/>
                </a:lnTo>
                <a:cubicBezTo>
                  <a:pt x="2" y="3205"/>
                  <a:pt x="1" y="1943"/>
                  <a:pt x="0" y="14"/>
                </a:cubicBezTo>
                <a:close/>
              </a:path>
            </a:pathLst>
          </a:custGeom>
          <a:no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dirty="0"/>
          </a:p>
        </p:txBody>
      </p:sp>
      <p:pic>
        <p:nvPicPr>
          <p:cNvPr id="9" name="Image 8"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10" name="Image 9"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3" name="Tekstvak 2"/>
          <p:cNvSpPr txBox="1"/>
          <p:nvPr userDrawn="1"/>
        </p:nvSpPr>
        <p:spPr>
          <a:xfrm>
            <a:off x="1778000" y="2489200"/>
            <a:ext cx="8422640" cy="1241237"/>
          </a:xfrm>
          <a:prstGeom prst="rect">
            <a:avLst/>
          </a:prstGeom>
          <a:noFill/>
        </p:spPr>
        <p:txBody>
          <a:bodyPr wrap="square" rtlCol="0">
            <a:spAutoFit/>
          </a:bodyPr>
          <a:lstStyle/>
          <a:p>
            <a:pPr algn="ctr"/>
            <a:r>
              <a:rPr lang="fr-FR" sz="3733" b="1" dirty="0">
                <a:latin typeface="Arial" panose="020B0604020202020204" pitchFamily="34" charset="0"/>
                <a:cs typeface="Arial" panose="020B0604020202020204" pitchFamily="34" charset="0"/>
              </a:rPr>
              <a:t>THE BEST OF TECHNOLOGY</a:t>
            </a:r>
            <a:br>
              <a:rPr lang="fr-FR" sz="3733" b="1" dirty="0">
                <a:latin typeface="Arial" panose="020B0604020202020204" pitchFamily="34" charset="0"/>
                <a:cs typeface="Arial" panose="020B0604020202020204" pitchFamily="34" charset="0"/>
              </a:rPr>
            </a:br>
            <a:r>
              <a:rPr lang="fr-FR" sz="3733" b="1" dirty="0">
                <a:solidFill>
                  <a:schemeClr val="accent1"/>
                </a:solidFill>
                <a:latin typeface="Arial" panose="020B0604020202020204" pitchFamily="34" charset="0"/>
                <a:cs typeface="Arial" panose="020B0604020202020204" pitchFamily="34" charset="0"/>
              </a:rPr>
              <a:t>WITH A HUMAN TOUCH</a:t>
            </a:r>
            <a:endParaRPr lang="nl-NL" sz="3733" b="1" dirty="0">
              <a:solidFill>
                <a:schemeClr val="accent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8633946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Influencer - No Logos">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76011" y="381000"/>
            <a:ext cx="11175647" cy="609600"/>
          </a:xfrm>
          <a:prstGeom prst="rect">
            <a:avLst/>
          </a:prstGeom>
        </p:spPr>
        <p:txBody>
          <a:bodyPr vert="horz" lIns="91440" tIns="45720" rIns="91440" bIns="45720" rtlCol="0" anchor="ctr">
            <a:normAutofit/>
          </a:bodyPr>
          <a:lstStyle/>
          <a:p>
            <a:r>
              <a:rPr lang="en-US" dirty="0"/>
              <a:t>Click to edit Master title style</a:t>
            </a:r>
          </a:p>
        </p:txBody>
      </p:sp>
      <p:sp>
        <p:nvSpPr>
          <p:cNvPr id="18" name="Text Placeholder 15"/>
          <p:cNvSpPr>
            <a:spLocks noGrp="1"/>
          </p:cNvSpPr>
          <p:nvPr>
            <p:ph type="body" sz="quarter" idx="10"/>
          </p:nvPr>
        </p:nvSpPr>
        <p:spPr>
          <a:xfrm>
            <a:off x="3815934" y="990600"/>
            <a:ext cx="4495800" cy="381000"/>
          </a:xfrm>
          <a:prstGeom prst="rect">
            <a:avLst/>
          </a:prstGeom>
        </p:spPr>
        <p:txBody>
          <a:bodyPr/>
          <a:lstStyle>
            <a:lvl1pPr>
              <a:defRPr sz="2400">
                <a:solidFill>
                  <a:schemeClr val="bg1">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1400200255"/>
      </p:ext>
    </p:extLst>
  </p:cSld>
  <p:clrMapOvr>
    <a:masterClrMapping/>
  </p:clrMapOvr>
  <p:transition spd="slow">
    <p:wip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Influencer - With Logos">
    <p:spTree>
      <p:nvGrpSpPr>
        <p:cNvPr id="1" name=""/>
        <p:cNvGrpSpPr/>
        <p:nvPr/>
      </p:nvGrpSpPr>
      <p:grpSpPr>
        <a:xfrm>
          <a:off x="0" y="0"/>
          <a:ext cx="0" cy="0"/>
          <a:chOff x="0" y="0"/>
          <a:chExt cx="0" cy="0"/>
        </a:xfrm>
      </p:grpSpPr>
      <p:sp>
        <p:nvSpPr>
          <p:cNvPr id="18" name="Text Placeholder 15"/>
          <p:cNvSpPr>
            <a:spLocks noGrp="1"/>
          </p:cNvSpPr>
          <p:nvPr>
            <p:ph type="body" sz="quarter" idx="10"/>
          </p:nvPr>
        </p:nvSpPr>
        <p:spPr>
          <a:xfrm>
            <a:off x="3815934" y="990600"/>
            <a:ext cx="4495800" cy="381000"/>
          </a:xfrm>
          <a:prstGeom prst="rect">
            <a:avLst/>
          </a:prstGeom>
        </p:spPr>
        <p:txBody>
          <a:bodyPr/>
          <a:lstStyle>
            <a:lvl1pPr>
              <a:defRPr sz="2400">
                <a:solidFill>
                  <a:schemeClr val="tx1">
                    <a:lumMod val="65000"/>
                    <a:lumOff val="35000"/>
                  </a:schemeClr>
                </a:solidFill>
              </a:defRPr>
            </a:lvl1pPr>
          </a:lstStyle>
          <a:p>
            <a:pPr lvl="0"/>
            <a:r>
              <a:rPr lang="en-US" dirty="0"/>
              <a:t>Click to edit Master text styles</a:t>
            </a:r>
          </a:p>
        </p:txBody>
      </p:sp>
      <p:sp>
        <p:nvSpPr>
          <p:cNvPr id="6" name="Title Placeholder 1"/>
          <p:cNvSpPr>
            <a:spLocks noGrp="1"/>
          </p:cNvSpPr>
          <p:nvPr>
            <p:ph type="title"/>
          </p:nvPr>
        </p:nvSpPr>
        <p:spPr>
          <a:xfrm>
            <a:off x="476011" y="381000"/>
            <a:ext cx="11175647" cy="609600"/>
          </a:xfrm>
          <a:prstGeom prst="rect">
            <a:avLst/>
          </a:prstGeom>
        </p:spPr>
        <p:txBody>
          <a:bodyPr vert="horz" lIns="91440" tIns="45720" rIns="91440" bIns="45720" rtlCol="0" anchor="ctr">
            <a:noAutofit/>
          </a:bodyPr>
          <a:lstStyle>
            <a:lvl1pPr>
              <a:defRPr>
                <a:solidFill>
                  <a:srgbClr val="74C095"/>
                </a:solidFill>
              </a:defRPr>
            </a:lvl1pPr>
          </a:lstStyle>
          <a:p>
            <a:r>
              <a:rPr lang="en-US" dirty="0"/>
              <a:t>Click to edit Master title style</a:t>
            </a:r>
          </a:p>
        </p:txBody>
      </p:sp>
    </p:spTree>
    <p:extLst>
      <p:ext uri="{BB962C8B-B14F-4D97-AF65-F5344CB8AC3E}">
        <p14:creationId xmlns:p14="http://schemas.microsoft.com/office/powerpoint/2010/main" val="673524886"/>
      </p:ext>
    </p:extLst>
  </p:cSld>
  <p:clrMapOvr>
    <a:masterClrMapping/>
  </p:clrMapOvr>
  <p:transition spd="slow">
    <p:wip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userDrawn="1">
  <p:cSld name="Startpage, pictur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003" y="1053737"/>
            <a:ext cx="12240000" cy="2864348"/>
          </a:xfrm>
          <a:prstGeom prst="rect">
            <a:avLst/>
          </a:prstGeom>
        </p:spPr>
      </p:pic>
      <p:sp>
        <p:nvSpPr>
          <p:cNvPr id="2" name="Rubrik 1"/>
          <p:cNvSpPr>
            <a:spLocks noGrp="1"/>
          </p:cNvSpPr>
          <p:nvPr>
            <p:ph type="ctrTitle" hasCustomPrompt="1"/>
          </p:nvPr>
        </p:nvSpPr>
        <p:spPr>
          <a:xfrm>
            <a:off x="480000" y="240000"/>
            <a:ext cx="9600000" cy="480000"/>
          </a:xfrm>
        </p:spPr>
        <p:txBody>
          <a:bodyPr/>
          <a:lstStyle>
            <a:lvl1pPr>
              <a:defRPr baseline="0"/>
            </a:lvl1pPr>
          </a:lstStyle>
          <a:p>
            <a:r>
              <a:rPr lang="en-US" noProof="0" dirty="0"/>
              <a:t>Headline First line</a:t>
            </a:r>
          </a:p>
        </p:txBody>
      </p:sp>
      <p:sp>
        <p:nvSpPr>
          <p:cNvPr id="3" name="Underrubrik 2"/>
          <p:cNvSpPr>
            <a:spLocks noGrp="1"/>
          </p:cNvSpPr>
          <p:nvPr>
            <p:ph type="subTitle" idx="1" hasCustomPrompt="1"/>
          </p:nvPr>
        </p:nvSpPr>
        <p:spPr>
          <a:xfrm>
            <a:off x="480000" y="720000"/>
            <a:ext cx="9600000" cy="480000"/>
          </a:xfrm>
        </p:spPr>
        <p:txBody>
          <a:bodyPr>
            <a:noAutofit/>
          </a:bodyPr>
          <a:lstStyle>
            <a:lvl1pPr marL="0" indent="0" algn="l">
              <a:lnSpc>
                <a:spcPct val="100000"/>
              </a:lnSpc>
              <a:spcAft>
                <a:spcPts val="0"/>
              </a:spcAft>
              <a:buNone/>
              <a:defRPr sz="3733" cap="all" baseline="0">
                <a:solidFill>
                  <a:schemeClr val="accent2"/>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Headline Second line</a:t>
            </a:r>
          </a:p>
        </p:txBody>
      </p:sp>
      <p:sp>
        <p:nvSpPr>
          <p:cNvPr id="4" name="Platshållare för datum 3"/>
          <p:cNvSpPr>
            <a:spLocks noGrp="1"/>
          </p:cNvSpPr>
          <p:nvPr>
            <p:ph type="dt" sz="half" idx="10"/>
          </p:nvPr>
        </p:nvSpPr>
        <p:spPr/>
        <p:txBody>
          <a:bodyPr/>
          <a:lstStyle/>
          <a:p>
            <a:fld id="{FD53EE5B-179B-42EF-B88C-5BE3C7D22739}" type="datetime1">
              <a:rPr lang="en-US" smtClean="0"/>
              <a:t>5/2/2019</a:t>
            </a:fld>
            <a:endParaRPr lang="en-US"/>
          </a:p>
        </p:txBody>
      </p:sp>
      <p:sp>
        <p:nvSpPr>
          <p:cNvPr id="5" name="Platshållare för sidfot 4"/>
          <p:cNvSpPr>
            <a:spLocks noGrp="1"/>
          </p:cNvSpPr>
          <p:nvPr>
            <p:ph type="ftr" sz="quarter" idx="11"/>
          </p:nvPr>
        </p:nvSpPr>
        <p:spPr/>
        <p:txBody>
          <a:bodyPr/>
          <a:lstStyle/>
          <a:p>
            <a:r>
              <a:rPr lang="en-US" dirty="0"/>
              <a:t>SANDVIK: Title of presentation</a:t>
            </a:r>
          </a:p>
        </p:txBody>
      </p:sp>
      <p:sp>
        <p:nvSpPr>
          <p:cNvPr id="6" name="Platshållare för bildnummer 5"/>
          <p:cNvSpPr>
            <a:spLocks noGrp="1"/>
          </p:cNvSpPr>
          <p:nvPr>
            <p:ph type="sldNum" sz="quarter" idx="12"/>
          </p:nvPr>
        </p:nvSpPr>
        <p:spPr/>
        <p:txBody>
          <a:bodyPr/>
          <a:lstStyle/>
          <a:p>
            <a:fld id="{469B62F1-B431-48B6-8270-02431A1685B7}" type="slidenum">
              <a:rPr lang="en-US" smtClean="0"/>
              <a:t>‹#›</a:t>
            </a:fld>
            <a:endParaRPr lang="en-US"/>
          </a:p>
        </p:txBody>
      </p:sp>
      <p:pic>
        <p:nvPicPr>
          <p:cNvPr id="9" name="Bildobjekt 8" descr="SAV_Logo_cyan_RGB300.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25517" y="366888"/>
            <a:ext cx="1186484" cy="431997"/>
          </a:xfrm>
          <a:prstGeom prst="rect">
            <a:avLst/>
          </a:prstGeom>
        </p:spPr>
      </p:pic>
      <p:sp>
        <p:nvSpPr>
          <p:cNvPr id="8" name="Rectangular Callout 7"/>
          <p:cNvSpPr/>
          <p:nvPr userDrawn="1"/>
        </p:nvSpPr>
        <p:spPr>
          <a:xfrm>
            <a:off x="12576720" y="-712"/>
            <a:ext cx="1920000" cy="3600000"/>
          </a:xfrm>
          <a:prstGeom prst="wedgeRectCallout">
            <a:avLst>
              <a:gd name="adj1" fmla="val -60810"/>
              <a:gd name="adj2" fmla="val -20925"/>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067" noProof="0" dirty="0"/>
              <a:t>We use a two-color</a:t>
            </a:r>
            <a:r>
              <a:rPr lang="en-US" sz="1067" baseline="0" noProof="0" dirty="0"/>
              <a:t> headline system to highlight our rational and emotional side alike. The first line appears in blue (the rational side), the second line in orange (the emotional side) and the duality principle is reflected in the wording of the headline.</a:t>
            </a:r>
          </a:p>
          <a:p>
            <a:pPr algn="l"/>
            <a:endParaRPr lang="en-US" sz="1333" b="1" baseline="0" noProof="0" dirty="0"/>
          </a:p>
          <a:p>
            <a:pPr algn="l"/>
            <a:r>
              <a:rPr lang="en-US" sz="1067" b="1" baseline="0" noProof="0" dirty="0"/>
              <a:t>This system refers to the first page title only, all other headlines are blue.</a:t>
            </a:r>
          </a:p>
          <a:p>
            <a:pPr algn="l"/>
            <a:endParaRPr lang="en-US" sz="1333" b="1" baseline="0" noProof="0" dirty="0"/>
          </a:p>
          <a:p>
            <a:pPr algn="l"/>
            <a:r>
              <a:rPr lang="en-US" sz="1067" b="0" baseline="0" noProof="0" dirty="0"/>
              <a:t>Learn more about our verbal identity in the Sandvik Brand Identity Directives, which you can download at the Intranet.</a:t>
            </a:r>
            <a:r>
              <a:rPr lang="en-US" sz="1067" baseline="0" noProof="0" dirty="0"/>
              <a:t> </a:t>
            </a:r>
            <a:endParaRPr lang="en-US" sz="1067" noProof="0" dirty="0"/>
          </a:p>
        </p:txBody>
      </p:sp>
      <p:sp>
        <p:nvSpPr>
          <p:cNvPr id="11" name="Picture Placeholder 7"/>
          <p:cNvSpPr>
            <a:spLocks noGrp="1"/>
          </p:cNvSpPr>
          <p:nvPr>
            <p:ph type="pic" sz="quarter" idx="13"/>
          </p:nvPr>
        </p:nvSpPr>
        <p:spPr>
          <a:xfrm>
            <a:off x="0" y="1794351"/>
            <a:ext cx="12192000" cy="5063651"/>
          </a:xfrm>
          <a:custGeom>
            <a:avLst/>
            <a:gdLst>
              <a:gd name="connsiteX0" fmla="*/ 632660 w 9144000"/>
              <a:gd name="connsiteY0" fmla="*/ 0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632660 h 3795886"/>
              <a:gd name="connsiteX8" fmla="*/ 632660 w 9144000"/>
              <a:gd name="connsiteY8" fmla="*/ 0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632660 h 3795886"/>
              <a:gd name="connsiteX8" fmla="*/ 2769178 w 9144000"/>
              <a:gd name="connsiteY8" fmla="*/ 207698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397835 h 3795886"/>
              <a:gd name="connsiteX8" fmla="*/ 2769178 w 9144000"/>
              <a:gd name="connsiteY8" fmla="*/ 207698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69178 w 9144000"/>
              <a:gd name="connsiteY8" fmla="*/ 207698 h 3795886"/>
              <a:gd name="connsiteX0" fmla="*/ 2750128 w 9144000"/>
              <a:gd name="connsiteY0" fmla="*/ 1323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50128 w 9144000"/>
              <a:gd name="connsiteY8" fmla="*/ 1323 h 3795886"/>
              <a:gd name="connsiteX0" fmla="*/ 2753303 w 9144000"/>
              <a:gd name="connsiteY0" fmla="*/ 4894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53303 w 9144000"/>
              <a:gd name="connsiteY8" fmla="*/ 48948 h 3795886"/>
              <a:gd name="connsiteX0" fmla="*/ 2743778 w 9144000"/>
              <a:gd name="connsiteY0" fmla="*/ 0 h 3797738"/>
              <a:gd name="connsiteX1" fmla="*/ 8511340 w 9144000"/>
              <a:gd name="connsiteY1" fmla="*/ 1852 h 3797738"/>
              <a:gd name="connsiteX2" fmla="*/ 9144000 w 9144000"/>
              <a:gd name="connsiteY2" fmla="*/ 634512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8511340 w 9144000"/>
              <a:gd name="connsiteY1" fmla="*/ 185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14365 w 9144000"/>
              <a:gd name="connsiteY1" fmla="*/ 57335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32077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04840 w 9144000"/>
              <a:gd name="connsiteY1" fmla="*/ 627327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17540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4000" h="3797738">
                <a:moveTo>
                  <a:pt x="2743778" y="0"/>
                </a:moveTo>
                <a:lnTo>
                  <a:pt x="7317540" y="528902"/>
                </a:lnTo>
                <a:lnTo>
                  <a:pt x="9144000" y="529737"/>
                </a:lnTo>
                <a:lnTo>
                  <a:pt x="9144000" y="3797738"/>
                </a:lnTo>
                <a:lnTo>
                  <a:pt x="9144000" y="3797738"/>
                </a:lnTo>
                <a:lnTo>
                  <a:pt x="0" y="3797738"/>
                </a:lnTo>
                <a:lnTo>
                  <a:pt x="0" y="3797738"/>
                </a:lnTo>
                <a:lnTo>
                  <a:pt x="0" y="1583837"/>
                </a:lnTo>
                <a:lnTo>
                  <a:pt x="2743778" y="0"/>
                </a:lnTo>
                <a:close/>
              </a:path>
            </a:pathLst>
          </a:custGeom>
          <a:noFill/>
        </p:spPr>
        <p:txBody>
          <a:bodyPr/>
          <a:lstStyle>
            <a:lvl1pPr marL="0" indent="0">
              <a:buNone/>
              <a:defRPr/>
            </a:lvl1pPr>
          </a:lstStyle>
          <a:p>
            <a:r>
              <a:rPr lang="en-US"/>
              <a:t>Click icon to add picture</a:t>
            </a:r>
            <a:endParaRPr lang="sv-SE" dirty="0"/>
          </a:p>
        </p:txBody>
      </p:sp>
    </p:spTree>
    <p:extLst>
      <p:ext uri="{BB962C8B-B14F-4D97-AF65-F5344CB8AC3E}">
        <p14:creationId xmlns:p14="http://schemas.microsoft.com/office/powerpoint/2010/main" val="2247975975"/>
      </p:ext>
    </p:extLst>
  </p:cSld>
  <p:clrMapOvr>
    <a:masterClrMapping/>
  </p:clrMapOvr>
  <p:transition spd="slow" advTm="5000">
    <p:push dir="u"/>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39" y="1562101"/>
            <a:ext cx="11653523" cy="2050772"/>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5188978"/>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45562144"/>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08550" y="3575431"/>
            <a:ext cx="11192219" cy="3076192"/>
          </a:xfrm>
          <a:prstGeom prst="rect">
            <a:avLst/>
          </a:prstGeom>
          <a:solidFill>
            <a:schemeClr val="tx2"/>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297802" y="1796852"/>
            <a:ext cx="9402967" cy="1737875"/>
          </a:xfrm>
          <a:prstGeom prst="rect">
            <a:avLst/>
          </a:prstGeom>
          <a:solidFill>
            <a:schemeClr val="tx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08550" y="1832855"/>
            <a:ext cx="1789252" cy="1586325"/>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309465" y="1996633"/>
            <a:ext cx="0" cy="1313986"/>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28132" y="2476620"/>
            <a:ext cx="1701872"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1" y="2104245"/>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0" y="2225484"/>
            <a:ext cx="2659303" cy="886397"/>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5455754" y="2530183"/>
            <a:ext cx="5996440" cy="276999"/>
          </a:xfrm>
        </p:spPr>
        <p:txBody>
          <a:bodyPr lIns="0" tIns="0" rIns="0" bIns="0" anchor="ctr"/>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9" name="Text Placeholder 7"/>
          <p:cNvSpPr>
            <a:spLocks noGrp="1"/>
          </p:cNvSpPr>
          <p:nvPr>
            <p:ph type="body" sz="quarter" idx="13"/>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1961473742"/>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575431"/>
            <a:ext cx="12192000" cy="3282570"/>
          </a:xfrm>
          <a:prstGeom prst="rect">
            <a:avLst/>
          </a:prstGeom>
          <a:solidFill>
            <a:schemeClr val="tx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2"/>
            <a:ext cx="10386672" cy="1737875"/>
          </a:xfrm>
          <a:prstGeom prst="rect">
            <a:avLst/>
          </a:prstGeom>
          <a:solidFill>
            <a:schemeClr val="tx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8" y="1796852"/>
            <a:ext cx="1789252" cy="1737874"/>
          </a:xfrm>
          <a:prstGeom prst="rect">
            <a:avLst/>
          </a:prstGeom>
          <a:solidFill>
            <a:schemeClr val="bg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60" y="2473078"/>
            <a:ext cx="1694788"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6" cy="443198"/>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1938928" y="2530183"/>
            <a:ext cx="9513266" cy="276999"/>
          </a:xfrm>
        </p:spPr>
        <p:txBody>
          <a:bodyPr lIns="0" tIns="0" rIns="0" bIns="0" anchor="t" anchorCtr="0"/>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372531647"/>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apositive de titre-V2">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2" name="Titre 1"/>
          <p:cNvSpPr>
            <a:spLocks noGrp="1"/>
          </p:cNvSpPr>
          <p:nvPr>
            <p:ph type="ctrTitle"/>
          </p:nvPr>
        </p:nvSpPr>
        <p:spPr>
          <a:xfrm>
            <a:off x="866365"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a:p>
        </p:txBody>
      </p:sp>
      <p:sp>
        <p:nvSpPr>
          <p:cNvPr id="3" name="Sous-titre 2"/>
          <p:cNvSpPr>
            <a:spLocks noGrp="1"/>
          </p:cNvSpPr>
          <p:nvPr>
            <p:ph type="subTitle" idx="1"/>
          </p:nvPr>
        </p:nvSpPr>
        <p:spPr>
          <a:xfrm>
            <a:off x="858676" y="3985273"/>
            <a:ext cx="5969691"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8" name="Espace réservé du texte 15"/>
          <p:cNvSpPr>
            <a:spLocks noGrp="1"/>
          </p:cNvSpPr>
          <p:nvPr>
            <p:ph type="body" sz="quarter" idx="12"/>
          </p:nvPr>
        </p:nvSpPr>
        <p:spPr>
          <a:xfrm>
            <a:off x="872861" y="6210695"/>
            <a:ext cx="5955504"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Espace réservé pour une image  20"/>
          <p:cNvSpPr>
            <a:spLocks noGrp="1" noChangeAspect="1"/>
          </p:cNvSpPr>
          <p:nvPr>
            <p:ph type="pic" sz="quarter" idx="10"/>
          </p:nvPr>
        </p:nvSpPr>
        <p:spPr>
          <a:xfrm>
            <a:off x="7897202" y="1118250"/>
            <a:ext cx="4311428" cy="4734863"/>
          </a:xfrm>
          <a:custGeom>
            <a:avLst/>
            <a:gdLst>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0 w 6044400"/>
              <a:gd name="connsiteY22" fmla="*/ 1424179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9412"/>
              <a:gd name="connsiteY0" fmla="*/ 0 h 4143153"/>
              <a:gd name="connsiteX1" fmla="*/ 2442246 w 6049412"/>
              <a:gd name="connsiteY1" fmla="*/ 2597 h 4143153"/>
              <a:gd name="connsiteX2" fmla="*/ 5615266 w 6049412"/>
              <a:gd name="connsiteY2" fmla="*/ 354124 h 4143153"/>
              <a:gd name="connsiteX3" fmla="*/ 5976734 w 6049412"/>
              <a:gd name="connsiteY3" fmla="*/ 368537 h 4143153"/>
              <a:gd name="connsiteX4" fmla="*/ 6044400 w 6049412"/>
              <a:gd name="connsiteY4" fmla="*/ 511023 h 4143153"/>
              <a:gd name="connsiteX5" fmla="*/ 6044400 w 6049412"/>
              <a:gd name="connsiteY5" fmla="*/ 1228503 h 4143153"/>
              <a:gd name="connsiteX6" fmla="*/ 6044400 w 6049412"/>
              <a:gd name="connsiteY6" fmla="*/ 1254629 h 4143153"/>
              <a:gd name="connsiteX7" fmla="*/ 6044400 w 6049412"/>
              <a:gd name="connsiteY7" fmla="*/ 1302554 h 4143153"/>
              <a:gd name="connsiteX8" fmla="*/ 6044400 w 6049412"/>
              <a:gd name="connsiteY8" fmla="*/ 1339878 h 4143153"/>
              <a:gd name="connsiteX9" fmla="*/ 6044400 w 6049412"/>
              <a:gd name="connsiteY9" fmla="*/ 1367926 h 4143153"/>
              <a:gd name="connsiteX10" fmla="*/ 6044400 w 6049412"/>
              <a:gd name="connsiteY10" fmla="*/ 1388023 h 4143153"/>
              <a:gd name="connsiteX11" fmla="*/ 6044400 w 6049412"/>
              <a:gd name="connsiteY11" fmla="*/ 1401495 h 4143153"/>
              <a:gd name="connsiteX12" fmla="*/ 6044400 w 6049412"/>
              <a:gd name="connsiteY12" fmla="*/ 1413863 h 4143153"/>
              <a:gd name="connsiteX13" fmla="*/ 6044400 w 6049412"/>
              <a:gd name="connsiteY13" fmla="*/ 1415630 h 4143153"/>
              <a:gd name="connsiteX14" fmla="*/ 6044400 w 6049412"/>
              <a:gd name="connsiteY14" fmla="*/ 4143153 h 4143153"/>
              <a:gd name="connsiteX15" fmla="*/ 0 w 6049412"/>
              <a:gd name="connsiteY15" fmla="*/ 4143153 h 4143153"/>
              <a:gd name="connsiteX16" fmla="*/ 0 w 6049412"/>
              <a:gd name="connsiteY16" fmla="*/ 3959500 h 4143153"/>
              <a:gd name="connsiteX17" fmla="*/ 0 w 6049412"/>
              <a:gd name="connsiteY17" fmla="*/ 1494981 h 4143153"/>
              <a:gd name="connsiteX18" fmla="*/ 0 w 6049412"/>
              <a:gd name="connsiteY18" fmla="*/ 1492359 h 4143153"/>
              <a:gd name="connsiteX19" fmla="*/ 0 w 6049412"/>
              <a:gd name="connsiteY19" fmla="*/ 1486131 h 4143153"/>
              <a:gd name="connsiteX20" fmla="*/ 1684243 w 6049412"/>
              <a:gd name="connsiteY20" fmla="*/ 2271145 h 4143153"/>
              <a:gd name="connsiteX21" fmla="*/ 1917876 w 6049412"/>
              <a:gd name="connsiteY21" fmla="*/ 2053203 h 4143153"/>
              <a:gd name="connsiteX22" fmla="*/ 2134576 w 6049412"/>
              <a:gd name="connsiteY22" fmla="*/ 1868604 h 4143153"/>
              <a:gd name="connsiteX23" fmla="*/ 2251663 w 6049412"/>
              <a:gd name="connsiteY23" fmla="*/ 1780374 h 4143153"/>
              <a:gd name="connsiteX24" fmla="*/ 2368749 w 6049412"/>
              <a:gd name="connsiteY24" fmla="*/ 1692940 h 4143153"/>
              <a:gd name="connsiteX25" fmla="*/ 0 w 6049412"/>
              <a:gd name="connsiteY25" fmla="*/ 1327153 h 4143153"/>
              <a:gd name="connsiteX26" fmla="*/ 0 w 6049412"/>
              <a:gd name="connsiteY26" fmla="*/ 1256023 h 4143153"/>
              <a:gd name="connsiteX27" fmla="*/ 0 w 6049412"/>
              <a:gd name="connsiteY27" fmla="*/ 1231417 h 4143153"/>
              <a:gd name="connsiteX28" fmla="*/ 0 w 6049412"/>
              <a:gd name="connsiteY28" fmla="*/ 1228503 h 4143153"/>
              <a:gd name="connsiteX29" fmla="*/ 0 w 6049412"/>
              <a:gd name="connsiteY29" fmla="*/ 1085073 h 4143153"/>
              <a:gd name="connsiteX30" fmla="*/ 0 w 6049412"/>
              <a:gd name="connsiteY30" fmla="*/ 1058721 h 4143153"/>
              <a:gd name="connsiteX31" fmla="*/ 0 w 6049412"/>
              <a:gd name="connsiteY31" fmla="*/ 952655 h 4143153"/>
              <a:gd name="connsiteX32" fmla="*/ 0 w 6049412"/>
              <a:gd name="connsiteY32" fmla="*/ 951862 h 4143153"/>
              <a:gd name="connsiteX33" fmla="*/ 0 w 6049412"/>
              <a:gd name="connsiteY33" fmla="*/ 833468 h 4143153"/>
              <a:gd name="connsiteX34" fmla="*/ 0 w 6049412"/>
              <a:gd name="connsiteY34" fmla="*/ 828840 h 4143153"/>
              <a:gd name="connsiteX35" fmla="*/ 0 w 6049412"/>
              <a:gd name="connsiteY35" fmla="*/ 726814 h 4143153"/>
              <a:gd name="connsiteX36" fmla="*/ 0 w 6049412"/>
              <a:gd name="connsiteY36" fmla="*/ 688517 h 4143153"/>
              <a:gd name="connsiteX37" fmla="*/ 0 w 6049412"/>
              <a:gd name="connsiteY37" fmla="*/ 631998 h 4143153"/>
              <a:gd name="connsiteX38" fmla="*/ 0 w 6049412"/>
              <a:gd name="connsiteY38" fmla="*/ 529754 h 4143153"/>
              <a:gd name="connsiteX39" fmla="*/ 0 w 6049412"/>
              <a:gd name="connsiteY39" fmla="*/ 475093 h 4143153"/>
              <a:gd name="connsiteX40" fmla="*/ 0 w 6049412"/>
              <a:gd name="connsiteY40" fmla="*/ 351413 h 4143153"/>
              <a:gd name="connsiteX41" fmla="*/ 0 w 6049412"/>
              <a:gd name="connsiteY41" fmla="*/ 311109 h 4143153"/>
              <a:gd name="connsiteX42" fmla="*/ 0 w 6049412"/>
              <a:gd name="connsiteY42" fmla="*/ 156641 h 4143153"/>
              <a:gd name="connsiteX43" fmla="*/ 832114 w 6049412"/>
              <a:gd name="connsiteY43" fmla="*/ 61160 h 4143153"/>
              <a:gd name="connsiteX44" fmla="*/ 1108528 w 6049412"/>
              <a:gd name="connsiteY44" fmla="*/ 38207 h 4143153"/>
              <a:gd name="connsiteX45" fmla="*/ 1165665 w 6049412"/>
              <a:gd name="connsiteY45" fmla="*/ 33908 h 4143153"/>
              <a:gd name="connsiteX46" fmla="*/ 2227385 w 6049412"/>
              <a:gd name="connsiteY46" fmla="*/ 0 h 4143153"/>
              <a:gd name="connsiteX0" fmla="*/ 2227385 w 6048785"/>
              <a:gd name="connsiteY0" fmla="*/ 0 h 4143153"/>
              <a:gd name="connsiteX1" fmla="*/ 2442246 w 6048785"/>
              <a:gd name="connsiteY1" fmla="*/ 2597 h 4143153"/>
              <a:gd name="connsiteX2" fmla="*/ 5615266 w 6048785"/>
              <a:gd name="connsiteY2" fmla="*/ 354124 h 4143153"/>
              <a:gd name="connsiteX3" fmla="*/ 5985200 w 6048785"/>
              <a:gd name="connsiteY3" fmla="*/ 371853 h 4143153"/>
              <a:gd name="connsiteX4" fmla="*/ 6044400 w 6048785"/>
              <a:gd name="connsiteY4" fmla="*/ 511023 h 4143153"/>
              <a:gd name="connsiteX5" fmla="*/ 6044400 w 6048785"/>
              <a:gd name="connsiteY5" fmla="*/ 1228503 h 4143153"/>
              <a:gd name="connsiteX6" fmla="*/ 6044400 w 6048785"/>
              <a:gd name="connsiteY6" fmla="*/ 1254629 h 4143153"/>
              <a:gd name="connsiteX7" fmla="*/ 6044400 w 6048785"/>
              <a:gd name="connsiteY7" fmla="*/ 1302554 h 4143153"/>
              <a:gd name="connsiteX8" fmla="*/ 6044400 w 6048785"/>
              <a:gd name="connsiteY8" fmla="*/ 1339878 h 4143153"/>
              <a:gd name="connsiteX9" fmla="*/ 6044400 w 6048785"/>
              <a:gd name="connsiteY9" fmla="*/ 1367926 h 4143153"/>
              <a:gd name="connsiteX10" fmla="*/ 6044400 w 6048785"/>
              <a:gd name="connsiteY10" fmla="*/ 1388023 h 4143153"/>
              <a:gd name="connsiteX11" fmla="*/ 6044400 w 6048785"/>
              <a:gd name="connsiteY11" fmla="*/ 1401495 h 4143153"/>
              <a:gd name="connsiteX12" fmla="*/ 6044400 w 6048785"/>
              <a:gd name="connsiteY12" fmla="*/ 1413863 h 4143153"/>
              <a:gd name="connsiteX13" fmla="*/ 6044400 w 6048785"/>
              <a:gd name="connsiteY13" fmla="*/ 1415630 h 4143153"/>
              <a:gd name="connsiteX14" fmla="*/ 6044400 w 6048785"/>
              <a:gd name="connsiteY14" fmla="*/ 4143153 h 4143153"/>
              <a:gd name="connsiteX15" fmla="*/ 0 w 6048785"/>
              <a:gd name="connsiteY15" fmla="*/ 4143153 h 4143153"/>
              <a:gd name="connsiteX16" fmla="*/ 0 w 6048785"/>
              <a:gd name="connsiteY16" fmla="*/ 3959500 h 4143153"/>
              <a:gd name="connsiteX17" fmla="*/ 0 w 6048785"/>
              <a:gd name="connsiteY17" fmla="*/ 1494981 h 4143153"/>
              <a:gd name="connsiteX18" fmla="*/ 0 w 6048785"/>
              <a:gd name="connsiteY18" fmla="*/ 1492359 h 4143153"/>
              <a:gd name="connsiteX19" fmla="*/ 0 w 6048785"/>
              <a:gd name="connsiteY19" fmla="*/ 1486131 h 4143153"/>
              <a:gd name="connsiteX20" fmla="*/ 1684243 w 6048785"/>
              <a:gd name="connsiteY20" fmla="*/ 2271145 h 4143153"/>
              <a:gd name="connsiteX21" fmla="*/ 1917876 w 6048785"/>
              <a:gd name="connsiteY21" fmla="*/ 2053203 h 4143153"/>
              <a:gd name="connsiteX22" fmla="*/ 2134576 w 6048785"/>
              <a:gd name="connsiteY22" fmla="*/ 1868604 h 4143153"/>
              <a:gd name="connsiteX23" fmla="*/ 2251663 w 6048785"/>
              <a:gd name="connsiteY23" fmla="*/ 1780374 h 4143153"/>
              <a:gd name="connsiteX24" fmla="*/ 2368749 w 6048785"/>
              <a:gd name="connsiteY24" fmla="*/ 1692940 h 4143153"/>
              <a:gd name="connsiteX25" fmla="*/ 0 w 6048785"/>
              <a:gd name="connsiteY25" fmla="*/ 1327153 h 4143153"/>
              <a:gd name="connsiteX26" fmla="*/ 0 w 6048785"/>
              <a:gd name="connsiteY26" fmla="*/ 1256023 h 4143153"/>
              <a:gd name="connsiteX27" fmla="*/ 0 w 6048785"/>
              <a:gd name="connsiteY27" fmla="*/ 1231417 h 4143153"/>
              <a:gd name="connsiteX28" fmla="*/ 0 w 6048785"/>
              <a:gd name="connsiteY28" fmla="*/ 1228503 h 4143153"/>
              <a:gd name="connsiteX29" fmla="*/ 0 w 6048785"/>
              <a:gd name="connsiteY29" fmla="*/ 1085073 h 4143153"/>
              <a:gd name="connsiteX30" fmla="*/ 0 w 6048785"/>
              <a:gd name="connsiteY30" fmla="*/ 1058721 h 4143153"/>
              <a:gd name="connsiteX31" fmla="*/ 0 w 6048785"/>
              <a:gd name="connsiteY31" fmla="*/ 952655 h 4143153"/>
              <a:gd name="connsiteX32" fmla="*/ 0 w 6048785"/>
              <a:gd name="connsiteY32" fmla="*/ 951862 h 4143153"/>
              <a:gd name="connsiteX33" fmla="*/ 0 w 6048785"/>
              <a:gd name="connsiteY33" fmla="*/ 833468 h 4143153"/>
              <a:gd name="connsiteX34" fmla="*/ 0 w 6048785"/>
              <a:gd name="connsiteY34" fmla="*/ 828840 h 4143153"/>
              <a:gd name="connsiteX35" fmla="*/ 0 w 6048785"/>
              <a:gd name="connsiteY35" fmla="*/ 726814 h 4143153"/>
              <a:gd name="connsiteX36" fmla="*/ 0 w 6048785"/>
              <a:gd name="connsiteY36" fmla="*/ 688517 h 4143153"/>
              <a:gd name="connsiteX37" fmla="*/ 0 w 6048785"/>
              <a:gd name="connsiteY37" fmla="*/ 631998 h 4143153"/>
              <a:gd name="connsiteX38" fmla="*/ 0 w 6048785"/>
              <a:gd name="connsiteY38" fmla="*/ 529754 h 4143153"/>
              <a:gd name="connsiteX39" fmla="*/ 0 w 6048785"/>
              <a:gd name="connsiteY39" fmla="*/ 475093 h 4143153"/>
              <a:gd name="connsiteX40" fmla="*/ 0 w 6048785"/>
              <a:gd name="connsiteY40" fmla="*/ 351413 h 4143153"/>
              <a:gd name="connsiteX41" fmla="*/ 0 w 6048785"/>
              <a:gd name="connsiteY41" fmla="*/ 311109 h 4143153"/>
              <a:gd name="connsiteX42" fmla="*/ 0 w 6048785"/>
              <a:gd name="connsiteY42" fmla="*/ 156641 h 4143153"/>
              <a:gd name="connsiteX43" fmla="*/ 832114 w 6048785"/>
              <a:gd name="connsiteY43" fmla="*/ 61160 h 4143153"/>
              <a:gd name="connsiteX44" fmla="*/ 1108528 w 6048785"/>
              <a:gd name="connsiteY44" fmla="*/ 38207 h 4143153"/>
              <a:gd name="connsiteX45" fmla="*/ 1165665 w 6048785"/>
              <a:gd name="connsiteY45" fmla="*/ 33908 h 4143153"/>
              <a:gd name="connsiteX46" fmla="*/ 2227385 w 6048785"/>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4466"/>
              <a:gd name="connsiteY0" fmla="*/ 0 h 4143153"/>
              <a:gd name="connsiteX1" fmla="*/ 2442246 w 6044466"/>
              <a:gd name="connsiteY1" fmla="*/ 2597 h 4143153"/>
              <a:gd name="connsiteX2" fmla="*/ 5615266 w 6044466"/>
              <a:gd name="connsiteY2" fmla="*/ 354124 h 4143153"/>
              <a:gd name="connsiteX3" fmla="*/ 6044466 w 6044466"/>
              <a:gd name="connsiteY3" fmla="*/ 388431 h 4143153"/>
              <a:gd name="connsiteX4" fmla="*/ 6044400 w 6044466"/>
              <a:gd name="connsiteY4" fmla="*/ 511023 h 4143153"/>
              <a:gd name="connsiteX5" fmla="*/ 6044400 w 6044466"/>
              <a:gd name="connsiteY5" fmla="*/ 1228503 h 4143153"/>
              <a:gd name="connsiteX6" fmla="*/ 6044400 w 6044466"/>
              <a:gd name="connsiteY6" fmla="*/ 1254629 h 4143153"/>
              <a:gd name="connsiteX7" fmla="*/ 6044400 w 6044466"/>
              <a:gd name="connsiteY7" fmla="*/ 1302554 h 4143153"/>
              <a:gd name="connsiteX8" fmla="*/ 6044400 w 6044466"/>
              <a:gd name="connsiteY8" fmla="*/ 1339878 h 4143153"/>
              <a:gd name="connsiteX9" fmla="*/ 6044400 w 6044466"/>
              <a:gd name="connsiteY9" fmla="*/ 1367926 h 4143153"/>
              <a:gd name="connsiteX10" fmla="*/ 6044400 w 6044466"/>
              <a:gd name="connsiteY10" fmla="*/ 1388023 h 4143153"/>
              <a:gd name="connsiteX11" fmla="*/ 6044400 w 6044466"/>
              <a:gd name="connsiteY11" fmla="*/ 1401495 h 4143153"/>
              <a:gd name="connsiteX12" fmla="*/ 6044400 w 6044466"/>
              <a:gd name="connsiteY12" fmla="*/ 1413863 h 4143153"/>
              <a:gd name="connsiteX13" fmla="*/ 6044400 w 6044466"/>
              <a:gd name="connsiteY13" fmla="*/ 1415630 h 4143153"/>
              <a:gd name="connsiteX14" fmla="*/ 6044400 w 6044466"/>
              <a:gd name="connsiteY14" fmla="*/ 4143153 h 4143153"/>
              <a:gd name="connsiteX15" fmla="*/ 0 w 6044466"/>
              <a:gd name="connsiteY15" fmla="*/ 4143153 h 4143153"/>
              <a:gd name="connsiteX16" fmla="*/ 0 w 6044466"/>
              <a:gd name="connsiteY16" fmla="*/ 3959500 h 4143153"/>
              <a:gd name="connsiteX17" fmla="*/ 0 w 6044466"/>
              <a:gd name="connsiteY17" fmla="*/ 1494981 h 4143153"/>
              <a:gd name="connsiteX18" fmla="*/ 0 w 6044466"/>
              <a:gd name="connsiteY18" fmla="*/ 1492359 h 4143153"/>
              <a:gd name="connsiteX19" fmla="*/ 0 w 6044466"/>
              <a:gd name="connsiteY19" fmla="*/ 1486131 h 4143153"/>
              <a:gd name="connsiteX20" fmla="*/ 1684243 w 6044466"/>
              <a:gd name="connsiteY20" fmla="*/ 2271145 h 4143153"/>
              <a:gd name="connsiteX21" fmla="*/ 1917876 w 6044466"/>
              <a:gd name="connsiteY21" fmla="*/ 2053203 h 4143153"/>
              <a:gd name="connsiteX22" fmla="*/ 2134576 w 6044466"/>
              <a:gd name="connsiteY22" fmla="*/ 1868604 h 4143153"/>
              <a:gd name="connsiteX23" fmla="*/ 2251663 w 6044466"/>
              <a:gd name="connsiteY23" fmla="*/ 1780374 h 4143153"/>
              <a:gd name="connsiteX24" fmla="*/ 2368749 w 6044466"/>
              <a:gd name="connsiteY24" fmla="*/ 1692940 h 4143153"/>
              <a:gd name="connsiteX25" fmla="*/ 0 w 6044466"/>
              <a:gd name="connsiteY25" fmla="*/ 1327153 h 4143153"/>
              <a:gd name="connsiteX26" fmla="*/ 0 w 6044466"/>
              <a:gd name="connsiteY26" fmla="*/ 1256023 h 4143153"/>
              <a:gd name="connsiteX27" fmla="*/ 0 w 6044466"/>
              <a:gd name="connsiteY27" fmla="*/ 1231417 h 4143153"/>
              <a:gd name="connsiteX28" fmla="*/ 0 w 6044466"/>
              <a:gd name="connsiteY28" fmla="*/ 1228503 h 4143153"/>
              <a:gd name="connsiteX29" fmla="*/ 0 w 6044466"/>
              <a:gd name="connsiteY29" fmla="*/ 1085073 h 4143153"/>
              <a:gd name="connsiteX30" fmla="*/ 0 w 6044466"/>
              <a:gd name="connsiteY30" fmla="*/ 1058721 h 4143153"/>
              <a:gd name="connsiteX31" fmla="*/ 0 w 6044466"/>
              <a:gd name="connsiteY31" fmla="*/ 952655 h 4143153"/>
              <a:gd name="connsiteX32" fmla="*/ 0 w 6044466"/>
              <a:gd name="connsiteY32" fmla="*/ 951862 h 4143153"/>
              <a:gd name="connsiteX33" fmla="*/ 0 w 6044466"/>
              <a:gd name="connsiteY33" fmla="*/ 833468 h 4143153"/>
              <a:gd name="connsiteX34" fmla="*/ 0 w 6044466"/>
              <a:gd name="connsiteY34" fmla="*/ 828840 h 4143153"/>
              <a:gd name="connsiteX35" fmla="*/ 0 w 6044466"/>
              <a:gd name="connsiteY35" fmla="*/ 726814 h 4143153"/>
              <a:gd name="connsiteX36" fmla="*/ 0 w 6044466"/>
              <a:gd name="connsiteY36" fmla="*/ 688517 h 4143153"/>
              <a:gd name="connsiteX37" fmla="*/ 0 w 6044466"/>
              <a:gd name="connsiteY37" fmla="*/ 631998 h 4143153"/>
              <a:gd name="connsiteX38" fmla="*/ 0 w 6044466"/>
              <a:gd name="connsiteY38" fmla="*/ 529754 h 4143153"/>
              <a:gd name="connsiteX39" fmla="*/ 0 w 6044466"/>
              <a:gd name="connsiteY39" fmla="*/ 475093 h 4143153"/>
              <a:gd name="connsiteX40" fmla="*/ 0 w 6044466"/>
              <a:gd name="connsiteY40" fmla="*/ 351413 h 4143153"/>
              <a:gd name="connsiteX41" fmla="*/ 0 w 6044466"/>
              <a:gd name="connsiteY41" fmla="*/ 311109 h 4143153"/>
              <a:gd name="connsiteX42" fmla="*/ 0 w 6044466"/>
              <a:gd name="connsiteY42" fmla="*/ 156641 h 4143153"/>
              <a:gd name="connsiteX43" fmla="*/ 832114 w 6044466"/>
              <a:gd name="connsiteY43" fmla="*/ 61160 h 4143153"/>
              <a:gd name="connsiteX44" fmla="*/ 1108528 w 6044466"/>
              <a:gd name="connsiteY44" fmla="*/ 38207 h 4143153"/>
              <a:gd name="connsiteX45" fmla="*/ 1165665 w 6044466"/>
              <a:gd name="connsiteY45" fmla="*/ 33908 h 4143153"/>
              <a:gd name="connsiteX46" fmla="*/ 2227385 w 6044466"/>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172"/>
              <a:gd name="connsiteY0" fmla="*/ 0 h 4143153"/>
              <a:gd name="connsiteX1" fmla="*/ 2442246 w 6093172"/>
              <a:gd name="connsiteY1" fmla="*/ 2597 h 4143153"/>
              <a:gd name="connsiteX2" fmla="*/ 5386666 w 6093172"/>
              <a:gd name="connsiteY2" fmla="*/ 430379 h 4143153"/>
              <a:gd name="connsiteX3" fmla="*/ 6044466 w 6093172"/>
              <a:gd name="connsiteY3" fmla="*/ 388431 h 4143153"/>
              <a:gd name="connsiteX4" fmla="*/ 6044400 w 6093172"/>
              <a:gd name="connsiteY4" fmla="*/ 511023 h 4143153"/>
              <a:gd name="connsiteX5" fmla="*/ 6044400 w 6093172"/>
              <a:gd name="connsiteY5" fmla="*/ 1228503 h 4143153"/>
              <a:gd name="connsiteX6" fmla="*/ 6044400 w 6093172"/>
              <a:gd name="connsiteY6" fmla="*/ 1254629 h 4143153"/>
              <a:gd name="connsiteX7" fmla="*/ 6044400 w 6093172"/>
              <a:gd name="connsiteY7" fmla="*/ 1302554 h 4143153"/>
              <a:gd name="connsiteX8" fmla="*/ 6044400 w 6093172"/>
              <a:gd name="connsiteY8" fmla="*/ 1339878 h 4143153"/>
              <a:gd name="connsiteX9" fmla="*/ 6044400 w 6093172"/>
              <a:gd name="connsiteY9" fmla="*/ 1367926 h 4143153"/>
              <a:gd name="connsiteX10" fmla="*/ 6044400 w 6093172"/>
              <a:gd name="connsiteY10" fmla="*/ 1388023 h 4143153"/>
              <a:gd name="connsiteX11" fmla="*/ 6044400 w 6093172"/>
              <a:gd name="connsiteY11" fmla="*/ 1401495 h 4143153"/>
              <a:gd name="connsiteX12" fmla="*/ 6044400 w 6093172"/>
              <a:gd name="connsiteY12" fmla="*/ 1413863 h 4143153"/>
              <a:gd name="connsiteX13" fmla="*/ 6044400 w 6093172"/>
              <a:gd name="connsiteY13" fmla="*/ 1415630 h 4143153"/>
              <a:gd name="connsiteX14" fmla="*/ 6044400 w 6093172"/>
              <a:gd name="connsiteY14" fmla="*/ 4143153 h 4143153"/>
              <a:gd name="connsiteX15" fmla="*/ 0 w 6093172"/>
              <a:gd name="connsiteY15" fmla="*/ 4143153 h 4143153"/>
              <a:gd name="connsiteX16" fmla="*/ 0 w 6093172"/>
              <a:gd name="connsiteY16" fmla="*/ 3959500 h 4143153"/>
              <a:gd name="connsiteX17" fmla="*/ 0 w 6093172"/>
              <a:gd name="connsiteY17" fmla="*/ 1494981 h 4143153"/>
              <a:gd name="connsiteX18" fmla="*/ 0 w 6093172"/>
              <a:gd name="connsiteY18" fmla="*/ 1492359 h 4143153"/>
              <a:gd name="connsiteX19" fmla="*/ 0 w 6093172"/>
              <a:gd name="connsiteY19" fmla="*/ 1486131 h 4143153"/>
              <a:gd name="connsiteX20" fmla="*/ 1684243 w 6093172"/>
              <a:gd name="connsiteY20" fmla="*/ 2271145 h 4143153"/>
              <a:gd name="connsiteX21" fmla="*/ 1917876 w 6093172"/>
              <a:gd name="connsiteY21" fmla="*/ 2053203 h 4143153"/>
              <a:gd name="connsiteX22" fmla="*/ 2134576 w 6093172"/>
              <a:gd name="connsiteY22" fmla="*/ 1868604 h 4143153"/>
              <a:gd name="connsiteX23" fmla="*/ 2251663 w 6093172"/>
              <a:gd name="connsiteY23" fmla="*/ 1780374 h 4143153"/>
              <a:gd name="connsiteX24" fmla="*/ 2368749 w 6093172"/>
              <a:gd name="connsiteY24" fmla="*/ 1692940 h 4143153"/>
              <a:gd name="connsiteX25" fmla="*/ 0 w 6093172"/>
              <a:gd name="connsiteY25" fmla="*/ 1327153 h 4143153"/>
              <a:gd name="connsiteX26" fmla="*/ 0 w 6093172"/>
              <a:gd name="connsiteY26" fmla="*/ 1256023 h 4143153"/>
              <a:gd name="connsiteX27" fmla="*/ 0 w 6093172"/>
              <a:gd name="connsiteY27" fmla="*/ 1231417 h 4143153"/>
              <a:gd name="connsiteX28" fmla="*/ 0 w 6093172"/>
              <a:gd name="connsiteY28" fmla="*/ 1228503 h 4143153"/>
              <a:gd name="connsiteX29" fmla="*/ 0 w 6093172"/>
              <a:gd name="connsiteY29" fmla="*/ 1085073 h 4143153"/>
              <a:gd name="connsiteX30" fmla="*/ 0 w 6093172"/>
              <a:gd name="connsiteY30" fmla="*/ 1058721 h 4143153"/>
              <a:gd name="connsiteX31" fmla="*/ 0 w 6093172"/>
              <a:gd name="connsiteY31" fmla="*/ 952655 h 4143153"/>
              <a:gd name="connsiteX32" fmla="*/ 0 w 6093172"/>
              <a:gd name="connsiteY32" fmla="*/ 951862 h 4143153"/>
              <a:gd name="connsiteX33" fmla="*/ 0 w 6093172"/>
              <a:gd name="connsiteY33" fmla="*/ 833468 h 4143153"/>
              <a:gd name="connsiteX34" fmla="*/ 0 w 6093172"/>
              <a:gd name="connsiteY34" fmla="*/ 828840 h 4143153"/>
              <a:gd name="connsiteX35" fmla="*/ 0 w 6093172"/>
              <a:gd name="connsiteY35" fmla="*/ 726814 h 4143153"/>
              <a:gd name="connsiteX36" fmla="*/ 0 w 6093172"/>
              <a:gd name="connsiteY36" fmla="*/ 688517 h 4143153"/>
              <a:gd name="connsiteX37" fmla="*/ 0 w 6093172"/>
              <a:gd name="connsiteY37" fmla="*/ 631998 h 4143153"/>
              <a:gd name="connsiteX38" fmla="*/ 0 w 6093172"/>
              <a:gd name="connsiteY38" fmla="*/ 529754 h 4143153"/>
              <a:gd name="connsiteX39" fmla="*/ 0 w 6093172"/>
              <a:gd name="connsiteY39" fmla="*/ 475093 h 4143153"/>
              <a:gd name="connsiteX40" fmla="*/ 0 w 6093172"/>
              <a:gd name="connsiteY40" fmla="*/ 351413 h 4143153"/>
              <a:gd name="connsiteX41" fmla="*/ 0 w 6093172"/>
              <a:gd name="connsiteY41" fmla="*/ 311109 h 4143153"/>
              <a:gd name="connsiteX42" fmla="*/ 0 w 6093172"/>
              <a:gd name="connsiteY42" fmla="*/ 156641 h 4143153"/>
              <a:gd name="connsiteX43" fmla="*/ 832114 w 6093172"/>
              <a:gd name="connsiteY43" fmla="*/ 61160 h 4143153"/>
              <a:gd name="connsiteX44" fmla="*/ 1108528 w 6093172"/>
              <a:gd name="connsiteY44" fmla="*/ 38207 h 4143153"/>
              <a:gd name="connsiteX45" fmla="*/ 1165665 w 6093172"/>
              <a:gd name="connsiteY45" fmla="*/ 33908 h 4143153"/>
              <a:gd name="connsiteX46" fmla="*/ 2227385 w 6093172"/>
              <a:gd name="connsiteY46"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88154"/>
              <a:gd name="connsiteY0" fmla="*/ 0 h 4143153"/>
              <a:gd name="connsiteX1" fmla="*/ 2442246 w 6088154"/>
              <a:gd name="connsiteY1" fmla="*/ 2597 h 4143153"/>
              <a:gd name="connsiteX2" fmla="*/ 4770167 w 6088154"/>
              <a:gd name="connsiteY2" fmla="*/ 467173 h 4143153"/>
              <a:gd name="connsiteX3" fmla="*/ 5454400 w 6088154"/>
              <a:gd name="connsiteY3" fmla="*/ 596151 h 4143153"/>
              <a:gd name="connsiteX4" fmla="*/ 6044466 w 6088154"/>
              <a:gd name="connsiteY4" fmla="*/ 388431 h 4143153"/>
              <a:gd name="connsiteX5" fmla="*/ 6044400 w 6088154"/>
              <a:gd name="connsiteY5" fmla="*/ 511023 h 4143153"/>
              <a:gd name="connsiteX6" fmla="*/ 6044400 w 6088154"/>
              <a:gd name="connsiteY6" fmla="*/ 1228503 h 4143153"/>
              <a:gd name="connsiteX7" fmla="*/ 6044400 w 6088154"/>
              <a:gd name="connsiteY7" fmla="*/ 1254629 h 4143153"/>
              <a:gd name="connsiteX8" fmla="*/ 6044400 w 6088154"/>
              <a:gd name="connsiteY8" fmla="*/ 1302554 h 4143153"/>
              <a:gd name="connsiteX9" fmla="*/ 6044400 w 6088154"/>
              <a:gd name="connsiteY9" fmla="*/ 1339878 h 4143153"/>
              <a:gd name="connsiteX10" fmla="*/ 6044400 w 6088154"/>
              <a:gd name="connsiteY10" fmla="*/ 1367926 h 4143153"/>
              <a:gd name="connsiteX11" fmla="*/ 6044400 w 6088154"/>
              <a:gd name="connsiteY11" fmla="*/ 1388023 h 4143153"/>
              <a:gd name="connsiteX12" fmla="*/ 6044400 w 6088154"/>
              <a:gd name="connsiteY12" fmla="*/ 1401495 h 4143153"/>
              <a:gd name="connsiteX13" fmla="*/ 6044400 w 6088154"/>
              <a:gd name="connsiteY13" fmla="*/ 1413863 h 4143153"/>
              <a:gd name="connsiteX14" fmla="*/ 6044400 w 6088154"/>
              <a:gd name="connsiteY14" fmla="*/ 1415630 h 4143153"/>
              <a:gd name="connsiteX15" fmla="*/ 6044400 w 6088154"/>
              <a:gd name="connsiteY15" fmla="*/ 4143153 h 4143153"/>
              <a:gd name="connsiteX16" fmla="*/ 0 w 6088154"/>
              <a:gd name="connsiteY16" fmla="*/ 4143153 h 4143153"/>
              <a:gd name="connsiteX17" fmla="*/ 0 w 6088154"/>
              <a:gd name="connsiteY17" fmla="*/ 3959500 h 4143153"/>
              <a:gd name="connsiteX18" fmla="*/ 0 w 6088154"/>
              <a:gd name="connsiteY18" fmla="*/ 1494981 h 4143153"/>
              <a:gd name="connsiteX19" fmla="*/ 0 w 6088154"/>
              <a:gd name="connsiteY19" fmla="*/ 1492359 h 4143153"/>
              <a:gd name="connsiteX20" fmla="*/ 0 w 6088154"/>
              <a:gd name="connsiteY20" fmla="*/ 1486131 h 4143153"/>
              <a:gd name="connsiteX21" fmla="*/ 1684243 w 6088154"/>
              <a:gd name="connsiteY21" fmla="*/ 2271145 h 4143153"/>
              <a:gd name="connsiteX22" fmla="*/ 1917876 w 6088154"/>
              <a:gd name="connsiteY22" fmla="*/ 2053203 h 4143153"/>
              <a:gd name="connsiteX23" fmla="*/ 2134576 w 6088154"/>
              <a:gd name="connsiteY23" fmla="*/ 1868604 h 4143153"/>
              <a:gd name="connsiteX24" fmla="*/ 2251663 w 6088154"/>
              <a:gd name="connsiteY24" fmla="*/ 1780374 h 4143153"/>
              <a:gd name="connsiteX25" fmla="*/ 2368749 w 6088154"/>
              <a:gd name="connsiteY25" fmla="*/ 1692940 h 4143153"/>
              <a:gd name="connsiteX26" fmla="*/ 0 w 6088154"/>
              <a:gd name="connsiteY26" fmla="*/ 1327153 h 4143153"/>
              <a:gd name="connsiteX27" fmla="*/ 0 w 6088154"/>
              <a:gd name="connsiteY27" fmla="*/ 1256023 h 4143153"/>
              <a:gd name="connsiteX28" fmla="*/ 0 w 6088154"/>
              <a:gd name="connsiteY28" fmla="*/ 1231417 h 4143153"/>
              <a:gd name="connsiteX29" fmla="*/ 0 w 6088154"/>
              <a:gd name="connsiteY29" fmla="*/ 1228503 h 4143153"/>
              <a:gd name="connsiteX30" fmla="*/ 0 w 6088154"/>
              <a:gd name="connsiteY30" fmla="*/ 1085073 h 4143153"/>
              <a:gd name="connsiteX31" fmla="*/ 0 w 6088154"/>
              <a:gd name="connsiteY31" fmla="*/ 1058721 h 4143153"/>
              <a:gd name="connsiteX32" fmla="*/ 0 w 6088154"/>
              <a:gd name="connsiteY32" fmla="*/ 952655 h 4143153"/>
              <a:gd name="connsiteX33" fmla="*/ 0 w 6088154"/>
              <a:gd name="connsiteY33" fmla="*/ 951862 h 4143153"/>
              <a:gd name="connsiteX34" fmla="*/ 0 w 6088154"/>
              <a:gd name="connsiteY34" fmla="*/ 833468 h 4143153"/>
              <a:gd name="connsiteX35" fmla="*/ 0 w 6088154"/>
              <a:gd name="connsiteY35" fmla="*/ 828840 h 4143153"/>
              <a:gd name="connsiteX36" fmla="*/ 0 w 6088154"/>
              <a:gd name="connsiteY36" fmla="*/ 726814 h 4143153"/>
              <a:gd name="connsiteX37" fmla="*/ 0 w 6088154"/>
              <a:gd name="connsiteY37" fmla="*/ 688517 h 4143153"/>
              <a:gd name="connsiteX38" fmla="*/ 0 w 6088154"/>
              <a:gd name="connsiteY38" fmla="*/ 631998 h 4143153"/>
              <a:gd name="connsiteX39" fmla="*/ 0 w 6088154"/>
              <a:gd name="connsiteY39" fmla="*/ 529754 h 4143153"/>
              <a:gd name="connsiteX40" fmla="*/ 0 w 6088154"/>
              <a:gd name="connsiteY40" fmla="*/ 475093 h 4143153"/>
              <a:gd name="connsiteX41" fmla="*/ 0 w 6088154"/>
              <a:gd name="connsiteY41" fmla="*/ 351413 h 4143153"/>
              <a:gd name="connsiteX42" fmla="*/ 0 w 6088154"/>
              <a:gd name="connsiteY42" fmla="*/ 311109 h 4143153"/>
              <a:gd name="connsiteX43" fmla="*/ 0 w 6088154"/>
              <a:gd name="connsiteY43" fmla="*/ 156641 h 4143153"/>
              <a:gd name="connsiteX44" fmla="*/ 832114 w 6088154"/>
              <a:gd name="connsiteY44" fmla="*/ 61160 h 4143153"/>
              <a:gd name="connsiteX45" fmla="*/ 1108528 w 6088154"/>
              <a:gd name="connsiteY45" fmla="*/ 38207 h 4143153"/>
              <a:gd name="connsiteX46" fmla="*/ 1165665 w 6088154"/>
              <a:gd name="connsiteY46" fmla="*/ 33908 h 4143153"/>
              <a:gd name="connsiteX47" fmla="*/ 2227385 w 6088154"/>
              <a:gd name="connsiteY47" fmla="*/ 0 h 4143153"/>
              <a:gd name="connsiteX0" fmla="*/ 2227385 w 6068854"/>
              <a:gd name="connsiteY0" fmla="*/ 0 h 4143153"/>
              <a:gd name="connsiteX1" fmla="*/ 2442246 w 6068854"/>
              <a:gd name="connsiteY1" fmla="*/ 2597 h 4143153"/>
              <a:gd name="connsiteX2" fmla="*/ 4770167 w 6068854"/>
              <a:gd name="connsiteY2" fmla="*/ 467173 h 4143153"/>
              <a:gd name="connsiteX3" fmla="*/ 5454400 w 6068854"/>
              <a:gd name="connsiteY3" fmla="*/ 596151 h 4143153"/>
              <a:gd name="connsiteX4" fmla="*/ 5714266 w 6068854"/>
              <a:gd name="connsiteY4" fmla="*/ 166297 h 4143153"/>
              <a:gd name="connsiteX5" fmla="*/ 6044400 w 6068854"/>
              <a:gd name="connsiteY5" fmla="*/ 511023 h 4143153"/>
              <a:gd name="connsiteX6" fmla="*/ 6044400 w 6068854"/>
              <a:gd name="connsiteY6" fmla="*/ 1228503 h 4143153"/>
              <a:gd name="connsiteX7" fmla="*/ 6044400 w 6068854"/>
              <a:gd name="connsiteY7" fmla="*/ 1254629 h 4143153"/>
              <a:gd name="connsiteX8" fmla="*/ 6044400 w 6068854"/>
              <a:gd name="connsiteY8" fmla="*/ 1302554 h 4143153"/>
              <a:gd name="connsiteX9" fmla="*/ 6044400 w 6068854"/>
              <a:gd name="connsiteY9" fmla="*/ 1339878 h 4143153"/>
              <a:gd name="connsiteX10" fmla="*/ 6044400 w 6068854"/>
              <a:gd name="connsiteY10" fmla="*/ 1367926 h 4143153"/>
              <a:gd name="connsiteX11" fmla="*/ 6044400 w 6068854"/>
              <a:gd name="connsiteY11" fmla="*/ 1388023 h 4143153"/>
              <a:gd name="connsiteX12" fmla="*/ 6044400 w 6068854"/>
              <a:gd name="connsiteY12" fmla="*/ 1401495 h 4143153"/>
              <a:gd name="connsiteX13" fmla="*/ 6044400 w 6068854"/>
              <a:gd name="connsiteY13" fmla="*/ 1413863 h 4143153"/>
              <a:gd name="connsiteX14" fmla="*/ 6044400 w 6068854"/>
              <a:gd name="connsiteY14" fmla="*/ 1415630 h 4143153"/>
              <a:gd name="connsiteX15" fmla="*/ 6044400 w 6068854"/>
              <a:gd name="connsiteY15" fmla="*/ 4143153 h 4143153"/>
              <a:gd name="connsiteX16" fmla="*/ 0 w 6068854"/>
              <a:gd name="connsiteY16" fmla="*/ 4143153 h 4143153"/>
              <a:gd name="connsiteX17" fmla="*/ 0 w 6068854"/>
              <a:gd name="connsiteY17" fmla="*/ 3959500 h 4143153"/>
              <a:gd name="connsiteX18" fmla="*/ 0 w 6068854"/>
              <a:gd name="connsiteY18" fmla="*/ 1494981 h 4143153"/>
              <a:gd name="connsiteX19" fmla="*/ 0 w 6068854"/>
              <a:gd name="connsiteY19" fmla="*/ 1492359 h 4143153"/>
              <a:gd name="connsiteX20" fmla="*/ 0 w 6068854"/>
              <a:gd name="connsiteY20" fmla="*/ 1486131 h 4143153"/>
              <a:gd name="connsiteX21" fmla="*/ 1684243 w 6068854"/>
              <a:gd name="connsiteY21" fmla="*/ 2271145 h 4143153"/>
              <a:gd name="connsiteX22" fmla="*/ 1917876 w 6068854"/>
              <a:gd name="connsiteY22" fmla="*/ 2053203 h 4143153"/>
              <a:gd name="connsiteX23" fmla="*/ 2134576 w 6068854"/>
              <a:gd name="connsiteY23" fmla="*/ 1868604 h 4143153"/>
              <a:gd name="connsiteX24" fmla="*/ 2251663 w 6068854"/>
              <a:gd name="connsiteY24" fmla="*/ 1780374 h 4143153"/>
              <a:gd name="connsiteX25" fmla="*/ 2368749 w 6068854"/>
              <a:gd name="connsiteY25" fmla="*/ 1692940 h 4143153"/>
              <a:gd name="connsiteX26" fmla="*/ 0 w 6068854"/>
              <a:gd name="connsiteY26" fmla="*/ 1327153 h 4143153"/>
              <a:gd name="connsiteX27" fmla="*/ 0 w 6068854"/>
              <a:gd name="connsiteY27" fmla="*/ 1256023 h 4143153"/>
              <a:gd name="connsiteX28" fmla="*/ 0 w 6068854"/>
              <a:gd name="connsiteY28" fmla="*/ 1231417 h 4143153"/>
              <a:gd name="connsiteX29" fmla="*/ 0 w 6068854"/>
              <a:gd name="connsiteY29" fmla="*/ 1228503 h 4143153"/>
              <a:gd name="connsiteX30" fmla="*/ 0 w 6068854"/>
              <a:gd name="connsiteY30" fmla="*/ 1085073 h 4143153"/>
              <a:gd name="connsiteX31" fmla="*/ 0 w 6068854"/>
              <a:gd name="connsiteY31" fmla="*/ 1058721 h 4143153"/>
              <a:gd name="connsiteX32" fmla="*/ 0 w 6068854"/>
              <a:gd name="connsiteY32" fmla="*/ 952655 h 4143153"/>
              <a:gd name="connsiteX33" fmla="*/ 0 w 6068854"/>
              <a:gd name="connsiteY33" fmla="*/ 951862 h 4143153"/>
              <a:gd name="connsiteX34" fmla="*/ 0 w 6068854"/>
              <a:gd name="connsiteY34" fmla="*/ 833468 h 4143153"/>
              <a:gd name="connsiteX35" fmla="*/ 0 w 6068854"/>
              <a:gd name="connsiteY35" fmla="*/ 828840 h 4143153"/>
              <a:gd name="connsiteX36" fmla="*/ 0 w 6068854"/>
              <a:gd name="connsiteY36" fmla="*/ 726814 h 4143153"/>
              <a:gd name="connsiteX37" fmla="*/ 0 w 6068854"/>
              <a:gd name="connsiteY37" fmla="*/ 688517 h 4143153"/>
              <a:gd name="connsiteX38" fmla="*/ 0 w 6068854"/>
              <a:gd name="connsiteY38" fmla="*/ 631998 h 4143153"/>
              <a:gd name="connsiteX39" fmla="*/ 0 w 6068854"/>
              <a:gd name="connsiteY39" fmla="*/ 529754 h 4143153"/>
              <a:gd name="connsiteX40" fmla="*/ 0 w 6068854"/>
              <a:gd name="connsiteY40" fmla="*/ 475093 h 4143153"/>
              <a:gd name="connsiteX41" fmla="*/ 0 w 6068854"/>
              <a:gd name="connsiteY41" fmla="*/ 351413 h 4143153"/>
              <a:gd name="connsiteX42" fmla="*/ 0 w 6068854"/>
              <a:gd name="connsiteY42" fmla="*/ 311109 h 4143153"/>
              <a:gd name="connsiteX43" fmla="*/ 0 w 6068854"/>
              <a:gd name="connsiteY43" fmla="*/ 156641 h 4143153"/>
              <a:gd name="connsiteX44" fmla="*/ 832114 w 6068854"/>
              <a:gd name="connsiteY44" fmla="*/ 61160 h 4143153"/>
              <a:gd name="connsiteX45" fmla="*/ 1108528 w 6068854"/>
              <a:gd name="connsiteY45" fmla="*/ 38207 h 4143153"/>
              <a:gd name="connsiteX46" fmla="*/ 1165665 w 6068854"/>
              <a:gd name="connsiteY46" fmla="*/ 33908 h 4143153"/>
              <a:gd name="connsiteX47" fmla="*/ 2227385 w 6068854"/>
              <a:gd name="connsiteY47" fmla="*/ 0 h 4143153"/>
              <a:gd name="connsiteX0" fmla="*/ 2227385 w 6050247"/>
              <a:gd name="connsiteY0" fmla="*/ 0 h 4143153"/>
              <a:gd name="connsiteX1" fmla="*/ 2442246 w 6050247"/>
              <a:gd name="connsiteY1" fmla="*/ 2597 h 4143153"/>
              <a:gd name="connsiteX2" fmla="*/ 4770167 w 6050247"/>
              <a:gd name="connsiteY2" fmla="*/ 467173 h 4143153"/>
              <a:gd name="connsiteX3" fmla="*/ 5454400 w 6050247"/>
              <a:gd name="connsiteY3" fmla="*/ 596151 h 4143153"/>
              <a:gd name="connsiteX4" fmla="*/ 5714266 w 6050247"/>
              <a:gd name="connsiteY4" fmla="*/ 166297 h 4143153"/>
              <a:gd name="connsiteX5" fmla="*/ 6014766 w 6050247"/>
              <a:gd name="connsiteY5" fmla="*/ 385037 h 4143153"/>
              <a:gd name="connsiteX6" fmla="*/ 6044400 w 6050247"/>
              <a:gd name="connsiteY6" fmla="*/ 1228503 h 4143153"/>
              <a:gd name="connsiteX7" fmla="*/ 6044400 w 6050247"/>
              <a:gd name="connsiteY7" fmla="*/ 1254629 h 4143153"/>
              <a:gd name="connsiteX8" fmla="*/ 6044400 w 6050247"/>
              <a:gd name="connsiteY8" fmla="*/ 1302554 h 4143153"/>
              <a:gd name="connsiteX9" fmla="*/ 6044400 w 6050247"/>
              <a:gd name="connsiteY9" fmla="*/ 1339878 h 4143153"/>
              <a:gd name="connsiteX10" fmla="*/ 6044400 w 6050247"/>
              <a:gd name="connsiteY10" fmla="*/ 1367926 h 4143153"/>
              <a:gd name="connsiteX11" fmla="*/ 6044400 w 6050247"/>
              <a:gd name="connsiteY11" fmla="*/ 1388023 h 4143153"/>
              <a:gd name="connsiteX12" fmla="*/ 6044400 w 6050247"/>
              <a:gd name="connsiteY12" fmla="*/ 1401495 h 4143153"/>
              <a:gd name="connsiteX13" fmla="*/ 6044400 w 6050247"/>
              <a:gd name="connsiteY13" fmla="*/ 1413863 h 4143153"/>
              <a:gd name="connsiteX14" fmla="*/ 6044400 w 6050247"/>
              <a:gd name="connsiteY14" fmla="*/ 1415630 h 4143153"/>
              <a:gd name="connsiteX15" fmla="*/ 6044400 w 6050247"/>
              <a:gd name="connsiteY15" fmla="*/ 4143153 h 4143153"/>
              <a:gd name="connsiteX16" fmla="*/ 0 w 6050247"/>
              <a:gd name="connsiteY16" fmla="*/ 4143153 h 4143153"/>
              <a:gd name="connsiteX17" fmla="*/ 0 w 6050247"/>
              <a:gd name="connsiteY17" fmla="*/ 3959500 h 4143153"/>
              <a:gd name="connsiteX18" fmla="*/ 0 w 6050247"/>
              <a:gd name="connsiteY18" fmla="*/ 1494981 h 4143153"/>
              <a:gd name="connsiteX19" fmla="*/ 0 w 6050247"/>
              <a:gd name="connsiteY19" fmla="*/ 1492359 h 4143153"/>
              <a:gd name="connsiteX20" fmla="*/ 0 w 6050247"/>
              <a:gd name="connsiteY20" fmla="*/ 1486131 h 4143153"/>
              <a:gd name="connsiteX21" fmla="*/ 1684243 w 6050247"/>
              <a:gd name="connsiteY21" fmla="*/ 2271145 h 4143153"/>
              <a:gd name="connsiteX22" fmla="*/ 1917876 w 6050247"/>
              <a:gd name="connsiteY22" fmla="*/ 2053203 h 4143153"/>
              <a:gd name="connsiteX23" fmla="*/ 2134576 w 6050247"/>
              <a:gd name="connsiteY23" fmla="*/ 1868604 h 4143153"/>
              <a:gd name="connsiteX24" fmla="*/ 2251663 w 6050247"/>
              <a:gd name="connsiteY24" fmla="*/ 1780374 h 4143153"/>
              <a:gd name="connsiteX25" fmla="*/ 2368749 w 6050247"/>
              <a:gd name="connsiteY25" fmla="*/ 1692940 h 4143153"/>
              <a:gd name="connsiteX26" fmla="*/ 0 w 6050247"/>
              <a:gd name="connsiteY26" fmla="*/ 1327153 h 4143153"/>
              <a:gd name="connsiteX27" fmla="*/ 0 w 6050247"/>
              <a:gd name="connsiteY27" fmla="*/ 1256023 h 4143153"/>
              <a:gd name="connsiteX28" fmla="*/ 0 w 6050247"/>
              <a:gd name="connsiteY28" fmla="*/ 1231417 h 4143153"/>
              <a:gd name="connsiteX29" fmla="*/ 0 w 6050247"/>
              <a:gd name="connsiteY29" fmla="*/ 1228503 h 4143153"/>
              <a:gd name="connsiteX30" fmla="*/ 0 w 6050247"/>
              <a:gd name="connsiteY30" fmla="*/ 1085073 h 4143153"/>
              <a:gd name="connsiteX31" fmla="*/ 0 w 6050247"/>
              <a:gd name="connsiteY31" fmla="*/ 1058721 h 4143153"/>
              <a:gd name="connsiteX32" fmla="*/ 0 w 6050247"/>
              <a:gd name="connsiteY32" fmla="*/ 952655 h 4143153"/>
              <a:gd name="connsiteX33" fmla="*/ 0 w 6050247"/>
              <a:gd name="connsiteY33" fmla="*/ 951862 h 4143153"/>
              <a:gd name="connsiteX34" fmla="*/ 0 w 6050247"/>
              <a:gd name="connsiteY34" fmla="*/ 833468 h 4143153"/>
              <a:gd name="connsiteX35" fmla="*/ 0 w 6050247"/>
              <a:gd name="connsiteY35" fmla="*/ 828840 h 4143153"/>
              <a:gd name="connsiteX36" fmla="*/ 0 w 6050247"/>
              <a:gd name="connsiteY36" fmla="*/ 726814 h 4143153"/>
              <a:gd name="connsiteX37" fmla="*/ 0 w 6050247"/>
              <a:gd name="connsiteY37" fmla="*/ 688517 h 4143153"/>
              <a:gd name="connsiteX38" fmla="*/ 0 w 6050247"/>
              <a:gd name="connsiteY38" fmla="*/ 631998 h 4143153"/>
              <a:gd name="connsiteX39" fmla="*/ 0 w 6050247"/>
              <a:gd name="connsiteY39" fmla="*/ 529754 h 4143153"/>
              <a:gd name="connsiteX40" fmla="*/ 0 w 6050247"/>
              <a:gd name="connsiteY40" fmla="*/ 475093 h 4143153"/>
              <a:gd name="connsiteX41" fmla="*/ 0 w 6050247"/>
              <a:gd name="connsiteY41" fmla="*/ 351413 h 4143153"/>
              <a:gd name="connsiteX42" fmla="*/ 0 w 6050247"/>
              <a:gd name="connsiteY42" fmla="*/ 311109 h 4143153"/>
              <a:gd name="connsiteX43" fmla="*/ 0 w 6050247"/>
              <a:gd name="connsiteY43" fmla="*/ 156641 h 4143153"/>
              <a:gd name="connsiteX44" fmla="*/ 832114 w 6050247"/>
              <a:gd name="connsiteY44" fmla="*/ 61160 h 4143153"/>
              <a:gd name="connsiteX45" fmla="*/ 1108528 w 6050247"/>
              <a:gd name="connsiteY45" fmla="*/ 38207 h 4143153"/>
              <a:gd name="connsiteX46" fmla="*/ 1165665 w 6050247"/>
              <a:gd name="connsiteY46" fmla="*/ 33908 h 4143153"/>
              <a:gd name="connsiteX47" fmla="*/ 2227385 w 6050247"/>
              <a:gd name="connsiteY47"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714266 w 6044400"/>
              <a:gd name="connsiteY4" fmla="*/ 166297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0 w 6048699"/>
              <a:gd name="connsiteY26" fmla="*/ 1327153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4475285 w 6050425"/>
              <a:gd name="connsiteY0" fmla="*/ 586078 h 4109247"/>
              <a:gd name="connsiteX1" fmla="*/ 4639346 w 6050425"/>
              <a:gd name="connsiteY1" fmla="*/ 552206 h 4109247"/>
              <a:gd name="connsiteX2" fmla="*/ 4846367 w 6050425"/>
              <a:gd name="connsiteY2" fmla="*/ 506205 h 4109247"/>
              <a:gd name="connsiteX3" fmla="*/ 5121534 w 6050425"/>
              <a:gd name="connsiteY3" fmla="*/ 449842 h 4109247"/>
              <a:gd name="connsiteX4" fmla="*/ 5429000 w 6050425"/>
              <a:gd name="connsiteY4" fmla="*/ 409733 h 4109247"/>
              <a:gd name="connsiteX5" fmla="*/ 6048699 w 6050425"/>
              <a:gd name="connsiteY5" fmla="*/ 361154 h 4109247"/>
              <a:gd name="connsiteX6" fmla="*/ 6044400 w 6050425"/>
              <a:gd name="connsiteY6" fmla="*/ 1194595 h 4109247"/>
              <a:gd name="connsiteX7" fmla="*/ 6044400 w 6050425"/>
              <a:gd name="connsiteY7" fmla="*/ 1220721 h 4109247"/>
              <a:gd name="connsiteX8" fmla="*/ 6044400 w 6050425"/>
              <a:gd name="connsiteY8" fmla="*/ 1268646 h 4109247"/>
              <a:gd name="connsiteX9" fmla="*/ 6044400 w 6050425"/>
              <a:gd name="connsiteY9" fmla="*/ 1305970 h 4109247"/>
              <a:gd name="connsiteX10" fmla="*/ 6044400 w 6050425"/>
              <a:gd name="connsiteY10" fmla="*/ 1334018 h 4109247"/>
              <a:gd name="connsiteX11" fmla="*/ 6044400 w 6050425"/>
              <a:gd name="connsiteY11" fmla="*/ 1354115 h 4109247"/>
              <a:gd name="connsiteX12" fmla="*/ 6044400 w 6050425"/>
              <a:gd name="connsiteY12" fmla="*/ 1367587 h 4109247"/>
              <a:gd name="connsiteX13" fmla="*/ 6044400 w 6050425"/>
              <a:gd name="connsiteY13" fmla="*/ 1379955 h 4109247"/>
              <a:gd name="connsiteX14" fmla="*/ 6044400 w 6050425"/>
              <a:gd name="connsiteY14" fmla="*/ 1381722 h 4109247"/>
              <a:gd name="connsiteX15" fmla="*/ 6044400 w 6050425"/>
              <a:gd name="connsiteY15" fmla="*/ 4109245 h 4109247"/>
              <a:gd name="connsiteX16" fmla="*/ 5557568 w 6050425"/>
              <a:gd name="connsiteY16" fmla="*/ 4090191 h 4109247"/>
              <a:gd name="connsiteX17" fmla="*/ 0 w 6050425"/>
              <a:gd name="connsiteY17" fmla="*/ 4109245 h 4109247"/>
              <a:gd name="connsiteX18" fmla="*/ 0 w 6050425"/>
              <a:gd name="connsiteY18" fmla="*/ 3925592 h 4109247"/>
              <a:gd name="connsiteX19" fmla="*/ 0 w 6050425"/>
              <a:gd name="connsiteY19" fmla="*/ 1461073 h 4109247"/>
              <a:gd name="connsiteX20" fmla="*/ 0 w 6050425"/>
              <a:gd name="connsiteY20" fmla="*/ 1458451 h 4109247"/>
              <a:gd name="connsiteX21" fmla="*/ 0 w 6050425"/>
              <a:gd name="connsiteY21" fmla="*/ 1452223 h 4109247"/>
              <a:gd name="connsiteX22" fmla="*/ 1684243 w 6050425"/>
              <a:gd name="connsiteY22" fmla="*/ 2237237 h 4109247"/>
              <a:gd name="connsiteX23" fmla="*/ 1917876 w 6050425"/>
              <a:gd name="connsiteY23" fmla="*/ 2019295 h 4109247"/>
              <a:gd name="connsiteX24" fmla="*/ 2134576 w 6050425"/>
              <a:gd name="connsiteY24" fmla="*/ 1834696 h 4109247"/>
              <a:gd name="connsiteX25" fmla="*/ 2251663 w 6050425"/>
              <a:gd name="connsiteY25" fmla="*/ 1746466 h 4109247"/>
              <a:gd name="connsiteX26" fmla="*/ 2368749 w 6050425"/>
              <a:gd name="connsiteY26" fmla="*/ 1659032 h 4109247"/>
              <a:gd name="connsiteX27" fmla="*/ 2582334 w 6050425"/>
              <a:gd name="connsiteY27" fmla="*/ 1512064 h 4109247"/>
              <a:gd name="connsiteX28" fmla="*/ 2772833 w 6050425"/>
              <a:gd name="connsiteY28" fmla="*/ 1387887 h 4109247"/>
              <a:gd name="connsiteX29" fmla="*/ 2853266 w 6050425"/>
              <a:gd name="connsiteY29" fmla="*/ 1330126 h 4109247"/>
              <a:gd name="connsiteX30" fmla="*/ 2963334 w 6050425"/>
              <a:gd name="connsiteY30" fmla="*/ 1264219 h 4109247"/>
              <a:gd name="connsiteX31" fmla="*/ 0 w 6050425"/>
              <a:gd name="connsiteY31" fmla="*/ 1051165 h 4109247"/>
              <a:gd name="connsiteX32" fmla="*/ 0 w 6050425"/>
              <a:gd name="connsiteY32" fmla="*/ 1024813 h 4109247"/>
              <a:gd name="connsiteX33" fmla="*/ 0 w 6050425"/>
              <a:gd name="connsiteY33" fmla="*/ 918747 h 4109247"/>
              <a:gd name="connsiteX34" fmla="*/ 0 w 6050425"/>
              <a:gd name="connsiteY34" fmla="*/ 917954 h 4109247"/>
              <a:gd name="connsiteX35" fmla="*/ 0 w 6050425"/>
              <a:gd name="connsiteY35" fmla="*/ 799560 h 4109247"/>
              <a:gd name="connsiteX36" fmla="*/ 0 w 6050425"/>
              <a:gd name="connsiteY36" fmla="*/ 794932 h 4109247"/>
              <a:gd name="connsiteX37" fmla="*/ 0 w 6050425"/>
              <a:gd name="connsiteY37" fmla="*/ 692906 h 4109247"/>
              <a:gd name="connsiteX38" fmla="*/ 0 w 6050425"/>
              <a:gd name="connsiteY38" fmla="*/ 654609 h 4109247"/>
              <a:gd name="connsiteX39" fmla="*/ 0 w 6050425"/>
              <a:gd name="connsiteY39" fmla="*/ 598090 h 4109247"/>
              <a:gd name="connsiteX40" fmla="*/ 0 w 6050425"/>
              <a:gd name="connsiteY40" fmla="*/ 495846 h 4109247"/>
              <a:gd name="connsiteX41" fmla="*/ 0 w 6050425"/>
              <a:gd name="connsiteY41" fmla="*/ 441185 h 4109247"/>
              <a:gd name="connsiteX42" fmla="*/ 0 w 6050425"/>
              <a:gd name="connsiteY42" fmla="*/ 317505 h 4109247"/>
              <a:gd name="connsiteX43" fmla="*/ 0 w 6050425"/>
              <a:gd name="connsiteY43" fmla="*/ 277201 h 4109247"/>
              <a:gd name="connsiteX44" fmla="*/ 0 w 6050425"/>
              <a:gd name="connsiteY44" fmla="*/ 122733 h 4109247"/>
              <a:gd name="connsiteX45" fmla="*/ 832114 w 6050425"/>
              <a:gd name="connsiteY45" fmla="*/ 27252 h 4109247"/>
              <a:gd name="connsiteX46" fmla="*/ 1108528 w 6050425"/>
              <a:gd name="connsiteY46" fmla="*/ 4299 h 4109247"/>
              <a:gd name="connsiteX47" fmla="*/ 1165665 w 6050425"/>
              <a:gd name="connsiteY47" fmla="*/ 0 h 4109247"/>
              <a:gd name="connsiteX48" fmla="*/ 4475285 w 6050425"/>
              <a:gd name="connsiteY48" fmla="*/ 586078 h 4109247"/>
              <a:gd name="connsiteX0" fmla="*/ 4475285 w 6050425"/>
              <a:gd name="connsiteY0" fmla="*/ 581779 h 4104948"/>
              <a:gd name="connsiteX1" fmla="*/ 4639346 w 6050425"/>
              <a:gd name="connsiteY1" fmla="*/ 547907 h 4104948"/>
              <a:gd name="connsiteX2" fmla="*/ 4846367 w 6050425"/>
              <a:gd name="connsiteY2" fmla="*/ 501906 h 4104948"/>
              <a:gd name="connsiteX3" fmla="*/ 5121534 w 6050425"/>
              <a:gd name="connsiteY3" fmla="*/ 445543 h 4104948"/>
              <a:gd name="connsiteX4" fmla="*/ 5429000 w 6050425"/>
              <a:gd name="connsiteY4" fmla="*/ 405434 h 4104948"/>
              <a:gd name="connsiteX5" fmla="*/ 6048699 w 6050425"/>
              <a:gd name="connsiteY5" fmla="*/ 356855 h 4104948"/>
              <a:gd name="connsiteX6" fmla="*/ 6044400 w 6050425"/>
              <a:gd name="connsiteY6" fmla="*/ 1190296 h 4104948"/>
              <a:gd name="connsiteX7" fmla="*/ 6044400 w 6050425"/>
              <a:gd name="connsiteY7" fmla="*/ 1216422 h 4104948"/>
              <a:gd name="connsiteX8" fmla="*/ 6044400 w 6050425"/>
              <a:gd name="connsiteY8" fmla="*/ 1264347 h 4104948"/>
              <a:gd name="connsiteX9" fmla="*/ 6044400 w 6050425"/>
              <a:gd name="connsiteY9" fmla="*/ 1301671 h 4104948"/>
              <a:gd name="connsiteX10" fmla="*/ 6044400 w 6050425"/>
              <a:gd name="connsiteY10" fmla="*/ 1329719 h 4104948"/>
              <a:gd name="connsiteX11" fmla="*/ 6044400 w 6050425"/>
              <a:gd name="connsiteY11" fmla="*/ 1349816 h 4104948"/>
              <a:gd name="connsiteX12" fmla="*/ 6044400 w 6050425"/>
              <a:gd name="connsiteY12" fmla="*/ 1363288 h 4104948"/>
              <a:gd name="connsiteX13" fmla="*/ 6044400 w 6050425"/>
              <a:gd name="connsiteY13" fmla="*/ 1375656 h 4104948"/>
              <a:gd name="connsiteX14" fmla="*/ 6044400 w 6050425"/>
              <a:gd name="connsiteY14" fmla="*/ 1377423 h 4104948"/>
              <a:gd name="connsiteX15" fmla="*/ 6044400 w 6050425"/>
              <a:gd name="connsiteY15" fmla="*/ 4104946 h 4104948"/>
              <a:gd name="connsiteX16" fmla="*/ 5557568 w 6050425"/>
              <a:gd name="connsiteY16" fmla="*/ 4085892 h 4104948"/>
              <a:gd name="connsiteX17" fmla="*/ 0 w 6050425"/>
              <a:gd name="connsiteY17" fmla="*/ 4104946 h 4104948"/>
              <a:gd name="connsiteX18" fmla="*/ 0 w 6050425"/>
              <a:gd name="connsiteY18" fmla="*/ 3921293 h 4104948"/>
              <a:gd name="connsiteX19" fmla="*/ 0 w 6050425"/>
              <a:gd name="connsiteY19" fmla="*/ 1456774 h 4104948"/>
              <a:gd name="connsiteX20" fmla="*/ 0 w 6050425"/>
              <a:gd name="connsiteY20" fmla="*/ 1454152 h 4104948"/>
              <a:gd name="connsiteX21" fmla="*/ 0 w 6050425"/>
              <a:gd name="connsiteY21" fmla="*/ 1447924 h 4104948"/>
              <a:gd name="connsiteX22" fmla="*/ 1684243 w 6050425"/>
              <a:gd name="connsiteY22" fmla="*/ 2232938 h 4104948"/>
              <a:gd name="connsiteX23" fmla="*/ 1917876 w 6050425"/>
              <a:gd name="connsiteY23" fmla="*/ 2014996 h 4104948"/>
              <a:gd name="connsiteX24" fmla="*/ 2134576 w 6050425"/>
              <a:gd name="connsiteY24" fmla="*/ 1830397 h 4104948"/>
              <a:gd name="connsiteX25" fmla="*/ 2251663 w 6050425"/>
              <a:gd name="connsiteY25" fmla="*/ 1742167 h 4104948"/>
              <a:gd name="connsiteX26" fmla="*/ 2368749 w 6050425"/>
              <a:gd name="connsiteY26" fmla="*/ 1654733 h 4104948"/>
              <a:gd name="connsiteX27" fmla="*/ 2582334 w 6050425"/>
              <a:gd name="connsiteY27" fmla="*/ 1507765 h 4104948"/>
              <a:gd name="connsiteX28" fmla="*/ 2772833 w 6050425"/>
              <a:gd name="connsiteY28" fmla="*/ 1383588 h 4104948"/>
              <a:gd name="connsiteX29" fmla="*/ 2853266 w 6050425"/>
              <a:gd name="connsiteY29" fmla="*/ 1325827 h 4104948"/>
              <a:gd name="connsiteX30" fmla="*/ 2963334 w 6050425"/>
              <a:gd name="connsiteY30" fmla="*/ 1259920 h 4104948"/>
              <a:gd name="connsiteX31" fmla="*/ 0 w 6050425"/>
              <a:gd name="connsiteY31" fmla="*/ 1046866 h 4104948"/>
              <a:gd name="connsiteX32" fmla="*/ 0 w 6050425"/>
              <a:gd name="connsiteY32" fmla="*/ 1020514 h 4104948"/>
              <a:gd name="connsiteX33" fmla="*/ 0 w 6050425"/>
              <a:gd name="connsiteY33" fmla="*/ 914448 h 4104948"/>
              <a:gd name="connsiteX34" fmla="*/ 0 w 6050425"/>
              <a:gd name="connsiteY34" fmla="*/ 913655 h 4104948"/>
              <a:gd name="connsiteX35" fmla="*/ 0 w 6050425"/>
              <a:gd name="connsiteY35" fmla="*/ 795261 h 4104948"/>
              <a:gd name="connsiteX36" fmla="*/ 0 w 6050425"/>
              <a:gd name="connsiteY36" fmla="*/ 790633 h 4104948"/>
              <a:gd name="connsiteX37" fmla="*/ 0 w 6050425"/>
              <a:gd name="connsiteY37" fmla="*/ 688607 h 4104948"/>
              <a:gd name="connsiteX38" fmla="*/ 0 w 6050425"/>
              <a:gd name="connsiteY38" fmla="*/ 650310 h 4104948"/>
              <a:gd name="connsiteX39" fmla="*/ 0 w 6050425"/>
              <a:gd name="connsiteY39" fmla="*/ 593791 h 4104948"/>
              <a:gd name="connsiteX40" fmla="*/ 0 w 6050425"/>
              <a:gd name="connsiteY40" fmla="*/ 491547 h 4104948"/>
              <a:gd name="connsiteX41" fmla="*/ 0 w 6050425"/>
              <a:gd name="connsiteY41" fmla="*/ 436886 h 4104948"/>
              <a:gd name="connsiteX42" fmla="*/ 0 w 6050425"/>
              <a:gd name="connsiteY42" fmla="*/ 313206 h 4104948"/>
              <a:gd name="connsiteX43" fmla="*/ 0 w 6050425"/>
              <a:gd name="connsiteY43" fmla="*/ 272902 h 4104948"/>
              <a:gd name="connsiteX44" fmla="*/ 0 w 6050425"/>
              <a:gd name="connsiteY44" fmla="*/ 118434 h 4104948"/>
              <a:gd name="connsiteX45" fmla="*/ 832114 w 6050425"/>
              <a:gd name="connsiteY45" fmla="*/ 22953 h 4104948"/>
              <a:gd name="connsiteX46" fmla="*/ 1108528 w 6050425"/>
              <a:gd name="connsiteY46" fmla="*/ 0 h 4104948"/>
              <a:gd name="connsiteX47" fmla="*/ 4230599 w 6050425"/>
              <a:gd name="connsiteY47" fmla="*/ 652157 h 4104948"/>
              <a:gd name="connsiteX48" fmla="*/ 4475285 w 6050425"/>
              <a:gd name="connsiteY48" fmla="*/ 581779 h 4104948"/>
              <a:gd name="connsiteX0" fmla="*/ 4475285 w 6050425"/>
              <a:gd name="connsiteY0" fmla="*/ 558826 h 4081995"/>
              <a:gd name="connsiteX1" fmla="*/ 4639346 w 6050425"/>
              <a:gd name="connsiteY1" fmla="*/ 524954 h 4081995"/>
              <a:gd name="connsiteX2" fmla="*/ 4846367 w 6050425"/>
              <a:gd name="connsiteY2" fmla="*/ 478953 h 4081995"/>
              <a:gd name="connsiteX3" fmla="*/ 5121534 w 6050425"/>
              <a:gd name="connsiteY3" fmla="*/ 422590 h 4081995"/>
              <a:gd name="connsiteX4" fmla="*/ 5429000 w 6050425"/>
              <a:gd name="connsiteY4" fmla="*/ 382481 h 4081995"/>
              <a:gd name="connsiteX5" fmla="*/ 6048699 w 6050425"/>
              <a:gd name="connsiteY5" fmla="*/ 333902 h 4081995"/>
              <a:gd name="connsiteX6" fmla="*/ 6044400 w 6050425"/>
              <a:gd name="connsiteY6" fmla="*/ 1167343 h 4081995"/>
              <a:gd name="connsiteX7" fmla="*/ 6044400 w 6050425"/>
              <a:gd name="connsiteY7" fmla="*/ 1193469 h 4081995"/>
              <a:gd name="connsiteX8" fmla="*/ 6044400 w 6050425"/>
              <a:gd name="connsiteY8" fmla="*/ 1241394 h 4081995"/>
              <a:gd name="connsiteX9" fmla="*/ 6044400 w 6050425"/>
              <a:gd name="connsiteY9" fmla="*/ 1278718 h 4081995"/>
              <a:gd name="connsiteX10" fmla="*/ 6044400 w 6050425"/>
              <a:gd name="connsiteY10" fmla="*/ 1306766 h 4081995"/>
              <a:gd name="connsiteX11" fmla="*/ 6044400 w 6050425"/>
              <a:gd name="connsiteY11" fmla="*/ 1326863 h 4081995"/>
              <a:gd name="connsiteX12" fmla="*/ 6044400 w 6050425"/>
              <a:gd name="connsiteY12" fmla="*/ 1340335 h 4081995"/>
              <a:gd name="connsiteX13" fmla="*/ 6044400 w 6050425"/>
              <a:gd name="connsiteY13" fmla="*/ 1352703 h 4081995"/>
              <a:gd name="connsiteX14" fmla="*/ 6044400 w 6050425"/>
              <a:gd name="connsiteY14" fmla="*/ 1354470 h 4081995"/>
              <a:gd name="connsiteX15" fmla="*/ 6044400 w 6050425"/>
              <a:gd name="connsiteY15" fmla="*/ 4081993 h 4081995"/>
              <a:gd name="connsiteX16" fmla="*/ 5557568 w 6050425"/>
              <a:gd name="connsiteY16" fmla="*/ 4062939 h 4081995"/>
              <a:gd name="connsiteX17" fmla="*/ 0 w 6050425"/>
              <a:gd name="connsiteY17" fmla="*/ 4081993 h 4081995"/>
              <a:gd name="connsiteX18" fmla="*/ 0 w 6050425"/>
              <a:gd name="connsiteY18" fmla="*/ 3898340 h 4081995"/>
              <a:gd name="connsiteX19" fmla="*/ 0 w 6050425"/>
              <a:gd name="connsiteY19" fmla="*/ 1433821 h 4081995"/>
              <a:gd name="connsiteX20" fmla="*/ 0 w 6050425"/>
              <a:gd name="connsiteY20" fmla="*/ 1431199 h 4081995"/>
              <a:gd name="connsiteX21" fmla="*/ 0 w 6050425"/>
              <a:gd name="connsiteY21" fmla="*/ 1424971 h 4081995"/>
              <a:gd name="connsiteX22" fmla="*/ 1684243 w 6050425"/>
              <a:gd name="connsiteY22" fmla="*/ 2209985 h 4081995"/>
              <a:gd name="connsiteX23" fmla="*/ 1917876 w 6050425"/>
              <a:gd name="connsiteY23" fmla="*/ 1992043 h 4081995"/>
              <a:gd name="connsiteX24" fmla="*/ 2134576 w 6050425"/>
              <a:gd name="connsiteY24" fmla="*/ 1807444 h 4081995"/>
              <a:gd name="connsiteX25" fmla="*/ 2251663 w 6050425"/>
              <a:gd name="connsiteY25" fmla="*/ 1719214 h 4081995"/>
              <a:gd name="connsiteX26" fmla="*/ 2368749 w 6050425"/>
              <a:gd name="connsiteY26" fmla="*/ 1631780 h 4081995"/>
              <a:gd name="connsiteX27" fmla="*/ 2582334 w 6050425"/>
              <a:gd name="connsiteY27" fmla="*/ 1484812 h 4081995"/>
              <a:gd name="connsiteX28" fmla="*/ 2772833 w 6050425"/>
              <a:gd name="connsiteY28" fmla="*/ 1360635 h 4081995"/>
              <a:gd name="connsiteX29" fmla="*/ 2853266 w 6050425"/>
              <a:gd name="connsiteY29" fmla="*/ 1302874 h 4081995"/>
              <a:gd name="connsiteX30" fmla="*/ 2963334 w 6050425"/>
              <a:gd name="connsiteY30" fmla="*/ 1236967 h 4081995"/>
              <a:gd name="connsiteX31" fmla="*/ 0 w 6050425"/>
              <a:gd name="connsiteY31" fmla="*/ 1023913 h 4081995"/>
              <a:gd name="connsiteX32" fmla="*/ 0 w 6050425"/>
              <a:gd name="connsiteY32" fmla="*/ 997561 h 4081995"/>
              <a:gd name="connsiteX33" fmla="*/ 0 w 6050425"/>
              <a:gd name="connsiteY33" fmla="*/ 891495 h 4081995"/>
              <a:gd name="connsiteX34" fmla="*/ 0 w 6050425"/>
              <a:gd name="connsiteY34" fmla="*/ 890702 h 4081995"/>
              <a:gd name="connsiteX35" fmla="*/ 0 w 6050425"/>
              <a:gd name="connsiteY35" fmla="*/ 772308 h 4081995"/>
              <a:gd name="connsiteX36" fmla="*/ 0 w 6050425"/>
              <a:gd name="connsiteY36" fmla="*/ 767680 h 4081995"/>
              <a:gd name="connsiteX37" fmla="*/ 0 w 6050425"/>
              <a:gd name="connsiteY37" fmla="*/ 665654 h 4081995"/>
              <a:gd name="connsiteX38" fmla="*/ 0 w 6050425"/>
              <a:gd name="connsiteY38" fmla="*/ 627357 h 4081995"/>
              <a:gd name="connsiteX39" fmla="*/ 0 w 6050425"/>
              <a:gd name="connsiteY39" fmla="*/ 570838 h 4081995"/>
              <a:gd name="connsiteX40" fmla="*/ 0 w 6050425"/>
              <a:gd name="connsiteY40" fmla="*/ 468594 h 4081995"/>
              <a:gd name="connsiteX41" fmla="*/ 0 w 6050425"/>
              <a:gd name="connsiteY41" fmla="*/ 413933 h 4081995"/>
              <a:gd name="connsiteX42" fmla="*/ 0 w 6050425"/>
              <a:gd name="connsiteY42" fmla="*/ 290253 h 4081995"/>
              <a:gd name="connsiteX43" fmla="*/ 0 w 6050425"/>
              <a:gd name="connsiteY43" fmla="*/ 249949 h 4081995"/>
              <a:gd name="connsiteX44" fmla="*/ 0 w 6050425"/>
              <a:gd name="connsiteY44" fmla="*/ 95481 h 4081995"/>
              <a:gd name="connsiteX45" fmla="*/ 832114 w 6050425"/>
              <a:gd name="connsiteY45" fmla="*/ 0 h 4081995"/>
              <a:gd name="connsiteX46" fmla="*/ 4063395 w 6050425"/>
              <a:gd name="connsiteY46" fmla="*/ 683235 h 4081995"/>
              <a:gd name="connsiteX47" fmla="*/ 4230599 w 6050425"/>
              <a:gd name="connsiteY47" fmla="*/ 629204 h 4081995"/>
              <a:gd name="connsiteX48" fmla="*/ 4475285 w 6050425"/>
              <a:gd name="connsiteY48" fmla="*/ 558826 h 4081995"/>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475285 w 6050425"/>
              <a:gd name="connsiteY0" fmla="*/ 463345 h 3986514"/>
              <a:gd name="connsiteX1" fmla="*/ 4639346 w 6050425"/>
              <a:gd name="connsiteY1" fmla="*/ 429473 h 3986514"/>
              <a:gd name="connsiteX2" fmla="*/ 4846367 w 6050425"/>
              <a:gd name="connsiteY2" fmla="*/ 383472 h 3986514"/>
              <a:gd name="connsiteX3" fmla="*/ 5121534 w 6050425"/>
              <a:gd name="connsiteY3" fmla="*/ 327109 h 3986514"/>
              <a:gd name="connsiteX4" fmla="*/ 5429000 w 6050425"/>
              <a:gd name="connsiteY4" fmla="*/ 287000 h 3986514"/>
              <a:gd name="connsiteX5" fmla="*/ 6048699 w 6050425"/>
              <a:gd name="connsiteY5" fmla="*/ 238421 h 3986514"/>
              <a:gd name="connsiteX6" fmla="*/ 6044400 w 6050425"/>
              <a:gd name="connsiteY6" fmla="*/ 1071862 h 3986514"/>
              <a:gd name="connsiteX7" fmla="*/ 6044400 w 6050425"/>
              <a:gd name="connsiteY7" fmla="*/ 1097988 h 3986514"/>
              <a:gd name="connsiteX8" fmla="*/ 6044400 w 6050425"/>
              <a:gd name="connsiteY8" fmla="*/ 1145913 h 3986514"/>
              <a:gd name="connsiteX9" fmla="*/ 6044400 w 6050425"/>
              <a:gd name="connsiteY9" fmla="*/ 1183237 h 3986514"/>
              <a:gd name="connsiteX10" fmla="*/ 6044400 w 6050425"/>
              <a:gd name="connsiteY10" fmla="*/ 1211285 h 3986514"/>
              <a:gd name="connsiteX11" fmla="*/ 6044400 w 6050425"/>
              <a:gd name="connsiteY11" fmla="*/ 1231382 h 3986514"/>
              <a:gd name="connsiteX12" fmla="*/ 6044400 w 6050425"/>
              <a:gd name="connsiteY12" fmla="*/ 1244854 h 3986514"/>
              <a:gd name="connsiteX13" fmla="*/ 6044400 w 6050425"/>
              <a:gd name="connsiteY13" fmla="*/ 1257222 h 3986514"/>
              <a:gd name="connsiteX14" fmla="*/ 6044400 w 6050425"/>
              <a:gd name="connsiteY14" fmla="*/ 1258989 h 3986514"/>
              <a:gd name="connsiteX15" fmla="*/ 6044400 w 6050425"/>
              <a:gd name="connsiteY15" fmla="*/ 3986512 h 3986514"/>
              <a:gd name="connsiteX16" fmla="*/ 5557568 w 6050425"/>
              <a:gd name="connsiteY16" fmla="*/ 3967458 h 3986514"/>
              <a:gd name="connsiteX17" fmla="*/ 0 w 6050425"/>
              <a:gd name="connsiteY17" fmla="*/ 3986512 h 3986514"/>
              <a:gd name="connsiteX18" fmla="*/ 0 w 6050425"/>
              <a:gd name="connsiteY18" fmla="*/ 3802859 h 3986514"/>
              <a:gd name="connsiteX19" fmla="*/ 0 w 6050425"/>
              <a:gd name="connsiteY19" fmla="*/ 1338340 h 3986514"/>
              <a:gd name="connsiteX20" fmla="*/ 0 w 6050425"/>
              <a:gd name="connsiteY20" fmla="*/ 1335718 h 3986514"/>
              <a:gd name="connsiteX21" fmla="*/ 0 w 6050425"/>
              <a:gd name="connsiteY21" fmla="*/ 1329490 h 3986514"/>
              <a:gd name="connsiteX22" fmla="*/ 1684243 w 6050425"/>
              <a:gd name="connsiteY22" fmla="*/ 2114504 h 3986514"/>
              <a:gd name="connsiteX23" fmla="*/ 1917876 w 6050425"/>
              <a:gd name="connsiteY23" fmla="*/ 1896562 h 3986514"/>
              <a:gd name="connsiteX24" fmla="*/ 2134576 w 6050425"/>
              <a:gd name="connsiteY24" fmla="*/ 1711963 h 3986514"/>
              <a:gd name="connsiteX25" fmla="*/ 2251663 w 6050425"/>
              <a:gd name="connsiteY25" fmla="*/ 1623733 h 3986514"/>
              <a:gd name="connsiteX26" fmla="*/ 2368749 w 6050425"/>
              <a:gd name="connsiteY26" fmla="*/ 1536299 h 3986514"/>
              <a:gd name="connsiteX27" fmla="*/ 2582334 w 6050425"/>
              <a:gd name="connsiteY27" fmla="*/ 1389331 h 3986514"/>
              <a:gd name="connsiteX28" fmla="*/ 2772833 w 6050425"/>
              <a:gd name="connsiteY28" fmla="*/ 1265154 h 3986514"/>
              <a:gd name="connsiteX29" fmla="*/ 2853266 w 6050425"/>
              <a:gd name="connsiteY29" fmla="*/ 1207393 h 3986514"/>
              <a:gd name="connsiteX30" fmla="*/ 2963334 w 6050425"/>
              <a:gd name="connsiteY30" fmla="*/ 1141486 h 3986514"/>
              <a:gd name="connsiteX31" fmla="*/ 0 w 6050425"/>
              <a:gd name="connsiteY31" fmla="*/ 928432 h 3986514"/>
              <a:gd name="connsiteX32" fmla="*/ 0 w 6050425"/>
              <a:gd name="connsiteY32" fmla="*/ 902080 h 3986514"/>
              <a:gd name="connsiteX33" fmla="*/ 0 w 6050425"/>
              <a:gd name="connsiteY33" fmla="*/ 796014 h 3986514"/>
              <a:gd name="connsiteX34" fmla="*/ 0 w 6050425"/>
              <a:gd name="connsiteY34" fmla="*/ 795221 h 3986514"/>
              <a:gd name="connsiteX35" fmla="*/ 0 w 6050425"/>
              <a:gd name="connsiteY35" fmla="*/ 676827 h 3986514"/>
              <a:gd name="connsiteX36" fmla="*/ 0 w 6050425"/>
              <a:gd name="connsiteY36" fmla="*/ 672199 h 3986514"/>
              <a:gd name="connsiteX37" fmla="*/ 0 w 6050425"/>
              <a:gd name="connsiteY37" fmla="*/ 570173 h 3986514"/>
              <a:gd name="connsiteX38" fmla="*/ 0 w 6050425"/>
              <a:gd name="connsiteY38" fmla="*/ 531876 h 3986514"/>
              <a:gd name="connsiteX39" fmla="*/ 0 w 6050425"/>
              <a:gd name="connsiteY39" fmla="*/ 475357 h 3986514"/>
              <a:gd name="connsiteX40" fmla="*/ 0 w 6050425"/>
              <a:gd name="connsiteY40" fmla="*/ 373113 h 3986514"/>
              <a:gd name="connsiteX41" fmla="*/ 0 w 6050425"/>
              <a:gd name="connsiteY41" fmla="*/ 318452 h 3986514"/>
              <a:gd name="connsiteX42" fmla="*/ 0 w 6050425"/>
              <a:gd name="connsiteY42" fmla="*/ 194772 h 3986514"/>
              <a:gd name="connsiteX43" fmla="*/ 0 w 6050425"/>
              <a:gd name="connsiteY43" fmla="*/ 154468 h 3986514"/>
              <a:gd name="connsiteX44" fmla="*/ 0 w 6050425"/>
              <a:gd name="connsiteY44" fmla="*/ 0 h 3986514"/>
              <a:gd name="connsiteX45" fmla="*/ 3884347 w 6050425"/>
              <a:gd name="connsiteY45" fmla="*/ 667070 h 3986514"/>
              <a:gd name="connsiteX46" fmla="*/ 4063395 w 6050425"/>
              <a:gd name="connsiteY46" fmla="*/ 587754 h 3986514"/>
              <a:gd name="connsiteX47" fmla="*/ 4230599 w 6050425"/>
              <a:gd name="connsiteY47" fmla="*/ 533723 h 3986514"/>
              <a:gd name="connsiteX48" fmla="*/ 4475285 w 6050425"/>
              <a:gd name="connsiteY48" fmla="*/ 463345 h 3986514"/>
              <a:gd name="connsiteX0" fmla="*/ 4475285 w 6050425"/>
              <a:gd name="connsiteY0" fmla="*/ 308877 h 3832046"/>
              <a:gd name="connsiteX1" fmla="*/ 4639346 w 6050425"/>
              <a:gd name="connsiteY1" fmla="*/ 275005 h 3832046"/>
              <a:gd name="connsiteX2" fmla="*/ 4846367 w 6050425"/>
              <a:gd name="connsiteY2" fmla="*/ 229004 h 3832046"/>
              <a:gd name="connsiteX3" fmla="*/ 5121534 w 6050425"/>
              <a:gd name="connsiteY3" fmla="*/ 172641 h 3832046"/>
              <a:gd name="connsiteX4" fmla="*/ 5429000 w 6050425"/>
              <a:gd name="connsiteY4" fmla="*/ 132532 h 3832046"/>
              <a:gd name="connsiteX5" fmla="*/ 6048699 w 6050425"/>
              <a:gd name="connsiteY5" fmla="*/ 83953 h 3832046"/>
              <a:gd name="connsiteX6" fmla="*/ 6044400 w 6050425"/>
              <a:gd name="connsiteY6" fmla="*/ 917394 h 3832046"/>
              <a:gd name="connsiteX7" fmla="*/ 6044400 w 6050425"/>
              <a:gd name="connsiteY7" fmla="*/ 943520 h 3832046"/>
              <a:gd name="connsiteX8" fmla="*/ 6044400 w 6050425"/>
              <a:gd name="connsiteY8" fmla="*/ 991445 h 3832046"/>
              <a:gd name="connsiteX9" fmla="*/ 6044400 w 6050425"/>
              <a:gd name="connsiteY9" fmla="*/ 1028769 h 3832046"/>
              <a:gd name="connsiteX10" fmla="*/ 6044400 w 6050425"/>
              <a:gd name="connsiteY10" fmla="*/ 1056817 h 3832046"/>
              <a:gd name="connsiteX11" fmla="*/ 6044400 w 6050425"/>
              <a:gd name="connsiteY11" fmla="*/ 1076914 h 3832046"/>
              <a:gd name="connsiteX12" fmla="*/ 6044400 w 6050425"/>
              <a:gd name="connsiteY12" fmla="*/ 1090386 h 3832046"/>
              <a:gd name="connsiteX13" fmla="*/ 6044400 w 6050425"/>
              <a:gd name="connsiteY13" fmla="*/ 1102754 h 3832046"/>
              <a:gd name="connsiteX14" fmla="*/ 6044400 w 6050425"/>
              <a:gd name="connsiteY14" fmla="*/ 1104521 h 3832046"/>
              <a:gd name="connsiteX15" fmla="*/ 6044400 w 6050425"/>
              <a:gd name="connsiteY15" fmla="*/ 3832044 h 3832046"/>
              <a:gd name="connsiteX16" fmla="*/ 5557568 w 6050425"/>
              <a:gd name="connsiteY16" fmla="*/ 3812990 h 3832046"/>
              <a:gd name="connsiteX17" fmla="*/ 0 w 6050425"/>
              <a:gd name="connsiteY17" fmla="*/ 3832044 h 3832046"/>
              <a:gd name="connsiteX18" fmla="*/ 0 w 6050425"/>
              <a:gd name="connsiteY18" fmla="*/ 3648391 h 3832046"/>
              <a:gd name="connsiteX19" fmla="*/ 0 w 6050425"/>
              <a:gd name="connsiteY19" fmla="*/ 1183872 h 3832046"/>
              <a:gd name="connsiteX20" fmla="*/ 0 w 6050425"/>
              <a:gd name="connsiteY20" fmla="*/ 1181250 h 3832046"/>
              <a:gd name="connsiteX21" fmla="*/ 0 w 6050425"/>
              <a:gd name="connsiteY21" fmla="*/ 1175022 h 3832046"/>
              <a:gd name="connsiteX22" fmla="*/ 1684243 w 6050425"/>
              <a:gd name="connsiteY22" fmla="*/ 1960036 h 3832046"/>
              <a:gd name="connsiteX23" fmla="*/ 1917876 w 6050425"/>
              <a:gd name="connsiteY23" fmla="*/ 1742094 h 3832046"/>
              <a:gd name="connsiteX24" fmla="*/ 2134576 w 6050425"/>
              <a:gd name="connsiteY24" fmla="*/ 1557495 h 3832046"/>
              <a:gd name="connsiteX25" fmla="*/ 2251663 w 6050425"/>
              <a:gd name="connsiteY25" fmla="*/ 1469265 h 3832046"/>
              <a:gd name="connsiteX26" fmla="*/ 2368749 w 6050425"/>
              <a:gd name="connsiteY26" fmla="*/ 1381831 h 3832046"/>
              <a:gd name="connsiteX27" fmla="*/ 2582334 w 6050425"/>
              <a:gd name="connsiteY27" fmla="*/ 1234863 h 3832046"/>
              <a:gd name="connsiteX28" fmla="*/ 2772833 w 6050425"/>
              <a:gd name="connsiteY28" fmla="*/ 1110686 h 3832046"/>
              <a:gd name="connsiteX29" fmla="*/ 2853266 w 6050425"/>
              <a:gd name="connsiteY29" fmla="*/ 1052925 h 3832046"/>
              <a:gd name="connsiteX30" fmla="*/ 2963334 w 6050425"/>
              <a:gd name="connsiteY30" fmla="*/ 987018 h 3832046"/>
              <a:gd name="connsiteX31" fmla="*/ 0 w 6050425"/>
              <a:gd name="connsiteY31" fmla="*/ 773964 h 3832046"/>
              <a:gd name="connsiteX32" fmla="*/ 0 w 6050425"/>
              <a:gd name="connsiteY32" fmla="*/ 747612 h 3832046"/>
              <a:gd name="connsiteX33" fmla="*/ 0 w 6050425"/>
              <a:gd name="connsiteY33" fmla="*/ 641546 h 3832046"/>
              <a:gd name="connsiteX34" fmla="*/ 0 w 6050425"/>
              <a:gd name="connsiteY34" fmla="*/ 640753 h 3832046"/>
              <a:gd name="connsiteX35" fmla="*/ 0 w 6050425"/>
              <a:gd name="connsiteY35" fmla="*/ 522359 h 3832046"/>
              <a:gd name="connsiteX36" fmla="*/ 0 w 6050425"/>
              <a:gd name="connsiteY36" fmla="*/ 517731 h 3832046"/>
              <a:gd name="connsiteX37" fmla="*/ 0 w 6050425"/>
              <a:gd name="connsiteY37" fmla="*/ 415705 h 3832046"/>
              <a:gd name="connsiteX38" fmla="*/ 0 w 6050425"/>
              <a:gd name="connsiteY38" fmla="*/ 377408 h 3832046"/>
              <a:gd name="connsiteX39" fmla="*/ 0 w 6050425"/>
              <a:gd name="connsiteY39" fmla="*/ 320889 h 3832046"/>
              <a:gd name="connsiteX40" fmla="*/ 0 w 6050425"/>
              <a:gd name="connsiteY40" fmla="*/ 218645 h 3832046"/>
              <a:gd name="connsiteX41" fmla="*/ 0 w 6050425"/>
              <a:gd name="connsiteY41" fmla="*/ 163984 h 3832046"/>
              <a:gd name="connsiteX42" fmla="*/ 0 w 6050425"/>
              <a:gd name="connsiteY42" fmla="*/ 40304 h 3832046"/>
              <a:gd name="connsiteX43" fmla="*/ 0 w 6050425"/>
              <a:gd name="connsiteY43" fmla="*/ 0 h 3832046"/>
              <a:gd name="connsiteX44" fmla="*/ 3712633 w 6050425"/>
              <a:gd name="connsiteY44" fmla="*/ 584875 h 3832046"/>
              <a:gd name="connsiteX45" fmla="*/ 3884347 w 6050425"/>
              <a:gd name="connsiteY45" fmla="*/ 512602 h 3832046"/>
              <a:gd name="connsiteX46" fmla="*/ 4063395 w 6050425"/>
              <a:gd name="connsiteY46" fmla="*/ 433286 h 3832046"/>
              <a:gd name="connsiteX47" fmla="*/ 4230599 w 6050425"/>
              <a:gd name="connsiteY47" fmla="*/ 379255 h 3832046"/>
              <a:gd name="connsiteX48" fmla="*/ 4475285 w 6050425"/>
              <a:gd name="connsiteY48" fmla="*/ 308877 h 3832046"/>
              <a:gd name="connsiteX0" fmla="*/ 4475285 w 6050425"/>
              <a:gd name="connsiteY0" fmla="*/ 268573 h 3791742"/>
              <a:gd name="connsiteX1" fmla="*/ 4639346 w 6050425"/>
              <a:gd name="connsiteY1" fmla="*/ 234701 h 3791742"/>
              <a:gd name="connsiteX2" fmla="*/ 4846367 w 6050425"/>
              <a:gd name="connsiteY2" fmla="*/ 188700 h 3791742"/>
              <a:gd name="connsiteX3" fmla="*/ 5121534 w 6050425"/>
              <a:gd name="connsiteY3" fmla="*/ 132337 h 3791742"/>
              <a:gd name="connsiteX4" fmla="*/ 5429000 w 6050425"/>
              <a:gd name="connsiteY4" fmla="*/ 92228 h 3791742"/>
              <a:gd name="connsiteX5" fmla="*/ 6048699 w 6050425"/>
              <a:gd name="connsiteY5" fmla="*/ 43649 h 3791742"/>
              <a:gd name="connsiteX6" fmla="*/ 6044400 w 6050425"/>
              <a:gd name="connsiteY6" fmla="*/ 877090 h 3791742"/>
              <a:gd name="connsiteX7" fmla="*/ 6044400 w 6050425"/>
              <a:gd name="connsiteY7" fmla="*/ 903216 h 3791742"/>
              <a:gd name="connsiteX8" fmla="*/ 6044400 w 6050425"/>
              <a:gd name="connsiteY8" fmla="*/ 951141 h 3791742"/>
              <a:gd name="connsiteX9" fmla="*/ 6044400 w 6050425"/>
              <a:gd name="connsiteY9" fmla="*/ 988465 h 3791742"/>
              <a:gd name="connsiteX10" fmla="*/ 6044400 w 6050425"/>
              <a:gd name="connsiteY10" fmla="*/ 1016513 h 3791742"/>
              <a:gd name="connsiteX11" fmla="*/ 6044400 w 6050425"/>
              <a:gd name="connsiteY11" fmla="*/ 1036610 h 3791742"/>
              <a:gd name="connsiteX12" fmla="*/ 6044400 w 6050425"/>
              <a:gd name="connsiteY12" fmla="*/ 1050082 h 3791742"/>
              <a:gd name="connsiteX13" fmla="*/ 6044400 w 6050425"/>
              <a:gd name="connsiteY13" fmla="*/ 1062450 h 3791742"/>
              <a:gd name="connsiteX14" fmla="*/ 6044400 w 6050425"/>
              <a:gd name="connsiteY14" fmla="*/ 1064217 h 3791742"/>
              <a:gd name="connsiteX15" fmla="*/ 6044400 w 6050425"/>
              <a:gd name="connsiteY15" fmla="*/ 3791740 h 3791742"/>
              <a:gd name="connsiteX16" fmla="*/ 5557568 w 6050425"/>
              <a:gd name="connsiteY16" fmla="*/ 3772686 h 3791742"/>
              <a:gd name="connsiteX17" fmla="*/ 0 w 6050425"/>
              <a:gd name="connsiteY17" fmla="*/ 3791740 h 3791742"/>
              <a:gd name="connsiteX18" fmla="*/ 0 w 6050425"/>
              <a:gd name="connsiteY18" fmla="*/ 3608087 h 3791742"/>
              <a:gd name="connsiteX19" fmla="*/ 0 w 6050425"/>
              <a:gd name="connsiteY19" fmla="*/ 1143568 h 3791742"/>
              <a:gd name="connsiteX20" fmla="*/ 0 w 6050425"/>
              <a:gd name="connsiteY20" fmla="*/ 1140946 h 3791742"/>
              <a:gd name="connsiteX21" fmla="*/ 0 w 6050425"/>
              <a:gd name="connsiteY21" fmla="*/ 1134718 h 3791742"/>
              <a:gd name="connsiteX22" fmla="*/ 1684243 w 6050425"/>
              <a:gd name="connsiteY22" fmla="*/ 1919732 h 3791742"/>
              <a:gd name="connsiteX23" fmla="*/ 1917876 w 6050425"/>
              <a:gd name="connsiteY23" fmla="*/ 1701790 h 3791742"/>
              <a:gd name="connsiteX24" fmla="*/ 2134576 w 6050425"/>
              <a:gd name="connsiteY24" fmla="*/ 1517191 h 3791742"/>
              <a:gd name="connsiteX25" fmla="*/ 2251663 w 6050425"/>
              <a:gd name="connsiteY25" fmla="*/ 1428961 h 3791742"/>
              <a:gd name="connsiteX26" fmla="*/ 2368749 w 6050425"/>
              <a:gd name="connsiteY26" fmla="*/ 1341527 h 3791742"/>
              <a:gd name="connsiteX27" fmla="*/ 2582334 w 6050425"/>
              <a:gd name="connsiteY27" fmla="*/ 1194559 h 3791742"/>
              <a:gd name="connsiteX28" fmla="*/ 2772833 w 6050425"/>
              <a:gd name="connsiteY28" fmla="*/ 1070382 h 3791742"/>
              <a:gd name="connsiteX29" fmla="*/ 2853266 w 6050425"/>
              <a:gd name="connsiteY29" fmla="*/ 1012621 h 3791742"/>
              <a:gd name="connsiteX30" fmla="*/ 2963334 w 6050425"/>
              <a:gd name="connsiteY30" fmla="*/ 946714 h 3791742"/>
              <a:gd name="connsiteX31" fmla="*/ 0 w 6050425"/>
              <a:gd name="connsiteY31" fmla="*/ 733660 h 3791742"/>
              <a:gd name="connsiteX32" fmla="*/ 0 w 6050425"/>
              <a:gd name="connsiteY32" fmla="*/ 707308 h 3791742"/>
              <a:gd name="connsiteX33" fmla="*/ 0 w 6050425"/>
              <a:gd name="connsiteY33" fmla="*/ 601242 h 3791742"/>
              <a:gd name="connsiteX34" fmla="*/ 0 w 6050425"/>
              <a:gd name="connsiteY34" fmla="*/ 600449 h 3791742"/>
              <a:gd name="connsiteX35" fmla="*/ 0 w 6050425"/>
              <a:gd name="connsiteY35" fmla="*/ 482055 h 3791742"/>
              <a:gd name="connsiteX36" fmla="*/ 0 w 6050425"/>
              <a:gd name="connsiteY36" fmla="*/ 477427 h 3791742"/>
              <a:gd name="connsiteX37" fmla="*/ 0 w 6050425"/>
              <a:gd name="connsiteY37" fmla="*/ 375401 h 3791742"/>
              <a:gd name="connsiteX38" fmla="*/ 0 w 6050425"/>
              <a:gd name="connsiteY38" fmla="*/ 337104 h 3791742"/>
              <a:gd name="connsiteX39" fmla="*/ 0 w 6050425"/>
              <a:gd name="connsiteY39" fmla="*/ 280585 h 3791742"/>
              <a:gd name="connsiteX40" fmla="*/ 0 w 6050425"/>
              <a:gd name="connsiteY40" fmla="*/ 178341 h 3791742"/>
              <a:gd name="connsiteX41" fmla="*/ 0 w 6050425"/>
              <a:gd name="connsiteY41" fmla="*/ 123680 h 3791742"/>
              <a:gd name="connsiteX42" fmla="*/ 0 w 6050425"/>
              <a:gd name="connsiteY42" fmla="*/ 0 h 3791742"/>
              <a:gd name="connsiteX43" fmla="*/ 3517900 w 6050425"/>
              <a:gd name="connsiteY43" fmla="*/ 639360 h 3791742"/>
              <a:gd name="connsiteX44" fmla="*/ 3712633 w 6050425"/>
              <a:gd name="connsiteY44" fmla="*/ 544571 h 3791742"/>
              <a:gd name="connsiteX45" fmla="*/ 3884347 w 6050425"/>
              <a:gd name="connsiteY45" fmla="*/ 472298 h 3791742"/>
              <a:gd name="connsiteX46" fmla="*/ 4063395 w 6050425"/>
              <a:gd name="connsiteY46" fmla="*/ 392982 h 3791742"/>
              <a:gd name="connsiteX47" fmla="*/ 4230599 w 6050425"/>
              <a:gd name="connsiteY47" fmla="*/ 338951 h 3791742"/>
              <a:gd name="connsiteX48" fmla="*/ 4475285 w 6050425"/>
              <a:gd name="connsiteY48" fmla="*/ 268573 h 3791742"/>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0 w 6050425"/>
              <a:gd name="connsiteY41" fmla="*/ 80078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3086100 w 6050425"/>
              <a:gd name="connsiteY39" fmla="*/ 837077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293502 h 3748140"/>
              <a:gd name="connsiteX38" fmla="*/ 3086100 w 6050425"/>
              <a:gd name="connsiteY38" fmla="*/ 837077 h 3748140"/>
              <a:gd name="connsiteX39" fmla="*/ 3170767 w 6050425"/>
              <a:gd name="connsiteY39" fmla="*/ 787879 h 3748140"/>
              <a:gd name="connsiteX40" fmla="*/ 3276600 w 6050425"/>
              <a:gd name="connsiteY40" fmla="*/ 729903 h 3748140"/>
              <a:gd name="connsiteX41" fmla="*/ 3386667 w 6050425"/>
              <a:gd name="connsiteY41" fmla="*/ 665901 h 3748140"/>
              <a:gd name="connsiteX42" fmla="*/ 3517900 w 6050425"/>
              <a:gd name="connsiteY42" fmla="*/ 595758 h 3748140"/>
              <a:gd name="connsiteX43" fmla="*/ 3712633 w 6050425"/>
              <a:gd name="connsiteY43" fmla="*/ 500969 h 3748140"/>
              <a:gd name="connsiteX44" fmla="*/ 3884347 w 6050425"/>
              <a:gd name="connsiteY44" fmla="*/ 428696 h 3748140"/>
              <a:gd name="connsiteX45" fmla="*/ 4063395 w 6050425"/>
              <a:gd name="connsiteY45" fmla="*/ 349380 h 3748140"/>
              <a:gd name="connsiteX46" fmla="*/ 4230599 w 6050425"/>
              <a:gd name="connsiteY46" fmla="*/ 295349 h 3748140"/>
              <a:gd name="connsiteX47" fmla="*/ 4475285 w 6050425"/>
              <a:gd name="connsiteY47"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293502 h 3748140"/>
              <a:gd name="connsiteX37" fmla="*/ 3086100 w 6050425"/>
              <a:gd name="connsiteY37" fmla="*/ 837077 h 3748140"/>
              <a:gd name="connsiteX38" fmla="*/ 3170767 w 6050425"/>
              <a:gd name="connsiteY38" fmla="*/ 787879 h 3748140"/>
              <a:gd name="connsiteX39" fmla="*/ 3276600 w 6050425"/>
              <a:gd name="connsiteY39" fmla="*/ 729903 h 3748140"/>
              <a:gd name="connsiteX40" fmla="*/ 3386667 w 6050425"/>
              <a:gd name="connsiteY40" fmla="*/ 665901 h 3748140"/>
              <a:gd name="connsiteX41" fmla="*/ 3517900 w 6050425"/>
              <a:gd name="connsiteY41" fmla="*/ 595758 h 3748140"/>
              <a:gd name="connsiteX42" fmla="*/ 3712633 w 6050425"/>
              <a:gd name="connsiteY42" fmla="*/ 500969 h 3748140"/>
              <a:gd name="connsiteX43" fmla="*/ 3884347 w 6050425"/>
              <a:gd name="connsiteY43" fmla="*/ 428696 h 3748140"/>
              <a:gd name="connsiteX44" fmla="*/ 4063395 w 6050425"/>
              <a:gd name="connsiteY44" fmla="*/ 349380 h 3748140"/>
              <a:gd name="connsiteX45" fmla="*/ 4230599 w 6050425"/>
              <a:gd name="connsiteY45" fmla="*/ 295349 h 3748140"/>
              <a:gd name="connsiteX46" fmla="*/ 4475285 w 6050425"/>
              <a:gd name="connsiteY46"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0 w 6050425"/>
              <a:gd name="connsiteY35" fmla="*/ 29350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2954867 w 6050425"/>
              <a:gd name="connsiteY35" fmla="*/ 90354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2954867 w 6050425"/>
              <a:gd name="connsiteY34" fmla="*/ 903542 h 3748140"/>
              <a:gd name="connsiteX35" fmla="*/ 3086100 w 6050425"/>
              <a:gd name="connsiteY35" fmla="*/ 837077 h 3748140"/>
              <a:gd name="connsiteX36" fmla="*/ 3170767 w 6050425"/>
              <a:gd name="connsiteY36" fmla="*/ 787879 h 3748140"/>
              <a:gd name="connsiteX37" fmla="*/ 3276600 w 6050425"/>
              <a:gd name="connsiteY37" fmla="*/ 729903 h 3748140"/>
              <a:gd name="connsiteX38" fmla="*/ 3386667 w 6050425"/>
              <a:gd name="connsiteY38" fmla="*/ 665901 h 3748140"/>
              <a:gd name="connsiteX39" fmla="*/ 3517900 w 6050425"/>
              <a:gd name="connsiteY39" fmla="*/ 595758 h 3748140"/>
              <a:gd name="connsiteX40" fmla="*/ 3712633 w 6050425"/>
              <a:gd name="connsiteY40" fmla="*/ 500969 h 3748140"/>
              <a:gd name="connsiteX41" fmla="*/ 3884347 w 6050425"/>
              <a:gd name="connsiteY41" fmla="*/ 428696 h 3748140"/>
              <a:gd name="connsiteX42" fmla="*/ 4063395 w 6050425"/>
              <a:gd name="connsiteY42" fmla="*/ 349380 h 3748140"/>
              <a:gd name="connsiteX43" fmla="*/ 4230599 w 6050425"/>
              <a:gd name="connsiteY43" fmla="*/ 295349 h 3748140"/>
              <a:gd name="connsiteX44" fmla="*/ 4475285 w 6050425"/>
              <a:gd name="connsiteY44"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2954867 w 6050425"/>
              <a:gd name="connsiteY33" fmla="*/ 903542 h 3748140"/>
              <a:gd name="connsiteX34" fmla="*/ 3086100 w 6050425"/>
              <a:gd name="connsiteY34" fmla="*/ 837077 h 3748140"/>
              <a:gd name="connsiteX35" fmla="*/ 3170767 w 6050425"/>
              <a:gd name="connsiteY35" fmla="*/ 787879 h 3748140"/>
              <a:gd name="connsiteX36" fmla="*/ 3276600 w 6050425"/>
              <a:gd name="connsiteY36" fmla="*/ 729903 h 3748140"/>
              <a:gd name="connsiteX37" fmla="*/ 3386667 w 6050425"/>
              <a:gd name="connsiteY37" fmla="*/ 665901 h 3748140"/>
              <a:gd name="connsiteX38" fmla="*/ 3517900 w 6050425"/>
              <a:gd name="connsiteY38" fmla="*/ 595758 h 3748140"/>
              <a:gd name="connsiteX39" fmla="*/ 3712633 w 6050425"/>
              <a:gd name="connsiteY39" fmla="*/ 500969 h 3748140"/>
              <a:gd name="connsiteX40" fmla="*/ 3884347 w 6050425"/>
              <a:gd name="connsiteY40" fmla="*/ 428696 h 3748140"/>
              <a:gd name="connsiteX41" fmla="*/ 4063395 w 6050425"/>
              <a:gd name="connsiteY41" fmla="*/ 349380 h 3748140"/>
              <a:gd name="connsiteX42" fmla="*/ 4230599 w 6050425"/>
              <a:gd name="connsiteY42" fmla="*/ 295349 h 3748140"/>
              <a:gd name="connsiteX43" fmla="*/ 4475285 w 6050425"/>
              <a:gd name="connsiteY43"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2954867 w 6050425"/>
              <a:gd name="connsiteY32" fmla="*/ 903542 h 3748140"/>
              <a:gd name="connsiteX33" fmla="*/ 3086100 w 6050425"/>
              <a:gd name="connsiteY33" fmla="*/ 837077 h 3748140"/>
              <a:gd name="connsiteX34" fmla="*/ 3170767 w 6050425"/>
              <a:gd name="connsiteY34" fmla="*/ 787879 h 3748140"/>
              <a:gd name="connsiteX35" fmla="*/ 3276600 w 6050425"/>
              <a:gd name="connsiteY35" fmla="*/ 729903 h 3748140"/>
              <a:gd name="connsiteX36" fmla="*/ 3386667 w 6050425"/>
              <a:gd name="connsiteY36" fmla="*/ 665901 h 3748140"/>
              <a:gd name="connsiteX37" fmla="*/ 3517900 w 6050425"/>
              <a:gd name="connsiteY37" fmla="*/ 595758 h 3748140"/>
              <a:gd name="connsiteX38" fmla="*/ 3712633 w 6050425"/>
              <a:gd name="connsiteY38" fmla="*/ 500969 h 3748140"/>
              <a:gd name="connsiteX39" fmla="*/ 3884347 w 6050425"/>
              <a:gd name="connsiteY39" fmla="*/ 428696 h 3748140"/>
              <a:gd name="connsiteX40" fmla="*/ 4063395 w 6050425"/>
              <a:gd name="connsiteY40" fmla="*/ 349380 h 3748140"/>
              <a:gd name="connsiteX41" fmla="*/ 4230599 w 6050425"/>
              <a:gd name="connsiteY41" fmla="*/ 295349 h 3748140"/>
              <a:gd name="connsiteX42" fmla="*/ 4475285 w 6050425"/>
              <a:gd name="connsiteY42"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2353733 w 6050425"/>
              <a:gd name="connsiteY18" fmla="*/ 2420660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804957 w 4366182"/>
              <a:gd name="connsiteY17" fmla="*/ 2524743 h 3748140"/>
              <a:gd name="connsiteX18" fmla="*/ 669490 w 4366182"/>
              <a:gd name="connsiteY18" fmla="*/ 2420660 h 3748140"/>
              <a:gd name="connsiteX19" fmla="*/ 474757 w 4366182"/>
              <a:gd name="connsiteY19" fmla="*/ 2273630 h 3748140"/>
              <a:gd name="connsiteX20" fmla="*/ 335057 w 4366182"/>
              <a:gd name="connsiteY20" fmla="*/ 2151653 h 3748140"/>
              <a:gd name="connsiteX21" fmla="*/ 148790 w 4366182"/>
              <a:gd name="connsiteY21" fmla="*/ 1999545 h 3748140"/>
              <a:gd name="connsiteX22" fmla="*/ 0 w 4366182"/>
              <a:gd name="connsiteY22" fmla="*/ 1876130 h 3748140"/>
              <a:gd name="connsiteX23" fmla="*/ 233633 w 4366182"/>
              <a:gd name="connsiteY23" fmla="*/ 1658188 h 3748140"/>
              <a:gd name="connsiteX24" fmla="*/ 450333 w 4366182"/>
              <a:gd name="connsiteY24" fmla="*/ 1473589 h 3748140"/>
              <a:gd name="connsiteX25" fmla="*/ 567420 w 4366182"/>
              <a:gd name="connsiteY25" fmla="*/ 1385359 h 3748140"/>
              <a:gd name="connsiteX26" fmla="*/ 684506 w 4366182"/>
              <a:gd name="connsiteY26" fmla="*/ 1297925 h 3748140"/>
              <a:gd name="connsiteX27" fmla="*/ 898091 w 4366182"/>
              <a:gd name="connsiteY27" fmla="*/ 1150957 h 3748140"/>
              <a:gd name="connsiteX28" fmla="*/ 1088590 w 4366182"/>
              <a:gd name="connsiteY28" fmla="*/ 1026780 h 3748140"/>
              <a:gd name="connsiteX29" fmla="*/ 1169023 w 4366182"/>
              <a:gd name="connsiteY29" fmla="*/ 969019 h 3748140"/>
              <a:gd name="connsiteX30" fmla="*/ 1279091 w 4366182"/>
              <a:gd name="connsiteY30" fmla="*/ 903112 h 3748140"/>
              <a:gd name="connsiteX31" fmla="*/ 1270624 w 4366182"/>
              <a:gd name="connsiteY31" fmla="*/ 903542 h 3748140"/>
              <a:gd name="connsiteX32" fmla="*/ 1401857 w 4366182"/>
              <a:gd name="connsiteY32" fmla="*/ 837077 h 3748140"/>
              <a:gd name="connsiteX33" fmla="*/ 1486524 w 4366182"/>
              <a:gd name="connsiteY33" fmla="*/ 787879 h 3748140"/>
              <a:gd name="connsiteX34" fmla="*/ 1592357 w 4366182"/>
              <a:gd name="connsiteY34" fmla="*/ 729903 h 3748140"/>
              <a:gd name="connsiteX35" fmla="*/ 1702424 w 4366182"/>
              <a:gd name="connsiteY35" fmla="*/ 665901 h 3748140"/>
              <a:gd name="connsiteX36" fmla="*/ 1833657 w 4366182"/>
              <a:gd name="connsiteY36" fmla="*/ 595758 h 3748140"/>
              <a:gd name="connsiteX37" fmla="*/ 2028390 w 4366182"/>
              <a:gd name="connsiteY37" fmla="*/ 500969 h 3748140"/>
              <a:gd name="connsiteX38" fmla="*/ 2200104 w 4366182"/>
              <a:gd name="connsiteY38" fmla="*/ 428696 h 3748140"/>
              <a:gd name="connsiteX39" fmla="*/ 2379152 w 4366182"/>
              <a:gd name="connsiteY39" fmla="*/ 349380 h 3748140"/>
              <a:gd name="connsiteX40" fmla="*/ 2546356 w 4366182"/>
              <a:gd name="connsiteY40" fmla="*/ 295349 h 3748140"/>
              <a:gd name="connsiteX41" fmla="*/ 2791042 w 4366182"/>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969257 w 4366182"/>
              <a:gd name="connsiteY17" fmla="*/ 2634988 h 3748140"/>
              <a:gd name="connsiteX18" fmla="*/ 804957 w 4366182"/>
              <a:gd name="connsiteY18" fmla="*/ 2524743 h 3748140"/>
              <a:gd name="connsiteX19" fmla="*/ 669490 w 4366182"/>
              <a:gd name="connsiteY19" fmla="*/ 2420660 h 3748140"/>
              <a:gd name="connsiteX20" fmla="*/ 474757 w 4366182"/>
              <a:gd name="connsiteY20" fmla="*/ 2273630 h 3748140"/>
              <a:gd name="connsiteX21" fmla="*/ 335057 w 4366182"/>
              <a:gd name="connsiteY21" fmla="*/ 2151653 h 3748140"/>
              <a:gd name="connsiteX22" fmla="*/ 148790 w 4366182"/>
              <a:gd name="connsiteY22" fmla="*/ 1999545 h 3748140"/>
              <a:gd name="connsiteX23" fmla="*/ 0 w 4366182"/>
              <a:gd name="connsiteY23" fmla="*/ 1876130 h 3748140"/>
              <a:gd name="connsiteX24" fmla="*/ 233633 w 4366182"/>
              <a:gd name="connsiteY24" fmla="*/ 1658188 h 3748140"/>
              <a:gd name="connsiteX25" fmla="*/ 450333 w 4366182"/>
              <a:gd name="connsiteY25" fmla="*/ 1473589 h 3748140"/>
              <a:gd name="connsiteX26" fmla="*/ 567420 w 4366182"/>
              <a:gd name="connsiteY26" fmla="*/ 1385359 h 3748140"/>
              <a:gd name="connsiteX27" fmla="*/ 684506 w 4366182"/>
              <a:gd name="connsiteY27" fmla="*/ 1297925 h 3748140"/>
              <a:gd name="connsiteX28" fmla="*/ 898091 w 4366182"/>
              <a:gd name="connsiteY28" fmla="*/ 1150957 h 3748140"/>
              <a:gd name="connsiteX29" fmla="*/ 1088590 w 4366182"/>
              <a:gd name="connsiteY29" fmla="*/ 1026780 h 3748140"/>
              <a:gd name="connsiteX30" fmla="*/ 1169023 w 4366182"/>
              <a:gd name="connsiteY30" fmla="*/ 969019 h 3748140"/>
              <a:gd name="connsiteX31" fmla="*/ 1279091 w 4366182"/>
              <a:gd name="connsiteY31" fmla="*/ 903112 h 3748140"/>
              <a:gd name="connsiteX32" fmla="*/ 1270624 w 4366182"/>
              <a:gd name="connsiteY32" fmla="*/ 903542 h 3748140"/>
              <a:gd name="connsiteX33" fmla="*/ 1401857 w 4366182"/>
              <a:gd name="connsiteY33" fmla="*/ 837077 h 3748140"/>
              <a:gd name="connsiteX34" fmla="*/ 1486524 w 4366182"/>
              <a:gd name="connsiteY34" fmla="*/ 787879 h 3748140"/>
              <a:gd name="connsiteX35" fmla="*/ 1592357 w 4366182"/>
              <a:gd name="connsiteY35" fmla="*/ 729903 h 3748140"/>
              <a:gd name="connsiteX36" fmla="*/ 1702424 w 4366182"/>
              <a:gd name="connsiteY36" fmla="*/ 665901 h 3748140"/>
              <a:gd name="connsiteX37" fmla="*/ 1833657 w 4366182"/>
              <a:gd name="connsiteY37" fmla="*/ 595758 h 3748140"/>
              <a:gd name="connsiteX38" fmla="*/ 2028390 w 4366182"/>
              <a:gd name="connsiteY38" fmla="*/ 500969 h 3748140"/>
              <a:gd name="connsiteX39" fmla="*/ 2200104 w 4366182"/>
              <a:gd name="connsiteY39" fmla="*/ 428696 h 3748140"/>
              <a:gd name="connsiteX40" fmla="*/ 2379152 w 4366182"/>
              <a:gd name="connsiteY40" fmla="*/ 349380 h 3748140"/>
              <a:gd name="connsiteX41" fmla="*/ 2546356 w 4366182"/>
              <a:gd name="connsiteY41" fmla="*/ 295349 h 3748140"/>
              <a:gd name="connsiteX42" fmla="*/ 2791042 w 4366182"/>
              <a:gd name="connsiteY42"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35958 w 4366182"/>
              <a:gd name="connsiteY17" fmla="*/ 2807391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718557 w 4366182"/>
              <a:gd name="connsiteY17" fmla="*/ 3089203 h 3748140"/>
              <a:gd name="connsiteX18" fmla="*/ 1481491 w 4366182"/>
              <a:gd name="connsiteY18" fmla="*/ 2959900 h 3748140"/>
              <a:gd name="connsiteX19" fmla="*/ 1235958 w 4366182"/>
              <a:gd name="connsiteY19" fmla="*/ 2807391 h 3748140"/>
              <a:gd name="connsiteX20" fmla="*/ 969257 w 4366182"/>
              <a:gd name="connsiteY20" fmla="*/ 2634988 h 3748140"/>
              <a:gd name="connsiteX21" fmla="*/ 804957 w 4366182"/>
              <a:gd name="connsiteY21" fmla="*/ 2524743 h 3748140"/>
              <a:gd name="connsiteX22" fmla="*/ 669490 w 4366182"/>
              <a:gd name="connsiteY22" fmla="*/ 2420660 h 3748140"/>
              <a:gd name="connsiteX23" fmla="*/ 474757 w 4366182"/>
              <a:gd name="connsiteY23" fmla="*/ 2273630 h 3748140"/>
              <a:gd name="connsiteX24" fmla="*/ 335057 w 4366182"/>
              <a:gd name="connsiteY24" fmla="*/ 2151653 h 3748140"/>
              <a:gd name="connsiteX25" fmla="*/ 148790 w 4366182"/>
              <a:gd name="connsiteY25" fmla="*/ 1999545 h 3748140"/>
              <a:gd name="connsiteX26" fmla="*/ 0 w 4366182"/>
              <a:gd name="connsiteY26" fmla="*/ 1876130 h 3748140"/>
              <a:gd name="connsiteX27" fmla="*/ 233633 w 4366182"/>
              <a:gd name="connsiteY27" fmla="*/ 1658188 h 3748140"/>
              <a:gd name="connsiteX28" fmla="*/ 450333 w 4366182"/>
              <a:gd name="connsiteY28" fmla="*/ 1473589 h 3748140"/>
              <a:gd name="connsiteX29" fmla="*/ 567420 w 4366182"/>
              <a:gd name="connsiteY29" fmla="*/ 1385359 h 3748140"/>
              <a:gd name="connsiteX30" fmla="*/ 684506 w 4366182"/>
              <a:gd name="connsiteY30" fmla="*/ 1297925 h 3748140"/>
              <a:gd name="connsiteX31" fmla="*/ 898091 w 4366182"/>
              <a:gd name="connsiteY31" fmla="*/ 1150957 h 3748140"/>
              <a:gd name="connsiteX32" fmla="*/ 1088590 w 4366182"/>
              <a:gd name="connsiteY32" fmla="*/ 1026780 h 3748140"/>
              <a:gd name="connsiteX33" fmla="*/ 1169023 w 4366182"/>
              <a:gd name="connsiteY33" fmla="*/ 969019 h 3748140"/>
              <a:gd name="connsiteX34" fmla="*/ 1279091 w 4366182"/>
              <a:gd name="connsiteY34" fmla="*/ 903112 h 3748140"/>
              <a:gd name="connsiteX35" fmla="*/ 1270624 w 4366182"/>
              <a:gd name="connsiteY35" fmla="*/ 903542 h 3748140"/>
              <a:gd name="connsiteX36" fmla="*/ 1401857 w 4366182"/>
              <a:gd name="connsiteY36" fmla="*/ 837077 h 3748140"/>
              <a:gd name="connsiteX37" fmla="*/ 1486524 w 4366182"/>
              <a:gd name="connsiteY37" fmla="*/ 787879 h 3748140"/>
              <a:gd name="connsiteX38" fmla="*/ 1592357 w 4366182"/>
              <a:gd name="connsiteY38" fmla="*/ 729903 h 3748140"/>
              <a:gd name="connsiteX39" fmla="*/ 1702424 w 4366182"/>
              <a:gd name="connsiteY39" fmla="*/ 665901 h 3748140"/>
              <a:gd name="connsiteX40" fmla="*/ 1833657 w 4366182"/>
              <a:gd name="connsiteY40" fmla="*/ 595758 h 3748140"/>
              <a:gd name="connsiteX41" fmla="*/ 2028390 w 4366182"/>
              <a:gd name="connsiteY41" fmla="*/ 500969 h 3748140"/>
              <a:gd name="connsiteX42" fmla="*/ 2200104 w 4366182"/>
              <a:gd name="connsiteY42" fmla="*/ 428696 h 3748140"/>
              <a:gd name="connsiteX43" fmla="*/ 2379152 w 4366182"/>
              <a:gd name="connsiteY43" fmla="*/ 349380 h 3748140"/>
              <a:gd name="connsiteX44" fmla="*/ 2546356 w 4366182"/>
              <a:gd name="connsiteY44" fmla="*/ 295349 h 3748140"/>
              <a:gd name="connsiteX45" fmla="*/ 2791042 w 4366182"/>
              <a:gd name="connsiteY45"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981023 w 4366182"/>
              <a:gd name="connsiteY17" fmla="*/ 3221820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9623 w 4366182"/>
              <a:gd name="connsiteY17" fmla="*/ 3311338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22323 w 4366182"/>
              <a:gd name="connsiteY17" fmla="*/ 3324600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63623 w 4366182"/>
              <a:gd name="connsiteY17" fmla="*/ 3410800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92224 w 4366182"/>
              <a:gd name="connsiteY17" fmla="*/ 3483741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967391 w 4366182"/>
              <a:gd name="connsiteY17" fmla="*/ 3559997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57686"/>
              <a:gd name="connsiteX1" fmla="*/ 2955103 w 4366182"/>
              <a:gd name="connsiteY1" fmla="*/ 191099 h 3757686"/>
              <a:gd name="connsiteX2" fmla="*/ 3162124 w 4366182"/>
              <a:gd name="connsiteY2" fmla="*/ 145098 h 3757686"/>
              <a:gd name="connsiteX3" fmla="*/ 3437291 w 4366182"/>
              <a:gd name="connsiteY3" fmla="*/ 88735 h 3757686"/>
              <a:gd name="connsiteX4" fmla="*/ 3744757 w 4366182"/>
              <a:gd name="connsiteY4" fmla="*/ 48626 h 3757686"/>
              <a:gd name="connsiteX5" fmla="*/ 4364456 w 4366182"/>
              <a:gd name="connsiteY5" fmla="*/ 47 h 3757686"/>
              <a:gd name="connsiteX6" fmla="*/ 4360157 w 4366182"/>
              <a:gd name="connsiteY6" fmla="*/ 833488 h 3757686"/>
              <a:gd name="connsiteX7" fmla="*/ 4360157 w 4366182"/>
              <a:gd name="connsiteY7" fmla="*/ 859614 h 3757686"/>
              <a:gd name="connsiteX8" fmla="*/ 4360157 w 4366182"/>
              <a:gd name="connsiteY8" fmla="*/ 907539 h 3757686"/>
              <a:gd name="connsiteX9" fmla="*/ 4360157 w 4366182"/>
              <a:gd name="connsiteY9" fmla="*/ 944863 h 3757686"/>
              <a:gd name="connsiteX10" fmla="*/ 4360157 w 4366182"/>
              <a:gd name="connsiteY10" fmla="*/ 972911 h 3757686"/>
              <a:gd name="connsiteX11" fmla="*/ 4360157 w 4366182"/>
              <a:gd name="connsiteY11" fmla="*/ 993008 h 3757686"/>
              <a:gd name="connsiteX12" fmla="*/ 4360157 w 4366182"/>
              <a:gd name="connsiteY12" fmla="*/ 1006480 h 3757686"/>
              <a:gd name="connsiteX13" fmla="*/ 4360157 w 4366182"/>
              <a:gd name="connsiteY13" fmla="*/ 1018848 h 3757686"/>
              <a:gd name="connsiteX14" fmla="*/ 4360157 w 4366182"/>
              <a:gd name="connsiteY14" fmla="*/ 1020615 h 3757686"/>
              <a:gd name="connsiteX15" fmla="*/ 4360157 w 4366182"/>
              <a:gd name="connsiteY15" fmla="*/ 3748138 h 3757686"/>
              <a:gd name="connsiteX16" fmla="*/ 3873325 w 4366182"/>
              <a:gd name="connsiteY16" fmla="*/ 3729084 h 3757686"/>
              <a:gd name="connsiteX17" fmla="*/ 3390724 w 4366182"/>
              <a:gd name="connsiteY17" fmla="*/ 3752290 h 3757686"/>
              <a:gd name="connsiteX18" fmla="*/ 3179057 w 4366182"/>
              <a:gd name="connsiteY18" fmla="*/ 3609727 h 3757686"/>
              <a:gd name="connsiteX19" fmla="*/ 2967391 w 4366182"/>
              <a:gd name="connsiteY19" fmla="*/ 3559997 h 3757686"/>
              <a:gd name="connsiteX20" fmla="*/ 2692224 w 4366182"/>
              <a:gd name="connsiteY20" fmla="*/ 3483741 h 3757686"/>
              <a:gd name="connsiteX21" fmla="*/ 2463623 w 4366182"/>
              <a:gd name="connsiteY21" fmla="*/ 3410800 h 3757686"/>
              <a:gd name="connsiteX22" fmla="*/ 2222323 w 4366182"/>
              <a:gd name="connsiteY22" fmla="*/ 3324600 h 3757686"/>
              <a:gd name="connsiteX23" fmla="*/ 1981023 w 4366182"/>
              <a:gd name="connsiteY23" fmla="*/ 3221820 h 3757686"/>
              <a:gd name="connsiteX24" fmla="*/ 1718557 w 4366182"/>
              <a:gd name="connsiteY24" fmla="*/ 3089203 h 3757686"/>
              <a:gd name="connsiteX25" fmla="*/ 1481491 w 4366182"/>
              <a:gd name="connsiteY25" fmla="*/ 2959900 h 3757686"/>
              <a:gd name="connsiteX26" fmla="*/ 1235958 w 4366182"/>
              <a:gd name="connsiteY26" fmla="*/ 2807391 h 3757686"/>
              <a:gd name="connsiteX27" fmla="*/ 969257 w 4366182"/>
              <a:gd name="connsiteY27" fmla="*/ 2634988 h 3757686"/>
              <a:gd name="connsiteX28" fmla="*/ 804957 w 4366182"/>
              <a:gd name="connsiteY28" fmla="*/ 2524743 h 3757686"/>
              <a:gd name="connsiteX29" fmla="*/ 669490 w 4366182"/>
              <a:gd name="connsiteY29" fmla="*/ 2420660 h 3757686"/>
              <a:gd name="connsiteX30" fmla="*/ 474757 w 4366182"/>
              <a:gd name="connsiteY30" fmla="*/ 2273630 h 3757686"/>
              <a:gd name="connsiteX31" fmla="*/ 335057 w 4366182"/>
              <a:gd name="connsiteY31" fmla="*/ 2151653 h 3757686"/>
              <a:gd name="connsiteX32" fmla="*/ 148790 w 4366182"/>
              <a:gd name="connsiteY32" fmla="*/ 1999545 h 3757686"/>
              <a:gd name="connsiteX33" fmla="*/ 0 w 4366182"/>
              <a:gd name="connsiteY33" fmla="*/ 1876130 h 3757686"/>
              <a:gd name="connsiteX34" fmla="*/ 233633 w 4366182"/>
              <a:gd name="connsiteY34" fmla="*/ 1658188 h 3757686"/>
              <a:gd name="connsiteX35" fmla="*/ 450333 w 4366182"/>
              <a:gd name="connsiteY35" fmla="*/ 1473589 h 3757686"/>
              <a:gd name="connsiteX36" fmla="*/ 567420 w 4366182"/>
              <a:gd name="connsiteY36" fmla="*/ 1385359 h 3757686"/>
              <a:gd name="connsiteX37" fmla="*/ 684506 w 4366182"/>
              <a:gd name="connsiteY37" fmla="*/ 1297925 h 3757686"/>
              <a:gd name="connsiteX38" fmla="*/ 898091 w 4366182"/>
              <a:gd name="connsiteY38" fmla="*/ 1150957 h 3757686"/>
              <a:gd name="connsiteX39" fmla="*/ 1088590 w 4366182"/>
              <a:gd name="connsiteY39" fmla="*/ 1026780 h 3757686"/>
              <a:gd name="connsiteX40" fmla="*/ 1169023 w 4366182"/>
              <a:gd name="connsiteY40" fmla="*/ 969019 h 3757686"/>
              <a:gd name="connsiteX41" fmla="*/ 1279091 w 4366182"/>
              <a:gd name="connsiteY41" fmla="*/ 903112 h 3757686"/>
              <a:gd name="connsiteX42" fmla="*/ 1270624 w 4366182"/>
              <a:gd name="connsiteY42" fmla="*/ 903542 h 3757686"/>
              <a:gd name="connsiteX43" fmla="*/ 1401857 w 4366182"/>
              <a:gd name="connsiteY43" fmla="*/ 837077 h 3757686"/>
              <a:gd name="connsiteX44" fmla="*/ 1486524 w 4366182"/>
              <a:gd name="connsiteY44" fmla="*/ 787879 h 3757686"/>
              <a:gd name="connsiteX45" fmla="*/ 1592357 w 4366182"/>
              <a:gd name="connsiteY45" fmla="*/ 729903 h 3757686"/>
              <a:gd name="connsiteX46" fmla="*/ 1702424 w 4366182"/>
              <a:gd name="connsiteY46" fmla="*/ 665901 h 3757686"/>
              <a:gd name="connsiteX47" fmla="*/ 1833657 w 4366182"/>
              <a:gd name="connsiteY47" fmla="*/ 595758 h 3757686"/>
              <a:gd name="connsiteX48" fmla="*/ 2028390 w 4366182"/>
              <a:gd name="connsiteY48" fmla="*/ 500969 h 3757686"/>
              <a:gd name="connsiteX49" fmla="*/ 2200104 w 4366182"/>
              <a:gd name="connsiteY49" fmla="*/ 428696 h 3757686"/>
              <a:gd name="connsiteX50" fmla="*/ 2379152 w 4366182"/>
              <a:gd name="connsiteY50" fmla="*/ 349380 h 3757686"/>
              <a:gd name="connsiteX51" fmla="*/ 2546356 w 4366182"/>
              <a:gd name="connsiteY51" fmla="*/ 295349 h 3757686"/>
              <a:gd name="connsiteX52" fmla="*/ 2791042 w 4366182"/>
              <a:gd name="connsiteY52" fmla="*/ 224971 h 3757686"/>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399191 w 4366182"/>
              <a:gd name="connsiteY17" fmla="*/ 3656142 h 3748140"/>
              <a:gd name="connsiteX18" fmla="*/ 3179057 w 4366182"/>
              <a:gd name="connsiteY18" fmla="*/ 3609727 h 3748140"/>
              <a:gd name="connsiteX19" fmla="*/ 2967391 w 4366182"/>
              <a:gd name="connsiteY19" fmla="*/ 3559997 h 3748140"/>
              <a:gd name="connsiteX20" fmla="*/ 2692224 w 4366182"/>
              <a:gd name="connsiteY20" fmla="*/ 3483741 h 3748140"/>
              <a:gd name="connsiteX21" fmla="*/ 2463623 w 4366182"/>
              <a:gd name="connsiteY21" fmla="*/ 3410800 h 3748140"/>
              <a:gd name="connsiteX22" fmla="*/ 2222323 w 4366182"/>
              <a:gd name="connsiteY22" fmla="*/ 3324600 h 3748140"/>
              <a:gd name="connsiteX23" fmla="*/ 1981023 w 4366182"/>
              <a:gd name="connsiteY23" fmla="*/ 3221820 h 3748140"/>
              <a:gd name="connsiteX24" fmla="*/ 1718557 w 4366182"/>
              <a:gd name="connsiteY24" fmla="*/ 3089203 h 3748140"/>
              <a:gd name="connsiteX25" fmla="*/ 1481491 w 4366182"/>
              <a:gd name="connsiteY25" fmla="*/ 2959900 h 3748140"/>
              <a:gd name="connsiteX26" fmla="*/ 1235958 w 4366182"/>
              <a:gd name="connsiteY26" fmla="*/ 2807391 h 3748140"/>
              <a:gd name="connsiteX27" fmla="*/ 969257 w 4366182"/>
              <a:gd name="connsiteY27" fmla="*/ 2634988 h 3748140"/>
              <a:gd name="connsiteX28" fmla="*/ 804957 w 4366182"/>
              <a:gd name="connsiteY28" fmla="*/ 2524743 h 3748140"/>
              <a:gd name="connsiteX29" fmla="*/ 669490 w 4366182"/>
              <a:gd name="connsiteY29" fmla="*/ 2420660 h 3748140"/>
              <a:gd name="connsiteX30" fmla="*/ 474757 w 4366182"/>
              <a:gd name="connsiteY30" fmla="*/ 2273630 h 3748140"/>
              <a:gd name="connsiteX31" fmla="*/ 335057 w 4366182"/>
              <a:gd name="connsiteY31" fmla="*/ 2151653 h 3748140"/>
              <a:gd name="connsiteX32" fmla="*/ 148790 w 4366182"/>
              <a:gd name="connsiteY32" fmla="*/ 1999545 h 3748140"/>
              <a:gd name="connsiteX33" fmla="*/ 0 w 4366182"/>
              <a:gd name="connsiteY33" fmla="*/ 1876130 h 3748140"/>
              <a:gd name="connsiteX34" fmla="*/ 233633 w 4366182"/>
              <a:gd name="connsiteY34" fmla="*/ 1658188 h 3748140"/>
              <a:gd name="connsiteX35" fmla="*/ 450333 w 4366182"/>
              <a:gd name="connsiteY35" fmla="*/ 1473589 h 3748140"/>
              <a:gd name="connsiteX36" fmla="*/ 567420 w 4366182"/>
              <a:gd name="connsiteY36" fmla="*/ 1385359 h 3748140"/>
              <a:gd name="connsiteX37" fmla="*/ 684506 w 4366182"/>
              <a:gd name="connsiteY37" fmla="*/ 1297925 h 3748140"/>
              <a:gd name="connsiteX38" fmla="*/ 898091 w 4366182"/>
              <a:gd name="connsiteY38" fmla="*/ 1150957 h 3748140"/>
              <a:gd name="connsiteX39" fmla="*/ 1088590 w 4366182"/>
              <a:gd name="connsiteY39" fmla="*/ 1026780 h 3748140"/>
              <a:gd name="connsiteX40" fmla="*/ 1169023 w 4366182"/>
              <a:gd name="connsiteY40" fmla="*/ 969019 h 3748140"/>
              <a:gd name="connsiteX41" fmla="*/ 1279091 w 4366182"/>
              <a:gd name="connsiteY41" fmla="*/ 903112 h 3748140"/>
              <a:gd name="connsiteX42" fmla="*/ 1270624 w 4366182"/>
              <a:gd name="connsiteY42" fmla="*/ 903542 h 3748140"/>
              <a:gd name="connsiteX43" fmla="*/ 1401857 w 4366182"/>
              <a:gd name="connsiteY43" fmla="*/ 837077 h 3748140"/>
              <a:gd name="connsiteX44" fmla="*/ 1486524 w 4366182"/>
              <a:gd name="connsiteY44" fmla="*/ 787879 h 3748140"/>
              <a:gd name="connsiteX45" fmla="*/ 1592357 w 4366182"/>
              <a:gd name="connsiteY45" fmla="*/ 729903 h 3748140"/>
              <a:gd name="connsiteX46" fmla="*/ 1702424 w 4366182"/>
              <a:gd name="connsiteY46" fmla="*/ 665901 h 3748140"/>
              <a:gd name="connsiteX47" fmla="*/ 1833657 w 4366182"/>
              <a:gd name="connsiteY47" fmla="*/ 595758 h 3748140"/>
              <a:gd name="connsiteX48" fmla="*/ 2028390 w 4366182"/>
              <a:gd name="connsiteY48" fmla="*/ 500969 h 3748140"/>
              <a:gd name="connsiteX49" fmla="*/ 2200104 w 4366182"/>
              <a:gd name="connsiteY49" fmla="*/ 428696 h 3748140"/>
              <a:gd name="connsiteX50" fmla="*/ 2379152 w 4366182"/>
              <a:gd name="connsiteY50" fmla="*/ 349380 h 3748140"/>
              <a:gd name="connsiteX51" fmla="*/ 2546356 w 4366182"/>
              <a:gd name="connsiteY51" fmla="*/ 295349 h 3748140"/>
              <a:gd name="connsiteX52" fmla="*/ 2791042 w 4366182"/>
              <a:gd name="connsiteY52" fmla="*/ 224971 h 3748140"/>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593923 w 4366182"/>
              <a:gd name="connsiteY17" fmla="*/ 3685981 h 3748140"/>
              <a:gd name="connsiteX18" fmla="*/ 3399191 w 4366182"/>
              <a:gd name="connsiteY18" fmla="*/ 3656142 h 3748140"/>
              <a:gd name="connsiteX19" fmla="*/ 3179057 w 4366182"/>
              <a:gd name="connsiteY19" fmla="*/ 3609727 h 3748140"/>
              <a:gd name="connsiteX20" fmla="*/ 2967391 w 4366182"/>
              <a:gd name="connsiteY20" fmla="*/ 3559997 h 3748140"/>
              <a:gd name="connsiteX21" fmla="*/ 2692224 w 4366182"/>
              <a:gd name="connsiteY21" fmla="*/ 3483741 h 3748140"/>
              <a:gd name="connsiteX22" fmla="*/ 2463623 w 4366182"/>
              <a:gd name="connsiteY22" fmla="*/ 3410800 h 3748140"/>
              <a:gd name="connsiteX23" fmla="*/ 2222323 w 4366182"/>
              <a:gd name="connsiteY23" fmla="*/ 3324600 h 3748140"/>
              <a:gd name="connsiteX24" fmla="*/ 1981023 w 4366182"/>
              <a:gd name="connsiteY24" fmla="*/ 3221820 h 3748140"/>
              <a:gd name="connsiteX25" fmla="*/ 1718557 w 4366182"/>
              <a:gd name="connsiteY25" fmla="*/ 3089203 h 3748140"/>
              <a:gd name="connsiteX26" fmla="*/ 1481491 w 4366182"/>
              <a:gd name="connsiteY26" fmla="*/ 2959900 h 3748140"/>
              <a:gd name="connsiteX27" fmla="*/ 1235958 w 4366182"/>
              <a:gd name="connsiteY27" fmla="*/ 2807391 h 3748140"/>
              <a:gd name="connsiteX28" fmla="*/ 969257 w 4366182"/>
              <a:gd name="connsiteY28" fmla="*/ 2634988 h 3748140"/>
              <a:gd name="connsiteX29" fmla="*/ 804957 w 4366182"/>
              <a:gd name="connsiteY29" fmla="*/ 2524743 h 3748140"/>
              <a:gd name="connsiteX30" fmla="*/ 669490 w 4366182"/>
              <a:gd name="connsiteY30" fmla="*/ 2420660 h 3748140"/>
              <a:gd name="connsiteX31" fmla="*/ 474757 w 4366182"/>
              <a:gd name="connsiteY31" fmla="*/ 2273630 h 3748140"/>
              <a:gd name="connsiteX32" fmla="*/ 335057 w 4366182"/>
              <a:gd name="connsiteY32" fmla="*/ 2151653 h 3748140"/>
              <a:gd name="connsiteX33" fmla="*/ 148790 w 4366182"/>
              <a:gd name="connsiteY33" fmla="*/ 1999545 h 3748140"/>
              <a:gd name="connsiteX34" fmla="*/ 0 w 4366182"/>
              <a:gd name="connsiteY34" fmla="*/ 1876130 h 3748140"/>
              <a:gd name="connsiteX35" fmla="*/ 233633 w 4366182"/>
              <a:gd name="connsiteY35" fmla="*/ 1658188 h 3748140"/>
              <a:gd name="connsiteX36" fmla="*/ 450333 w 4366182"/>
              <a:gd name="connsiteY36" fmla="*/ 1473589 h 3748140"/>
              <a:gd name="connsiteX37" fmla="*/ 567420 w 4366182"/>
              <a:gd name="connsiteY37" fmla="*/ 1385359 h 3748140"/>
              <a:gd name="connsiteX38" fmla="*/ 684506 w 4366182"/>
              <a:gd name="connsiteY38" fmla="*/ 1297925 h 3748140"/>
              <a:gd name="connsiteX39" fmla="*/ 898091 w 4366182"/>
              <a:gd name="connsiteY39" fmla="*/ 1150957 h 3748140"/>
              <a:gd name="connsiteX40" fmla="*/ 1088590 w 4366182"/>
              <a:gd name="connsiteY40" fmla="*/ 1026780 h 3748140"/>
              <a:gd name="connsiteX41" fmla="*/ 1169023 w 4366182"/>
              <a:gd name="connsiteY41" fmla="*/ 969019 h 3748140"/>
              <a:gd name="connsiteX42" fmla="*/ 1279091 w 4366182"/>
              <a:gd name="connsiteY42" fmla="*/ 903112 h 3748140"/>
              <a:gd name="connsiteX43" fmla="*/ 1270624 w 4366182"/>
              <a:gd name="connsiteY43" fmla="*/ 903542 h 3748140"/>
              <a:gd name="connsiteX44" fmla="*/ 1401857 w 4366182"/>
              <a:gd name="connsiteY44" fmla="*/ 837077 h 3748140"/>
              <a:gd name="connsiteX45" fmla="*/ 1486524 w 4366182"/>
              <a:gd name="connsiteY45" fmla="*/ 787879 h 3748140"/>
              <a:gd name="connsiteX46" fmla="*/ 1592357 w 4366182"/>
              <a:gd name="connsiteY46" fmla="*/ 729903 h 3748140"/>
              <a:gd name="connsiteX47" fmla="*/ 1702424 w 4366182"/>
              <a:gd name="connsiteY47" fmla="*/ 665901 h 3748140"/>
              <a:gd name="connsiteX48" fmla="*/ 1833657 w 4366182"/>
              <a:gd name="connsiteY48" fmla="*/ 595758 h 3748140"/>
              <a:gd name="connsiteX49" fmla="*/ 2028390 w 4366182"/>
              <a:gd name="connsiteY49" fmla="*/ 500969 h 3748140"/>
              <a:gd name="connsiteX50" fmla="*/ 2200104 w 4366182"/>
              <a:gd name="connsiteY50" fmla="*/ 428696 h 3748140"/>
              <a:gd name="connsiteX51" fmla="*/ 2379152 w 4366182"/>
              <a:gd name="connsiteY51" fmla="*/ 349380 h 3748140"/>
              <a:gd name="connsiteX52" fmla="*/ 2546356 w 4366182"/>
              <a:gd name="connsiteY52" fmla="*/ 295349 h 3748140"/>
              <a:gd name="connsiteX53" fmla="*/ 2791042 w 4366182"/>
              <a:gd name="connsiteY53" fmla="*/ 224971 h 3748140"/>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169023 w 4366182"/>
              <a:gd name="connsiteY41" fmla="*/ 969019 h 3748138"/>
              <a:gd name="connsiteX42" fmla="*/ 1279091 w 4366182"/>
              <a:gd name="connsiteY42" fmla="*/ 903112 h 3748138"/>
              <a:gd name="connsiteX43" fmla="*/ 1270624 w 4366182"/>
              <a:gd name="connsiteY43" fmla="*/ 90354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855178"/>
              <a:gd name="connsiteX1" fmla="*/ 2955103 w 4366182"/>
              <a:gd name="connsiteY1" fmla="*/ 191099 h 3855178"/>
              <a:gd name="connsiteX2" fmla="*/ 3162124 w 4366182"/>
              <a:gd name="connsiteY2" fmla="*/ 145098 h 3855178"/>
              <a:gd name="connsiteX3" fmla="*/ 3437291 w 4366182"/>
              <a:gd name="connsiteY3" fmla="*/ 88735 h 3855178"/>
              <a:gd name="connsiteX4" fmla="*/ 3744757 w 4366182"/>
              <a:gd name="connsiteY4" fmla="*/ 48626 h 3855178"/>
              <a:gd name="connsiteX5" fmla="*/ 4364456 w 4366182"/>
              <a:gd name="connsiteY5" fmla="*/ 47 h 3855178"/>
              <a:gd name="connsiteX6" fmla="*/ 4360157 w 4366182"/>
              <a:gd name="connsiteY6" fmla="*/ 833488 h 3855178"/>
              <a:gd name="connsiteX7" fmla="*/ 4360157 w 4366182"/>
              <a:gd name="connsiteY7" fmla="*/ 859614 h 3855178"/>
              <a:gd name="connsiteX8" fmla="*/ 4360157 w 4366182"/>
              <a:gd name="connsiteY8" fmla="*/ 907539 h 3855178"/>
              <a:gd name="connsiteX9" fmla="*/ 4360157 w 4366182"/>
              <a:gd name="connsiteY9" fmla="*/ 944863 h 3855178"/>
              <a:gd name="connsiteX10" fmla="*/ 4360157 w 4366182"/>
              <a:gd name="connsiteY10" fmla="*/ 972911 h 3855178"/>
              <a:gd name="connsiteX11" fmla="*/ 4360157 w 4366182"/>
              <a:gd name="connsiteY11" fmla="*/ 993008 h 3855178"/>
              <a:gd name="connsiteX12" fmla="*/ 4360157 w 4366182"/>
              <a:gd name="connsiteY12" fmla="*/ 1006480 h 3855178"/>
              <a:gd name="connsiteX13" fmla="*/ 4360157 w 4366182"/>
              <a:gd name="connsiteY13" fmla="*/ 1018848 h 3855178"/>
              <a:gd name="connsiteX14" fmla="*/ 4360157 w 4366182"/>
              <a:gd name="connsiteY14" fmla="*/ 1020615 h 3855178"/>
              <a:gd name="connsiteX15" fmla="*/ 4360157 w 4366182"/>
              <a:gd name="connsiteY15" fmla="*/ 3748138 h 3855178"/>
              <a:gd name="connsiteX16" fmla="*/ 4093457 w 4366182"/>
              <a:gd name="connsiteY16" fmla="*/ 3855069 h 3855178"/>
              <a:gd name="connsiteX17" fmla="*/ 3835226 w 4366182"/>
              <a:gd name="connsiteY17" fmla="*/ 3715823 h 3855178"/>
              <a:gd name="connsiteX18" fmla="*/ 3593923 w 4366182"/>
              <a:gd name="connsiteY18" fmla="*/ 3685981 h 3855178"/>
              <a:gd name="connsiteX19" fmla="*/ 3399191 w 4366182"/>
              <a:gd name="connsiteY19" fmla="*/ 3656142 h 3855178"/>
              <a:gd name="connsiteX20" fmla="*/ 3179057 w 4366182"/>
              <a:gd name="connsiteY20" fmla="*/ 3609727 h 3855178"/>
              <a:gd name="connsiteX21" fmla="*/ 2967391 w 4366182"/>
              <a:gd name="connsiteY21" fmla="*/ 3559997 h 3855178"/>
              <a:gd name="connsiteX22" fmla="*/ 2692224 w 4366182"/>
              <a:gd name="connsiteY22" fmla="*/ 3483741 h 3855178"/>
              <a:gd name="connsiteX23" fmla="*/ 2463623 w 4366182"/>
              <a:gd name="connsiteY23" fmla="*/ 3410800 h 3855178"/>
              <a:gd name="connsiteX24" fmla="*/ 2222323 w 4366182"/>
              <a:gd name="connsiteY24" fmla="*/ 3324600 h 3855178"/>
              <a:gd name="connsiteX25" fmla="*/ 1981023 w 4366182"/>
              <a:gd name="connsiteY25" fmla="*/ 3221820 h 3855178"/>
              <a:gd name="connsiteX26" fmla="*/ 1718557 w 4366182"/>
              <a:gd name="connsiteY26" fmla="*/ 3089203 h 3855178"/>
              <a:gd name="connsiteX27" fmla="*/ 1481491 w 4366182"/>
              <a:gd name="connsiteY27" fmla="*/ 2959900 h 3855178"/>
              <a:gd name="connsiteX28" fmla="*/ 1235958 w 4366182"/>
              <a:gd name="connsiteY28" fmla="*/ 2807391 h 3855178"/>
              <a:gd name="connsiteX29" fmla="*/ 969257 w 4366182"/>
              <a:gd name="connsiteY29" fmla="*/ 2634988 h 3855178"/>
              <a:gd name="connsiteX30" fmla="*/ 804957 w 4366182"/>
              <a:gd name="connsiteY30" fmla="*/ 2524743 h 3855178"/>
              <a:gd name="connsiteX31" fmla="*/ 669490 w 4366182"/>
              <a:gd name="connsiteY31" fmla="*/ 2420660 h 3855178"/>
              <a:gd name="connsiteX32" fmla="*/ 474757 w 4366182"/>
              <a:gd name="connsiteY32" fmla="*/ 2273630 h 3855178"/>
              <a:gd name="connsiteX33" fmla="*/ 335057 w 4366182"/>
              <a:gd name="connsiteY33" fmla="*/ 2151653 h 3855178"/>
              <a:gd name="connsiteX34" fmla="*/ 148790 w 4366182"/>
              <a:gd name="connsiteY34" fmla="*/ 1999545 h 3855178"/>
              <a:gd name="connsiteX35" fmla="*/ 0 w 4366182"/>
              <a:gd name="connsiteY35" fmla="*/ 1876130 h 3855178"/>
              <a:gd name="connsiteX36" fmla="*/ 233633 w 4366182"/>
              <a:gd name="connsiteY36" fmla="*/ 1658188 h 3855178"/>
              <a:gd name="connsiteX37" fmla="*/ 450333 w 4366182"/>
              <a:gd name="connsiteY37" fmla="*/ 1473589 h 3855178"/>
              <a:gd name="connsiteX38" fmla="*/ 567420 w 4366182"/>
              <a:gd name="connsiteY38" fmla="*/ 1385359 h 3855178"/>
              <a:gd name="connsiteX39" fmla="*/ 684506 w 4366182"/>
              <a:gd name="connsiteY39" fmla="*/ 1297925 h 3855178"/>
              <a:gd name="connsiteX40" fmla="*/ 898091 w 4366182"/>
              <a:gd name="connsiteY40" fmla="*/ 1150957 h 3855178"/>
              <a:gd name="connsiteX41" fmla="*/ 1088590 w 4366182"/>
              <a:gd name="connsiteY41" fmla="*/ 1026780 h 3855178"/>
              <a:gd name="connsiteX42" fmla="*/ 1169023 w 4366182"/>
              <a:gd name="connsiteY42" fmla="*/ 969019 h 3855178"/>
              <a:gd name="connsiteX43" fmla="*/ 1279091 w 4366182"/>
              <a:gd name="connsiteY43" fmla="*/ 903112 h 3855178"/>
              <a:gd name="connsiteX44" fmla="*/ 1270624 w 4366182"/>
              <a:gd name="connsiteY44" fmla="*/ 903542 h 3855178"/>
              <a:gd name="connsiteX45" fmla="*/ 1401857 w 4366182"/>
              <a:gd name="connsiteY45" fmla="*/ 837077 h 3855178"/>
              <a:gd name="connsiteX46" fmla="*/ 1486524 w 4366182"/>
              <a:gd name="connsiteY46" fmla="*/ 787879 h 3855178"/>
              <a:gd name="connsiteX47" fmla="*/ 1592357 w 4366182"/>
              <a:gd name="connsiteY47" fmla="*/ 729903 h 3855178"/>
              <a:gd name="connsiteX48" fmla="*/ 1702424 w 4366182"/>
              <a:gd name="connsiteY48" fmla="*/ 665901 h 3855178"/>
              <a:gd name="connsiteX49" fmla="*/ 1833657 w 4366182"/>
              <a:gd name="connsiteY49" fmla="*/ 595758 h 3855178"/>
              <a:gd name="connsiteX50" fmla="*/ 2028390 w 4366182"/>
              <a:gd name="connsiteY50" fmla="*/ 500969 h 3855178"/>
              <a:gd name="connsiteX51" fmla="*/ 2200104 w 4366182"/>
              <a:gd name="connsiteY51" fmla="*/ 428696 h 3855178"/>
              <a:gd name="connsiteX52" fmla="*/ 2379152 w 4366182"/>
              <a:gd name="connsiteY52" fmla="*/ 349380 h 3855178"/>
              <a:gd name="connsiteX53" fmla="*/ 2546356 w 4366182"/>
              <a:gd name="connsiteY53" fmla="*/ 295349 h 3855178"/>
              <a:gd name="connsiteX54" fmla="*/ 2791042 w 4366182"/>
              <a:gd name="connsiteY54" fmla="*/ 224971 h 3855178"/>
              <a:gd name="connsiteX0" fmla="*/ 2791042 w 4366182"/>
              <a:gd name="connsiteY0" fmla="*/ 224971 h 3855069"/>
              <a:gd name="connsiteX1" fmla="*/ 2955103 w 4366182"/>
              <a:gd name="connsiteY1" fmla="*/ 191099 h 3855069"/>
              <a:gd name="connsiteX2" fmla="*/ 3162124 w 4366182"/>
              <a:gd name="connsiteY2" fmla="*/ 145098 h 3855069"/>
              <a:gd name="connsiteX3" fmla="*/ 3437291 w 4366182"/>
              <a:gd name="connsiteY3" fmla="*/ 88735 h 3855069"/>
              <a:gd name="connsiteX4" fmla="*/ 3744757 w 4366182"/>
              <a:gd name="connsiteY4" fmla="*/ 48626 h 3855069"/>
              <a:gd name="connsiteX5" fmla="*/ 4364456 w 4366182"/>
              <a:gd name="connsiteY5" fmla="*/ 47 h 3855069"/>
              <a:gd name="connsiteX6" fmla="*/ 4360157 w 4366182"/>
              <a:gd name="connsiteY6" fmla="*/ 833488 h 3855069"/>
              <a:gd name="connsiteX7" fmla="*/ 4360157 w 4366182"/>
              <a:gd name="connsiteY7" fmla="*/ 859614 h 3855069"/>
              <a:gd name="connsiteX8" fmla="*/ 4360157 w 4366182"/>
              <a:gd name="connsiteY8" fmla="*/ 907539 h 3855069"/>
              <a:gd name="connsiteX9" fmla="*/ 4360157 w 4366182"/>
              <a:gd name="connsiteY9" fmla="*/ 944863 h 3855069"/>
              <a:gd name="connsiteX10" fmla="*/ 4360157 w 4366182"/>
              <a:gd name="connsiteY10" fmla="*/ 972911 h 3855069"/>
              <a:gd name="connsiteX11" fmla="*/ 4360157 w 4366182"/>
              <a:gd name="connsiteY11" fmla="*/ 993008 h 3855069"/>
              <a:gd name="connsiteX12" fmla="*/ 4360157 w 4366182"/>
              <a:gd name="connsiteY12" fmla="*/ 1006480 h 3855069"/>
              <a:gd name="connsiteX13" fmla="*/ 4360157 w 4366182"/>
              <a:gd name="connsiteY13" fmla="*/ 1018848 h 3855069"/>
              <a:gd name="connsiteX14" fmla="*/ 4360157 w 4366182"/>
              <a:gd name="connsiteY14" fmla="*/ 1020615 h 3855069"/>
              <a:gd name="connsiteX15" fmla="*/ 4360157 w 4366182"/>
              <a:gd name="connsiteY15" fmla="*/ 3748138 h 3855069"/>
              <a:gd name="connsiteX16" fmla="*/ 4093457 w 4366182"/>
              <a:gd name="connsiteY16" fmla="*/ 3855069 h 3855069"/>
              <a:gd name="connsiteX17" fmla="*/ 3835226 w 4366182"/>
              <a:gd name="connsiteY17" fmla="*/ 3715823 h 3855069"/>
              <a:gd name="connsiteX18" fmla="*/ 3593923 w 4366182"/>
              <a:gd name="connsiteY18" fmla="*/ 3685981 h 3855069"/>
              <a:gd name="connsiteX19" fmla="*/ 3399191 w 4366182"/>
              <a:gd name="connsiteY19" fmla="*/ 3656142 h 3855069"/>
              <a:gd name="connsiteX20" fmla="*/ 3179057 w 4366182"/>
              <a:gd name="connsiteY20" fmla="*/ 3609727 h 3855069"/>
              <a:gd name="connsiteX21" fmla="*/ 2967391 w 4366182"/>
              <a:gd name="connsiteY21" fmla="*/ 3559997 h 3855069"/>
              <a:gd name="connsiteX22" fmla="*/ 2692224 w 4366182"/>
              <a:gd name="connsiteY22" fmla="*/ 3483741 h 3855069"/>
              <a:gd name="connsiteX23" fmla="*/ 2463623 w 4366182"/>
              <a:gd name="connsiteY23" fmla="*/ 3410800 h 3855069"/>
              <a:gd name="connsiteX24" fmla="*/ 2222323 w 4366182"/>
              <a:gd name="connsiteY24" fmla="*/ 3324600 h 3855069"/>
              <a:gd name="connsiteX25" fmla="*/ 1981023 w 4366182"/>
              <a:gd name="connsiteY25" fmla="*/ 3221820 h 3855069"/>
              <a:gd name="connsiteX26" fmla="*/ 1718557 w 4366182"/>
              <a:gd name="connsiteY26" fmla="*/ 3089203 h 3855069"/>
              <a:gd name="connsiteX27" fmla="*/ 1481491 w 4366182"/>
              <a:gd name="connsiteY27" fmla="*/ 2959900 h 3855069"/>
              <a:gd name="connsiteX28" fmla="*/ 1235958 w 4366182"/>
              <a:gd name="connsiteY28" fmla="*/ 2807391 h 3855069"/>
              <a:gd name="connsiteX29" fmla="*/ 969257 w 4366182"/>
              <a:gd name="connsiteY29" fmla="*/ 2634988 h 3855069"/>
              <a:gd name="connsiteX30" fmla="*/ 804957 w 4366182"/>
              <a:gd name="connsiteY30" fmla="*/ 2524743 h 3855069"/>
              <a:gd name="connsiteX31" fmla="*/ 669490 w 4366182"/>
              <a:gd name="connsiteY31" fmla="*/ 2420660 h 3855069"/>
              <a:gd name="connsiteX32" fmla="*/ 474757 w 4366182"/>
              <a:gd name="connsiteY32" fmla="*/ 2273630 h 3855069"/>
              <a:gd name="connsiteX33" fmla="*/ 335057 w 4366182"/>
              <a:gd name="connsiteY33" fmla="*/ 2151653 h 3855069"/>
              <a:gd name="connsiteX34" fmla="*/ 148790 w 4366182"/>
              <a:gd name="connsiteY34" fmla="*/ 1999545 h 3855069"/>
              <a:gd name="connsiteX35" fmla="*/ 0 w 4366182"/>
              <a:gd name="connsiteY35" fmla="*/ 1876130 h 3855069"/>
              <a:gd name="connsiteX36" fmla="*/ 233633 w 4366182"/>
              <a:gd name="connsiteY36" fmla="*/ 1658188 h 3855069"/>
              <a:gd name="connsiteX37" fmla="*/ 450333 w 4366182"/>
              <a:gd name="connsiteY37" fmla="*/ 1473589 h 3855069"/>
              <a:gd name="connsiteX38" fmla="*/ 567420 w 4366182"/>
              <a:gd name="connsiteY38" fmla="*/ 1385359 h 3855069"/>
              <a:gd name="connsiteX39" fmla="*/ 684506 w 4366182"/>
              <a:gd name="connsiteY39" fmla="*/ 1297925 h 3855069"/>
              <a:gd name="connsiteX40" fmla="*/ 898091 w 4366182"/>
              <a:gd name="connsiteY40" fmla="*/ 1150957 h 3855069"/>
              <a:gd name="connsiteX41" fmla="*/ 1088590 w 4366182"/>
              <a:gd name="connsiteY41" fmla="*/ 1026780 h 3855069"/>
              <a:gd name="connsiteX42" fmla="*/ 1169023 w 4366182"/>
              <a:gd name="connsiteY42" fmla="*/ 969019 h 3855069"/>
              <a:gd name="connsiteX43" fmla="*/ 1279091 w 4366182"/>
              <a:gd name="connsiteY43" fmla="*/ 903112 h 3855069"/>
              <a:gd name="connsiteX44" fmla="*/ 1270624 w 4366182"/>
              <a:gd name="connsiteY44" fmla="*/ 903542 h 3855069"/>
              <a:gd name="connsiteX45" fmla="*/ 1401857 w 4366182"/>
              <a:gd name="connsiteY45" fmla="*/ 837077 h 3855069"/>
              <a:gd name="connsiteX46" fmla="*/ 1486524 w 4366182"/>
              <a:gd name="connsiteY46" fmla="*/ 787879 h 3855069"/>
              <a:gd name="connsiteX47" fmla="*/ 1592357 w 4366182"/>
              <a:gd name="connsiteY47" fmla="*/ 729903 h 3855069"/>
              <a:gd name="connsiteX48" fmla="*/ 1702424 w 4366182"/>
              <a:gd name="connsiteY48" fmla="*/ 665901 h 3855069"/>
              <a:gd name="connsiteX49" fmla="*/ 1833657 w 4366182"/>
              <a:gd name="connsiteY49" fmla="*/ 595758 h 3855069"/>
              <a:gd name="connsiteX50" fmla="*/ 2028390 w 4366182"/>
              <a:gd name="connsiteY50" fmla="*/ 500969 h 3855069"/>
              <a:gd name="connsiteX51" fmla="*/ 2200104 w 4366182"/>
              <a:gd name="connsiteY51" fmla="*/ 428696 h 3855069"/>
              <a:gd name="connsiteX52" fmla="*/ 2379152 w 4366182"/>
              <a:gd name="connsiteY52" fmla="*/ 349380 h 3855069"/>
              <a:gd name="connsiteX53" fmla="*/ 2546356 w 4366182"/>
              <a:gd name="connsiteY53" fmla="*/ 295349 h 3855069"/>
              <a:gd name="connsiteX54" fmla="*/ 2791042 w 4366182"/>
              <a:gd name="connsiteY54" fmla="*/ 224971 h 3855069"/>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270624 w 4366182"/>
              <a:gd name="connsiteY44" fmla="*/ 903542 h 3748138"/>
              <a:gd name="connsiteX45" fmla="*/ 1401857 w 4366182"/>
              <a:gd name="connsiteY45" fmla="*/ 837077 h 3748138"/>
              <a:gd name="connsiteX46" fmla="*/ 1486524 w 4366182"/>
              <a:gd name="connsiteY46" fmla="*/ 787879 h 3748138"/>
              <a:gd name="connsiteX47" fmla="*/ 1592357 w 4366182"/>
              <a:gd name="connsiteY47" fmla="*/ 729903 h 3748138"/>
              <a:gd name="connsiteX48" fmla="*/ 1702424 w 4366182"/>
              <a:gd name="connsiteY48" fmla="*/ 665901 h 3748138"/>
              <a:gd name="connsiteX49" fmla="*/ 1833657 w 4366182"/>
              <a:gd name="connsiteY49" fmla="*/ 595758 h 3748138"/>
              <a:gd name="connsiteX50" fmla="*/ 2028390 w 4366182"/>
              <a:gd name="connsiteY50" fmla="*/ 500969 h 3748138"/>
              <a:gd name="connsiteX51" fmla="*/ 2200104 w 4366182"/>
              <a:gd name="connsiteY51" fmla="*/ 428696 h 3748138"/>
              <a:gd name="connsiteX52" fmla="*/ 2379152 w 4366182"/>
              <a:gd name="connsiteY52" fmla="*/ 349380 h 3748138"/>
              <a:gd name="connsiteX53" fmla="*/ 2546356 w 4366182"/>
              <a:gd name="connsiteY53" fmla="*/ 295349 h 3748138"/>
              <a:gd name="connsiteX54" fmla="*/ 2791042 w 4366182"/>
              <a:gd name="connsiteY54"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94991 w 4366182"/>
              <a:gd name="connsiteY45" fmla="*/ 784563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77932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600824 w 4366182"/>
              <a:gd name="connsiteY44" fmla="*/ 719957 h 3748138"/>
              <a:gd name="connsiteX45" fmla="*/ 1702424 w 4366182"/>
              <a:gd name="connsiteY45" fmla="*/ 665901 h 3748138"/>
              <a:gd name="connsiteX46" fmla="*/ 1833657 w 4366182"/>
              <a:gd name="connsiteY46" fmla="*/ 595758 h 3748138"/>
              <a:gd name="connsiteX47" fmla="*/ 2028390 w 4366182"/>
              <a:gd name="connsiteY47" fmla="*/ 500969 h 3748138"/>
              <a:gd name="connsiteX48" fmla="*/ 2187404 w 4366182"/>
              <a:gd name="connsiteY48" fmla="*/ 428696 h 3748138"/>
              <a:gd name="connsiteX49" fmla="*/ 2379152 w 4366182"/>
              <a:gd name="connsiteY49" fmla="*/ 349380 h 3748138"/>
              <a:gd name="connsiteX50" fmla="*/ 2546356 w 4366182"/>
              <a:gd name="connsiteY50" fmla="*/ 295349 h 3748138"/>
              <a:gd name="connsiteX51" fmla="*/ 2791042 w 4366182"/>
              <a:gd name="connsiteY51"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702424 w 4366182"/>
              <a:gd name="connsiteY44" fmla="*/ 665901 h 3748138"/>
              <a:gd name="connsiteX45" fmla="*/ 1833657 w 4366182"/>
              <a:gd name="connsiteY45" fmla="*/ 595758 h 3748138"/>
              <a:gd name="connsiteX46" fmla="*/ 2028390 w 4366182"/>
              <a:gd name="connsiteY46" fmla="*/ 500969 h 3748138"/>
              <a:gd name="connsiteX47" fmla="*/ 2187404 w 4366182"/>
              <a:gd name="connsiteY47" fmla="*/ 428696 h 3748138"/>
              <a:gd name="connsiteX48" fmla="*/ 2379152 w 4366182"/>
              <a:gd name="connsiteY48" fmla="*/ 349380 h 3748138"/>
              <a:gd name="connsiteX49" fmla="*/ 2546356 w 4366182"/>
              <a:gd name="connsiteY49" fmla="*/ 295349 h 3748138"/>
              <a:gd name="connsiteX50" fmla="*/ 2791042 w 4366182"/>
              <a:gd name="connsiteY50"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279091 w 4366182"/>
              <a:gd name="connsiteY41" fmla="*/ 903112 h 3748138"/>
              <a:gd name="connsiteX42" fmla="*/ 1486524 w 4366182"/>
              <a:gd name="connsiteY42" fmla="*/ 777932 h 3748138"/>
              <a:gd name="connsiteX43" fmla="*/ 1702424 w 4366182"/>
              <a:gd name="connsiteY43" fmla="*/ 665901 h 3748138"/>
              <a:gd name="connsiteX44" fmla="*/ 1833657 w 4366182"/>
              <a:gd name="connsiteY44" fmla="*/ 595758 h 3748138"/>
              <a:gd name="connsiteX45" fmla="*/ 2028390 w 4366182"/>
              <a:gd name="connsiteY45" fmla="*/ 500969 h 3748138"/>
              <a:gd name="connsiteX46" fmla="*/ 2187404 w 4366182"/>
              <a:gd name="connsiteY46" fmla="*/ 428696 h 3748138"/>
              <a:gd name="connsiteX47" fmla="*/ 2379152 w 4366182"/>
              <a:gd name="connsiteY47" fmla="*/ 349380 h 3748138"/>
              <a:gd name="connsiteX48" fmla="*/ 2546356 w 4366182"/>
              <a:gd name="connsiteY48" fmla="*/ 295349 h 3748138"/>
              <a:gd name="connsiteX49" fmla="*/ 2791042 w 4366182"/>
              <a:gd name="connsiteY49"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1833657 w 4366182"/>
              <a:gd name="connsiteY43" fmla="*/ 595758 h 3748138"/>
              <a:gd name="connsiteX44" fmla="*/ 2028390 w 4366182"/>
              <a:gd name="connsiteY44" fmla="*/ 500969 h 3748138"/>
              <a:gd name="connsiteX45" fmla="*/ 2187404 w 4366182"/>
              <a:gd name="connsiteY45" fmla="*/ 428696 h 3748138"/>
              <a:gd name="connsiteX46" fmla="*/ 2379152 w 4366182"/>
              <a:gd name="connsiteY46" fmla="*/ 349380 h 3748138"/>
              <a:gd name="connsiteX47" fmla="*/ 2546356 w 4366182"/>
              <a:gd name="connsiteY47" fmla="*/ 295349 h 3748138"/>
              <a:gd name="connsiteX48" fmla="*/ 2791042 w 4366182"/>
              <a:gd name="connsiteY48"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2028390 w 4366182"/>
              <a:gd name="connsiteY43" fmla="*/ 500969 h 3748138"/>
              <a:gd name="connsiteX44" fmla="*/ 2187404 w 4366182"/>
              <a:gd name="connsiteY44" fmla="*/ 428696 h 3748138"/>
              <a:gd name="connsiteX45" fmla="*/ 2379152 w 4366182"/>
              <a:gd name="connsiteY45" fmla="*/ 349380 h 3748138"/>
              <a:gd name="connsiteX46" fmla="*/ 2546356 w 4366182"/>
              <a:gd name="connsiteY46" fmla="*/ 295349 h 3748138"/>
              <a:gd name="connsiteX47" fmla="*/ 2791042 w 4366182"/>
              <a:gd name="connsiteY47" fmla="*/ 224971 h 3748138"/>
              <a:gd name="connsiteX0" fmla="*/ 2791042 w 4366182"/>
              <a:gd name="connsiteY0" fmla="*/ 224924 h 3748091"/>
              <a:gd name="connsiteX1" fmla="*/ 3162124 w 4366182"/>
              <a:gd name="connsiteY1" fmla="*/ 145051 h 3748091"/>
              <a:gd name="connsiteX2" fmla="*/ 3437291 w 4366182"/>
              <a:gd name="connsiteY2" fmla="*/ 88688 h 3748091"/>
              <a:gd name="connsiteX3" fmla="*/ 3744757 w 4366182"/>
              <a:gd name="connsiteY3" fmla="*/ 48579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4924 h 3748091"/>
              <a:gd name="connsiteX1" fmla="*/ 3162124 w 4366182"/>
              <a:gd name="connsiteY1" fmla="*/ 145051 h 3748091"/>
              <a:gd name="connsiteX2" fmla="*/ 3437291 w 4366182"/>
              <a:gd name="connsiteY2" fmla="*/ 88688 h 3748091"/>
              <a:gd name="connsiteX3" fmla="*/ 4070724 w 4366182"/>
              <a:gd name="connsiteY3" fmla="*/ 8793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6078 h 3749245"/>
              <a:gd name="connsiteX1" fmla="*/ 3162124 w 4366182"/>
              <a:gd name="connsiteY1" fmla="*/ 146205 h 3749245"/>
              <a:gd name="connsiteX2" fmla="*/ 3437291 w 4366182"/>
              <a:gd name="connsiteY2" fmla="*/ 89842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86524 w 4366182"/>
              <a:gd name="connsiteY41" fmla="*/ 779039 h 3749245"/>
              <a:gd name="connsiteX42" fmla="*/ 1702424 w 4366182"/>
              <a:gd name="connsiteY42" fmla="*/ 667008 h 3749245"/>
              <a:gd name="connsiteX43" fmla="*/ 2028390 w 4366182"/>
              <a:gd name="connsiteY43" fmla="*/ 502076 h 3749245"/>
              <a:gd name="connsiteX44" fmla="*/ 2187404 w 4366182"/>
              <a:gd name="connsiteY44" fmla="*/ 429803 h 3749245"/>
              <a:gd name="connsiteX45" fmla="*/ 2379152 w 4366182"/>
              <a:gd name="connsiteY45" fmla="*/ 350487 h 3749245"/>
              <a:gd name="connsiteX46" fmla="*/ 2546356 w 4366182"/>
              <a:gd name="connsiteY46" fmla="*/ 296456 h 3749245"/>
              <a:gd name="connsiteX47" fmla="*/ 2791042 w 4366182"/>
              <a:gd name="connsiteY47" fmla="*/ 226078 h 3749245"/>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824908 w 4366182"/>
              <a:gd name="connsiteY0" fmla="*/ 520634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2824908 w 4366182"/>
              <a:gd name="connsiteY48" fmla="*/ 501260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272192 w 4366182"/>
              <a:gd name="connsiteY1" fmla="*/ 126313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7243 h 3753402"/>
              <a:gd name="connsiteX1" fmla="*/ 3272192 w 4366182"/>
              <a:gd name="connsiteY1" fmla="*/ 130470 h 3753402"/>
              <a:gd name="connsiteX2" fmla="*/ 3462692 w 4366182"/>
              <a:gd name="connsiteY2" fmla="*/ 100630 h 3753402"/>
              <a:gd name="connsiteX3" fmla="*/ 3687057 w 4366182"/>
              <a:gd name="connsiteY3" fmla="*/ 64159 h 3753402"/>
              <a:gd name="connsiteX4" fmla="*/ 4206191 w 4366182"/>
              <a:gd name="connsiteY4" fmla="*/ 4157 h 3753402"/>
              <a:gd name="connsiteX5" fmla="*/ 4364456 w 4366182"/>
              <a:gd name="connsiteY5" fmla="*/ 5311 h 3753402"/>
              <a:gd name="connsiteX6" fmla="*/ 4360157 w 4366182"/>
              <a:gd name="connsiteY6" fmla="*/ 838752 h 3753402"/>
              <a:gd name="connsiteX7" fmla="*/ 4360157 w 4366182"/>
              <a:gd name="connsiteY7" fmla="*/ 864878 h 3753402"/>
              <a:gd name="connsiteX8" fmla="*/ 4360157 w 4366182"/>
              <a:gd name="connsiteY8" fmla="*/ 912803 h 3753402"/>
              <a:gd name="connsiteX9" fmla="*/ 4360157 w 4366182"/>
              <a:gd name="connsiteY9" fmla="*/ 950127 h 3753402"/>
              <a:gd name="connsiteX10" fmla="*/ 4360157 w 4366182"/>
              <a:gd name="connsiteY10" fmla="*/ 978175 h 3753402"/>
              <a:gd name="connsiteX11" fmla="*/ 4360157 w 4366182"/>
              <a:gd name="connsiteY11" fmla="*/ 998272 h 3753402"/>
              <a:gd name="connsiteX12" fmla="*/ 4360157 w 4366182"/>
              <a:gd name="connsiteY12" fmla="*/ 1011744 h 3753402"/>
              <a:gd name="connsiteX13" fmla="*/ 4360157 w 4366182"/>
              <a:gd name="connsiteY13" fmla="*/ 1024112 h 3753402"/>
              <a:gd name="connsiteX14" fmla="*/ 4360157 w 4366182"/>
              <a:gd name="connsiteY14" fmla="*/ 1025879 h 3753402"/>
              <a:gd name="connsiteX15" fmla="*/ 4360157 w 4366182"/>
              <a:gd name="connsiteY15" fmla="*/ 3753402 h 3753402"/>
              <a:gd name="connsiteX16" fmla="*/ 4093457 w 4366182"/>
              <a:gd name="connsiteY16" fmla="*/ 3744292 h 3753402"/>
              <a:gd name="connsiteX17" fmla="*/ 3835226 w 4366182"/>
              <a:gd name="connsiteY17" fmla="*/ 3721087 h 3753402"/>
              <a:gd name="connsiteX18" fmla="*/ 3593923 w 4366182"/>
              <a:gd name="connsiteY18" fmla="*/ 3691245 h 3753402"/>
              <a:gd name="connsiteX19" fmla="*/ 3399191 w 4366182"/>
              <a:gd name="connsiteY19" fmla="*/ 3661406 h 3753402"/>
              <a:gd name="connsiteX20" fmla="*/ 3179057 w 4366182"/>
              <a:gd name="connsiteY20" fmla="*/ 3614991 h 3753402"/>
              <a:gd name="connsiteX21" fmla="*/ 2967391 w 4366182"/>
              <a:gd name="connsiteY21" fmla="*/ 3565261 h 3753402"/>
              <a:gd name="connsiteX22" fmla="*/ 2692224 w 4366182"/>
              <a:gd name="connsiteY22" fmla="*/ 3489005 h 3753402"/>
              <a:gd name="connsiteX23" fmla="*/ 2463623 w 4366182"/>
              <a:gd name="connsiteY23" fmla="*/ 3416064 h 3753402"/>
              <a:gd name="connsiteX24" fmla="*/ 2222323 w 4366182"/>
              <a:gd name="connsiteY24" fmla="*/ 3329864 h 3753402"/>
              <a:gd name="connsiteX25" fmla="*/ 1981023 w 4366182"/>
              <a:gd name="connsiteY25" fmla="*/ 3227084 h 3753402"/>
              <a:gd name="connsiteX26" fmla="*/ 1718557 w 4366182"/>
              <a:gd name="connsiteY26" fmla="*/ 3094467 h 3753402"/>
              <a:gd name="connsiteX27" fmla="*/ 1481491 w 4366182"/>
              <a:gd name="connsiteY27" fmla="*/ 2965164 h 3753402"/>
              <a:gd name="connsiteX28" fmla="*/ 1235958 w 4366182"/>
              <a:gd name="connsiteY28" fmla="*/ 2812655 h 3753402"/>
              <a:gd name="connsiteX29" fmla="*/ 969257 w 4366182"/>
              <a:gd name="connsiteY29" fmla="*/ 2640252 h 3753402"/>
              <a:gd name="connsiteX30" fmla="*/ 804957 w 4366182"/>
              <a:gd name="connsiteY30" fmla="*/ 2530007 h 3753402"/>
              <a:gd name="connsiteX31" fmla="*/ 669490 w 4366182"/>
              <a:gd name="connsiteY31" fmla="*/ 2425924 h 3753402"/>
              <a:gd name="connsiteX32" fmla="*/ 474757 w 4366182"/>
              <a:gd name="connsiteY32" fmla="*/ 2278894 h 3753402"/>
              <a:gd name="connsiteX33" fmla="*/ 335057 w 4366182"/>
              <a:gd name="connsiteY33" fmla="*/ 2156917 h 3753402"/>
              <a:gd name="connsiteX34" fmla="*/ 148790 w 4366182"/>
              <a:gd name="connsiteY34" fmla="*/ 2004809 h 3753402"/>
              <a:gd name="connsiteX35" fmla="*/ 0 w 4366182"/>
              <a:gd name="connsiteY35" fmla="*/ 1881394 h 3753402"/>
              <a:gd name="connsiteX36" fmla="*/ 178599 w 4366182"/>
              <a:gd name="connsiteY36" fmla="*/ 1713182 h 3753402"/>
              <a:gd name="connsiteX37" fmla="*/ 395300 w 4366182"/>
              <a:gd name="connsiteY37" fmla="*/ 1518637 h 3753402"/>
              <a:gd name="connsiteX38" fmla="*/ 667572 w 4366182"/>
              <a:gd name="connsiteY38" fmla="*/ 1323080 h 3753402"/>
              <a:gd name="connsiteX39" fmla="*/ 881158 w 4366182"/>
              <a:gd name="connsiteY39" fmla="*/ 1176115 h 3753402"/>
              <a:gd name="connsiteX40" fmla="*/ 1054723 w 4366182"/>
              <a:gd name="connsiteY40" fmla="*/ 1058567 h 3753402"/>
              <a:gd name="connsiteX41" fmla="*/ 1287558 w 4366182"/>
              <a:gd name="connsiteY41" fmla="*/ 905061 h 3753402"/>
              <a:gd name="connsiteX42" fmla="*/ 1554258 w 4366182"/>
              <a:gd name="connsiteY42" fmla="*/ 746727 h 3753402"/>
              <a:gd name="connsiteX43" fmla="*/ 1765924 w 4366182"/>
              <a:gd name="connsiteY43" fmla="*/ 641328 h 3753402"/>
              <a:gd name="connsiteX44" fmla="*/ 1969124 w 4366182"/>
              <a:gd name="connsiteY44" fmla="*/ 536073 h 3753402"/>
              <a:gd name="connsiteX45" fmla="*/ 2178937 w 4366182"/>
              <a:gd name="connsiteY45" fmla="*/ 443906 h 3753402"/>
              <a:gd name="connsiteX46" fmla="*/ 2396086 w 4366182"/>
              <a:gd name="connsiteY46" fmla="*/ 351329 h 3753402"/>
              <a:gd name="connsiteX47" fmla="*/ 2675290 w 4366182"/>
              <a:gd name="connsiteY47" fmla="*/ 266400 h 3753402"/>
              <a:gd name="connsiteX48" fmla="*/ 2872323 w 4366182"/>
              <a:gd name="connsiteY48" fmla="*/ 217726 h 3753402"/>
              <a:gd name="connsiteX49" fmla="*/ 3066208 w 4366182"/>
              <a:gd name="connsiteY49" fmla="*/ 167243 h 3753402"/>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63086 h 3749245"/>
              <a:gd name="connsiteX1" fmla="*/ 3272192 w 4366182"/>
              <a:gd name="connsiteY1" fmla="*/ 126313 h 3749245"/>
              <a:gd name="connsiteX2" fmla="*/ 3462692 w 4366182"/>
              <a:gd name="connsiteY2" fmla="*/ 96473 h 3749245"/>
              <a:gd name="connsiteX3" fmla="*/ 3687057 w 4366182"/>
              <a:gd name="connsiteY3" fmla="*/ 60002 h 3749245"/>
              <a:gd name="connsiteX4" fmla="*/ 3915657 w 4366182"/>
              <a:gd name="connsiteY4" fmla="*/ 146204 h 3749245"/>
              <a:gd name="connsiteX5" fmla="*/ 4206191 w 4366182"/>
              <a:gd name="connsiteY5" fmla="*/ 0 h 3749245"/>
              <a:gd name="connsiteX6" fmla="*/ 4364456 w 4366182"/>
              <a:gd name="connsiteY6" fmla="*/ 1154 h 3749245"/>
              <a:gd name="connsiteX7" fmla="*/ 4360157 w 4366182"/>
              <a:gd name="connsiteY7" fmla="*/ 834595 h 3749245"/>
              <a:gd name="connsiteX8" fmla="*/ 4360157 w 4366182"/>
              <a:gd name="connsiteY8" fmla="*/ 860721 h 3749245"/>
              <a:gd name="connsiteX9" fmla="*/ 4360157 w 4366182"/>
              <a:gd name="connsiteY9" fmla="*/ 908646 h 3749245"/>
              <a:gd name="connsiteX10" fmla="*/ 4360157 w 4366182"/>
              <a:gd name="connsiteY10" fmla="*/ 945970 h 3749245"/>
              <a:gd name="connsiteX11" fmla="*/ 4360157 w 4366182"/>
              <a:gd name="connsiteY11" fmla="*/ 974018 h 3749245"/>
              <a:gd name="connsiteX12" fmla="*/ 4360157 w 4366182"/>
              <a:gd name="connsiteY12" fmla="*/ 994115 h 3749245"/>
              <a:gd name="connsiteX13" fmla="*/ 4360157 w 4366182"/>
              <a:gd name="connsiteY13" fmla="*/ 1007587 h 3749245"/>
              <a:gd name="connsiteX14" fmla="*/ 4360157 w 4366182"/>
              <a:gd name="connsiteY14" fmla="*/ 1019955 h 3749245"/>
              <a:gd name="connsiteX15" fmla="*/ 4360157 w 4366182"/>
              <a:gd name="connsiteY15" fmla="*/ 1021722 h 3749245"/>
              <a:gd name="connsiteX16" fmla="*/ 4360157 w 4366182"/>
              <a:gd name="connsiteY16" fmla="*/ 3749245 h 3749245"/>
              <a:gd name="connsiteX17" fmla="*/ 4093457 w 4366182"/>
              <a:gd name="connsiteY17" fmla="*/ 3740135 h 3749245"/>
              <a:gd name="connsiteX18" fmla="*/ 3835226 w 4366182"/>
              <a:gd name="connsiteY18" fmla="*/ 3716930 h 3749245"/>
              <a:gd name="connsiteX19" fmla="*/ 3593923 w 4366182"/>
              <a:gd name="connsiteY19" fmla="*/ 3687088 h 3749245"/>
              <a:gd name="connsiteX20" fmla="*/ 3399191 w 4366182"/>
              <a:gd name="connsiteY20" fmla="*/ 3657249 h 3749245"/>
              <a:gd name="connsiteX21" fmla="*/ 3179057 w 4366182"/>
              <a:gd name="connsiteY21" fmla="*/ 3610834 h 3749245"/>
              <a:gd name="connsiteX22" fmla="*/ 2967391 w 4366182"/>
              <a:gd name="connsiteY22" fmla="*/ 3561104 h 3749245"/>
              <a:gd name="connsiteX23" fmla="*/ 2692224 w 4366182"/>
              <a:gd name="connsiteY23" fmla="*/ 3484848 h 3749245"/>
              <a:gd name="connsiteX24" fmla="*/ 2463623 w 4366182"/>
              <a:gd name="connsiteY24" fmla="*/ 3411907 h 3749245"/>
              <a:gd name="connsiteX25" fmla="*/ 2222323 w 4366182"/>
              <a:gd name="connsiteY25" fmla="*/ 3325707 h 3749245"/>
              <a:gd name="connsiteX26" fmla="*/ 1981023 w 4366182"/>
              <a:gd name="connsiteY26" fmla="*/ 3222927 h 3749245"/>
              <a:gd name="connsiteX27" fmla="*/ 1718557 w 4366182"/>
              <a:gd name="connsiteY27" fmla="*/ 3090310 h 3749245"/>
              <a:gd name="connsiteX28" fmla="*/ 1481491 w 4366182"/>
              <a:gd name="connsiteY28" fmla="*/ 2961007 h 3749245"/>
              <a:gd name="connsiteX29" fmla="*/ 1235958 w 4366182"/>
              <a:gd name="connsiteY29" fmla="*/ 2808498 h 3749245"/>
              <a:gd name="connsiteX30" fmla="*/ 969257 w 4366182"/>
              <a:gd name="connsiteY30" fmla="*/ 2636095 h 3749245"/>
              <a:gd name="connsiteX31" fmla="*/ 804957 w 4366182"/>
              <a:gd name="connsiteY31" fmla="*/ 2525850 h 3749245"/>
              <a:gd name="connsiteX32" fmla="*/ 669490 w 4366182"/>
              <a:gd name="connsiteY32" fmla="*/ 2421767 h 3749245"/>
              <a:gd name="connsiteX33" fmla="*/ 474757 w 4366182"/>
              <a:gd name="connsiteY33" fmla="*/ 2274737 h 3749245"/>
              <a:gd name="connsiteX34" fmla="*/ 335057 w 4366182"/>
              <a:gd name="connsiteY34" fmla="*/ 2152760 h 3749245"/>
              <a:gd name="connsiteX35" fmla="*/ 148790 w 4366182"/>
              <a:gd name="connsiteY35" fmla="*/ 2000652 h 3749245"/>
              <a:gd name="connsiteX36" fmla="*/ 0 w 4366182"/>
              <a:gd name="connsiteY36" fmla="*/ 1877237 h 3749245"/>
              <a:gd name="connsiteX37" fmla="*/ 178599 w 4366182"/>
              <a:gd name="connsiteY37" fmla="*/ 1709025 h 3749245"/>
              <a:gd name="connsiteX38" fmla="*/ 395300 w 4366182"/>
              <a:gd name="connsiteY38" fmla="*/ 1514480 h 3749245"/>
              <a:gd name="connsiteX39" fmla="*/ 667572 w 4366182"/>
              <a:gd name="connsiteY39" fmla="*/ 1318923 h 3749245"/>
              <a:gd name="connsiteX40" fmla="*/ 881158 w 4366182"/>
              <a:gd name="connsiteY40" fmla="*/ 1171958 h 3749245"/>
              <a:gd name="connsiteX41" fmla="*/ 1054723 w 4366182"/>
              <a:gd name="connsiteY41" fmla="*/ 1054410 h 3749245"/>
              <a:gd name="connsiteX42" fmla="*/ 1287558 w 4366182"/>
              <a:gd name="connsiteY42" fmla="*/ 900904 h 3749245"/>
              <a:gd name="connsiteX43" fmla="*/ 1554258 w 4366182"/>
              <a:gd name="connsiteY43" fmla="*/ 742570 h 3749245"/>
              <a:gd name="connsiteX44" fmla="*/ 1765924 w 4366182"/>
              <a:gd name="connsiteY44" fmla="*/ 637171 h 3749245"/>
              <a:gd name="connsiteX45" fmla="*/ 1969124 w 4366182"/>
              <a:gd name="connsiteY45" fmla="*/ 531916 h 3749245"/>
              <a:gd name="connsiteX46" fmla="*/ 2178937 w 4366182"/>
              <a:gd name="connsiteY46" fmla="*/ 439749 h 3749245"/>
              <a:gd name="connsiteX47" fmla="*/ 2396086 w 4366182"/>
              <a:gd name="connsiteY47" fmla="*/ 347172 h 3749245"/>
              <a:gd name="connsiteX48" fmla="*/ 2675290 w 4366182"/>
              <a:gd name="connsiteY48" fmla="*/ 262243 h 3749245"/>
              <a:gd name="connsiteX49" fmla="*/ 2872323 w 4366182"/>
              <a:gd name="connsiteY49" fmla="*/ 213569 h 3749245"/>
              <a:gd name="connsiteX50" fmla="*/ 3066208 w 4366182"/>
              <a:gd name="connsiteY50" fmla="*/ 163086 h 3749245"/>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1619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401846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3756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2217 w 4366182"/>
              <a:gd name="connsiteY45" fmla="*/ 523375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8764 w 4366182"/>
              <a:gd name="connsiteY45" fmla="*/ 513121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4105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93603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706696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366182" h="3748112">
                <a:moveTo>
                  <a:pt x="3066208" y="161953"/>
                </a:moveTo>
                <a:cubicBezTo>
                  <a:pt x="3134869" y="146277"/>
                  <a:pt x="3212657" y="132865"/>
                  <a:pt x="3278738" y="120054"/>
                </a:cubicBezTo>
                <a:cubicBezTo>
                  <a:pt x="3344819" y="107243"/>
                  <a:pt x="3399192" y="95033"/>
                  <a:pt x="3462692" y="85086"/>
                </a:cubicBezTo>
                <a:lnTo>
                  <a:pt x="3706696" y="48615"/>
                </a:lnTo>
                <a:lnTo>
                  <a:pt x="3960697" y="25715"/>
                </a:lnTo>
                <a:cubicBezTo>
                  <a:pt x="4049075" y="16766"/>
                  <a:pt x="4145445" y="13403"/>
                  <a:pt x="4212738" y="9121"/>
                </a:cubicBezTo>
                <a:cubicBezTo>
                  <a:pt x="4280031" y="4839"/>
                  <a:pt x="4311701" y="-364"/>
                  <a:pt x="4364456" y="21"/>
                </a:cubicBezTo>
                <a:cubicBezTo>
                  <a:pt x="4369656" y="144093"/>
                  <a:pt x="4361590" y="555648"/>
                  <a:pt x="4360157" y="833462"/>
                </a:cubicBezTo>
                <a:lnTo>
                  <a:pt x="4360157" y="859588"/>
                </a:lnTo>
                <a:lnTo>
                  <a:pt x="4360157" y="907513"/>
                </a:lnTo>
                <a:lnTo>
                  <a:pt x="4360157" y="944837"/>
                </a:lnTo>
                <a:lnTo>
                  <a:pt x="4360157" y="972885"/>
                </a:lnTo>
                <a:lnTo>
                  <a:pt x="4360157" y="992982"/>
                </a:lnTo>
                <a:lnTo>
                  <a:pt x="4360157" y="1006454"/>
                </a:lnTo>
                <a:lnTo>
                  <a:pt x="4360157" y="1018822"/>
                </a:lnTo>
                <a:lnTo>
                  <a:pt x="4360157" y="1020589"/>
                </a:lnTo>
                <a:lnTo>
                  <a:pt x="4360157" y="3748112"/>
                </a:lnTo>
                <a:lnTo>
                  <a:pt x="4093457" y="3739002"/>
                </a:lnTo>
                <a:lnTo>
                  <a:pt x="3835226" y="3715797"/>
                </a:lnTo>
                <a:lnTo>
                  <a:pt x="3593923" y="3685955"/>
                </a:lnTo>
                <a:lnTo>
                  <a:pt x="3399191" y="3656116"/>
                </a:lnTo>
                <a:lnTo>
                  <a:pt x="3179057" y="3609701"/>
                </a:lnTo>
                <a:lnTo>
                  <a:pt x="2967391" y="3559971"/>
                </a:lnTo>
                <a:lnTo>
                  <a:pt x="2692224" y="3483715"/>
                </a:lnTo>
                <a:lnTo>
                  <a:pt x="2463623" y="3410774"/>
                </a:lnTo>
                <a:lnTo>
                  <a:pt x="2222323" y="3324574"/>
                </a:lnTo>
                <a:lnTo>
                  <a:pt x="1981023" y="3221794"/>
                </a:lnTo>
                <a:lnTo>
                  <a:pt x="1718557" y="3089177"/>
                </a:lnTo>
                <a:lnTo>
                  <a:pt x="1481491" y="2959874"/>
                </a:lnTo>
                <a:lnTo>
                  <a:pt x="1235958" y="2807365"/>
                </a:lnTo>
                <a:lnTo>
                  <a:pt x="969257" y="2634962"/>
                </a:lnTo>
                <a:lnTo>
                  <a:pt x="804957" y="2524717"/>
                </a:lnTo>
                <a:lnTo>
                  <a:pt x="669490" y="2420634"/>
                </a:lnTo>
                <a:lnTo>
                  <a:pt x="474757" y="2273604"/>
                </a:lnTo>
                <a:lnTo>
                  <a:pt x="335057" y="2151627"/>
                </a:lnTo>
                <a:lnTo>
                  <a:pt x="148790" y="1999519"/>
                </a:lnTo>
                <a:lnTo>
                  <a:pt x="0" y="1876104"/>
                </a:lnTo>
                <a:lnTo>
                  <a:pt x="178599" y="1723272"/>
                </a:lnTo>
                <a:lnTo>
                  <a:pt x="395299" y="1538981"/>
                </a:lnTo>
                <a:lnTo>
                  <a:pt x="634838" y="1353678"/>
                </a:lnTo>
                <a:lnTo>
                  <a:pt x="887705" y="1170825"/>
                </a:lnTo>
                <a:lnTo>
                  <a:pt x="1054723" y="1053277"/>
                </a:lnTo>
                <a:lnTo>
                  <a:pt x="1287558" y="899771"/>
                </a:lnTo>
                <a:lnTo>
                  <a:pt x="1521525" y="756817"/>
                </a:lnTo>
                <a:lnTo>
                  <a:pt x="1765924" y="620658"/>
                </a:lnTo>
                <a:cubicBezTo>
                  <a:pt x="1833657" y="590700"/>
                  <a:pt x="1919929" y="542325"/>
                  <a:pt x="1988764" y="510276"/>
                </a:cubicBezTo>
                <a:cubicBezTo>
                  <a:pt x="2057600" y="478227"/>
                  <a:pt x="2108999" y="459085"/>
                  <a:pt x="2178937" y="428363"/>
                </a:cubicBezTo>
                <a:lnTo>
                  <a:pt x="2396086" y="346039"/>
                </a:lnTo>
                <a:lnTo>
                  <a:pt x="2675290" y="261110"/>
                </a:lnTo>
                <a:lnTo>
                  <a:pt x="2872323" y="207309"/>
                </a:lnTo>
                <a:lnTo>
                  <a:pt x="3066208" y="161953"/>
                </a:lnTo>
                <a:close/>
              </a:path>
            </a:pathLst>
          </a:custGeom>
          <a:noFill/>
        </p:spPr>
        <p:txBody>
          <a:bodyPr anchor="ctr" anchorCtr="0"/>
          <a:lstStyle>
            <a:lvl1pPr algn="ctr">
              <a:defRPr sz="1733"/>
            </a:lvl1pPr>
          </a:lstStyle>
          <a:p>
            <a:r>
              <a:rPr lang="nl-NL" noProof="0"/>
              <a:t>Klik op het pictogram als u een afbeelding wilt toevoegen</a:t>
            </a:r>
            <a:endParaRPr lang="en-GB" noProof="0"/>
          </a:p>
        </p:txBody>
      </p:sp>
      <p:pic>
        <p:nvPicPr>
          <p:cNvPr id="15" name="Image 14"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299749819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742011511"/>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3507643"/>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68"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74639" y="1052513"/>
            <a:ext cx="11704637" cy="580223"/>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9337338"/>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8" y="3035704"/>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68"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376066812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57199" y="1757363"/>
            <a:ext cx="5650637" cy="1968296"/>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394231" y="1757363"/>
            <a:ext cx="5530850" cy="2012346"/>
          </a:xfrm>
        </p:spPr>
        <p:txBody>
          <a:bodyPr/>
          <a:lstStyle>
            <a:lvl1pPr marL="0" indent="0">
              <a:spcBef>
                <a:spcPts val="2400"/>
              </a:spcBef>
              <a:buFont typeface="Arial" panose="020B0604020202020204" pitchFamily="34" charset="0"/>
              <a:buNone/>
              <a:defRPr lang="en-US" sz="3919"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00" kern="1200" spc="0" baseline="0" dirty="0" smtClean="0">
                <a:solidFill>
                  <a:schemeClr val="tx1"/>
                </a:solidFill>
                <a:latin typeface="+mn-lt"/>
                <a:ea typeface="+mn-ea"/>
                <a:cs typeface="+mn-cs"/>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marL="571390" marR="0" lvl="0" indent="-571390" algn="l" defTabSz="914016" rtl="0" eaLnBrk="1" fontAlgn="auto" latinLnBrk="0" hangingPunct="1">
              <a:lnSpc>
                <a:spcPct val="90000"/>
              </a:lnSpc>
              <a:spcBef>
                <a:spcPts val="2400"/>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53656157"/>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80223"/>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15" lvl="0" indent="-336015"/>
            <a:r>
              <a:rPr lang="en-US" dirty="0"/>
              <a:t>Click to edit Master text styles</a:t>
            </a:r>
          </a:p>
        </p:txBody>
      </p:sp>
    </p:spTree>
    <p:extLst>
      <p:ext uri="{BB962C8B-B14F-4D97-AF65-F5344CB8AC3E}">
        <p14:creationId xmlns:p14="http://schemas.microsoft.com/office/powerpoint/2010/main" val="2942523411"/>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11704637" cy="1809726"/>
          </a:xfrm>
        </p:spPr>
        <p:txBody>
          <a:bodyPr/>
          <a:lstStyle>
            <a:lvl1pPr marL="0" indent="0">
              <a:buFontTx/>
              <a:buNone/>
              <a:defRPr sz="3600">
                <a:solidFill>
                  <a:srgbClr val="00BCF2"/>
                </a:solidFill>
              </a:defRPr>
            </a:lvl1pPr>
            <a:lvl2pPr marL="0" indent="0">
              <a:spcAft>
                <a:spcPts val="600"/>
              </a:spcAft>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33460422"/>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86870393"/>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258187"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24215282"/>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562101"/>
            <a:ext cx="11653523" cy="2050772"/>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54317810"/>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9935" y="1562100"/>
            <a:ext cx="11653523" cy="2105091"/>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554954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apositive de titre-V3">
    <p:spTree>
      <p:nvGrpSpPr>
        <p:cNvPr id="1" name=""/>
        <p:cNvGrpSpPr/>
        <p:nvPr/>
      </p:nvGrpSpPr>
      <p:grpSpPr>
        <a:xfrm>
          <a:off x="0" y="0"/>
          <a:ext cx="0" cy="0"/>
          <a:chOff x="0" y="0"/>
          <a:chExt cx="0" cy="0"/>
        </a:xfrm>
      </p:grpSpPr>
      <p:sp>
        <p:nvSpPr>
          <p:cNvPr id="10" name="Rectangle 9"/>
          <p:cNvSpPr/>
          <p:nvPr userDrawn="1"/>
        </p:nvSpPr>
        <p:spPr bwMode="auto">
          <a:xfrm>
            <a:off x="0" y="0"/>
            <a:ext cx="12192000" cy="1709283"/>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pic>
        <p:nvPicPr>
          <p:cNvPr id="1026" name="Picture 2" descr="http://cdn.imotortimes.com/sites/imotortimes.com/files/styles/large/public/2014/02/18/rinspeed-xchangee-concept_0.jpg?itok=_p4wnqVf"/>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7770"/>
          <a:stretch/>
        </p:blipFill>
        <p:spPr bwMode="auto">
          <a:xfrm>
            <a:off x="0" y="1139327"/>
            <a:ext cx="12219093" cy="5789493"/>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userDrawn="1"/>
        </p:nvSpPr>
        <p:spPr bwMode="auto">
          <a:xfrm>
            <a:off x="0" y="0"/>
            <a:ext cx="12192000" cy="1068507"/>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pic>
        <p:nvPicPr>
          <p:cNvPr id="15" name="Image 14"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12" name="Forme libre 9"/>
          <p:cNvSpPr>
            <a:spLocks/>
          </p:cNvSpPr>
          <p:nvPr userDrawn="1"/>
        </p:nvSpPr>
        <p:spPr bwMode="auto">
          <a:xfrm>
            <a:off x="-22579" y="1118250"/>
            <a:ext cx="5751613"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tx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rgbClr val="A20067"/>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a:p>
        </p:txBody>
      </p:sp>
      <p:pic>
        <p:nvPicPr>
          <p:cNvPr id="17" name="Image 16" descr="VE_RGB_W.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9859700" y="5989387"/>
            <a:ext cx="2060221" cy="796620"/>
          </a:xfrm>
          <a:prstGeom prst="rect">
            <a:avLst/>
          </a:prstGeom>
        </p:spPr>
      </p:pic>
    </p:spTree>
    <p:extLst>
      <p:ext uri="{BB962C8B-B14F-4D97-AF65-F5344CB8AC3E}">
        <p14:creationId xmlns:p14="http://schemas.microsoft.com/office/powerpoint/2010/main" val="49168516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562100"/>
            <a:ext cx="11653523" cy="2105091"/>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28377940"/>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9715582"/>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0462355"/>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6951834"/>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3"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86206931"/>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93843180"/>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4"/>
            <a:ext cx="11294896"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Tree>
    <p:extLst>
      <p:ext uri="{BB962C8B-B14F-4D97-AF65-F5344CB8AC3E}">
        <p14:creationId xmlns:p14="http://schemas.microsoft.com/office/powerpoint/2010/main" val="2226356473"/>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4"/>
            <a:ext cx="11175844"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09" y="4146553"/>
            <a:ext cx="10487801" cy="910337"/>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3835274698"/>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71050498"/>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430158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Diapositive de titre-V3">
    <p:spTree>
      <p:nvGrpSpPr>
        <p:cNvPr id="1" name=""/>
        <p:cNvGrpSpPr/>
        <p:nvPr/>
      </p:nvGrpSpPr>
      <p:grpSpPr>
        <a:xfrm>
          <a:off x="0" y="0"/>
          <a:ext cx="0" cy="0"/>
          <a:chOff x="0" y="0"/>
          <a:chExt cx="0" cy="0"/>
        </a:xfrm>
      </p:grpSpPr>
      <p:pic>
        <p:nvPicPr>
          <p:cNvPr id="64" name="Picture 2" descr="https://newevolutiondesigns.com/images/freebies/city-wallpaper-32.jpg">
            <a:extLst>
              <a:ext uri="{FF2B5EF4-FFF2-40B4-BE49-F238E27FC236}">
                <a16:creationId xmlns:a16="http://schemas.microsoft.com/office/drawing/2014/main" id="{3B02810F-7EA7-43F9-A5F7-670E4D753E0C}"/>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t="-14959" b="-1"/>
          <a:stretch/>
        </p:blipFill>
        <p:spPr bwMode="auto">
          <a:xfrm>
            <a:off x="-12357" y="-1613650"/>
            <a:ext cx="12196119" cy="8490940"/>
          </a:xfrm>
          <a:prstGeom prst="rect">
            <a:avLst/>
          </a:prstGeom>
          <a:noFill/>
          <a:extLst>
            <a:ext uri="{909E8E84-426E-40DD-AFC4-6F175D3DCCD1}">
              <a14:hiddenFill xmlns:a14="http://schemas.microsoft.com/office/drawing/2010/main">
                <a:solidFill>
                  <a:srgbClr val="FFFFFF"/>
                </a:solidFill>
              </a14:hiddenFill>
            </a:ext>
          </a:extLst>
        </p:spPr>
      </p:pic>
      <p:sp>
        <p:nvSpPr>
          <p:cNvPr id="65" name="Arc 64">
            <a:extLst>
              <a:ext uri="{FF2B5EF4-FFF2-40B4-BE49-F238E27FC236}">
                <a16:creationId xmlns:a16="http://schemas.microsoft.com/office/drawing/2014/main" id="{BBDE1187-E1F6-463A-AF00-84100B679A6E}"/>
              </a:ext>
            </a:extLst>
          </p:cNvPr>
          <p:cNvSpPr/>
          <p:nvPr userDrawn="1"/>
        </p:nvSpPr>
        <p:spPr>
          <a:xfrm>
            <a:off x="4240560" y="2421795"/>
            <a:ext cx="2513979" cy="4032935"/>
          </a:xfrm>
          <a:prstGeom prst="arc">
            <a:avLst>
              <a:gd name="adj1" fmla="val 13609095"/>
              <a:gd name="adj2" fmla="val 21570957"/>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6" name="Arc 65">
            <a:extLst>
              <a:ext uri="{FF2B5EF4-FFF2-40B4-BE49-F238E27FC236}">
                <a16:creationId xmlns:a16="http://schemas.microsoft.com/office/drawing/2014/main" id="{9BCF2143-6A4C-4768-B2BB-3F891C4BC984}"/>
              </a:ext>
            </a:extLst>
          </p:cNvPr>
          <p:cNvSpPr/>
          <p:nvPr userDrawn="1"/>
        </p:nvSpPr>
        <p:spPr>
          <a:xfrm flipH="1">
            <a:off x="99816" y="3551305"/>
            <a:ext cx="1459636" cy="4460119"/>
          </a:xfrm>
          <a:prstGeom prst="arc">
            <a:avLst>
              <a:gd name="adj1" fmla="val 11854034"/>
              <a:gd name="adj2" fmla="val 17451217"/>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7" name="Arc 66">
            <a:extLst>
              <a:ext uri="{FF2B5EF4-FFF2-40B4-BE49-F238E27FC236}">
                <a16:creationId xmlns:a16="http://schemas.microsoft.com/office/drawing/2014/main" id="{408A47B8-51D6-495C-A170-8C9650E9FAC6}"/>
              </a:ext>
            </a:extLst>
          </p:cNvPr>
          <p:cNvSpPr/>
          <p:nvPr userDrawn="1"/>
        </p:nvSpPr>
        <p:spPr>
          <a:xfrm>
            <a:off x="1559452" y="3220052"/>
            <a:ext cx="695917" cy="4360897"/>
          </a:xfrm>
          <a:prstGeom prst="arc">
            <a:avLst>
              <a:gd name="adj1" fmla="val 9342641"/>
              <a:gd name="adj2" fmla="val 16865012"/>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8" name="Arc 67">
            <a:extLst>
              <a:ext uri="{FF2B5EF4-FFF2-40B4-BE49-F238E27FC236}">
                <a16:creationId xmlns:a16="http://schemas.microsoft.com/office/drawing/2014/main" id="{FC19B304-C12F-4613-A1CD-D2BB95A7CA20}"/>
              </a:ext>
            </a:extLst>
          </p:cNvPr>
          <p:cNvSpPr/>
          <p:nvPr userDrawn="1"/>
        </p:nvSpPr>
        <p:spPr>
          <a:xfrm flipH="1">
            <a:off x="2048895" y="3231069"/>
            <a:ext cx="1669258" cy="4320766"/>
          </a:xfrm>
          <a:prstGeom prst="arc">
            <a:avLst>
              <a:gd name="adj1" fmla="val 12352648"/>
              <a:gd name="adj2" fmla="val 1767966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9" name="Arc 68">
            <a:extLst>
              <a:ext uri="{FF2B5EF4-FFF2-40B4-BE49-F238E27FC236}">
                <a16:creationId xmlns:a16="http://schemas.microsoft.com/office/drawing/2014/main" id="{278F13A8-C22A-4FE7-8F88-48B76175C0B3}"/>
              </a:ext>
            </a:extLst>
          </p:cNvPr>
          <p:cNvSpPr/>
          <p:nvPr userDrawn="1"/>
        </p:nvSpPr>
        <p:spPr>
          <a:xfrm>
            <a:off x="6473089" y="4469121"/>
            <a:ext cx="3388497" cy="2991742"/>
          </a:xfrm>
          <a:prstGeom prst="arc">
            <a:avLst>
              <a:gd name="adj1" fmla="val 11065609"/>
              <a:gd name="adj2" fmla="val 20784473"/>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0" name="Arc 69">
            <a:extLst>
              <a:ext uri="{FF2B5EF4-FFF2-40B4-BE49-F238E27FC236}">
                <a16:creationId xmlns:a16="http://schemas.microsoft.com/office/drawing/2014/main" id="{C608173C-1335-40FA-9DFC-68A0FBDE87FF}"/>
              </a:ext>
            </a:extLst>
          </p:cNvPr>
          <p:cNvSpPr/>
          <p:nvPr userDrawn="1"/>
        </p:nvSpPr>
        <p:spPr>
          <a:xfrm>
            <a:off x="1543485" y="4385660"/>
            <a:ext cx="2340740" cy="3339985"/>
          </a:xfrm>
          <a:prstGeom prst="arc">
            <a:avLst>
              <a:gd name="adj1" fmla="val 12198324"/>
              <a:gd name="adj2" fmla="val 18646156"/>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1" name="Arc 70">
            <a:extLst>
              <a:ext uri="{FF2B5EF4-FFF2-40B4-BE49-F238E27FC236}">
                <a16:creationId xmlns:a16="http://schemas.microsoft.com/office/drawing/2014/main" id="{B7B95070-D1A6-4794-B4E4-2ECF6251E907}"/>
              </a:ext>
            </a:extLst>
          </p:cNvPr>
          <p:cNvSpPr/>
          <p:nvPr userDrawn="1"/>
        </p:nvSpPr>
        <p:spPr>
          <a:xfrm>
            <a:off x="9815754" y="4014997"/>
            <a:ext cx="1623603" cy="3339985"/>
          </a:xfrm>
          <a:prstGeom prst="arc">
            <a:avLst>
              <a:gd name="adj1" fmla="val 11196475"/>
              <a:gd name="adj2" fmla="val 17901675"/>
            </a:avLst>
          </a:prstGeom>
          <a:noFill/>
          <a:ln w="254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2" name="Arc 71">
            <a:extLst>
              <a:ext uri="{FF2B5EF4-FFF2-40B4-BE49-F238E27FC236}">
                <a16:creationId xmlns:a16="http://schemas.microsoft.com/office/drawing/2014/main" id="{B3EBF1D6-3176-4C33-8EA6-E1ED406923B8}"/>
              </a:ext>
            </a:extLst>
          </p:cNvPr>
          <p:cNvSpPr/>
          <p:nvPr userDrawn="1"/>
        </p:nvSpPr>
        <p:spPr>
          <a:xfrm flipH="1">
            <a:off x="6623856" y="3464488"/>
            <a:ext cx="2085567" cy="4394404"/>
          </a:xfrm>
          <a:prstGeom prst="arc">
            <a:avLst>
              <a:gd name="adj1" fmla="val 15144935"/>
              <a:gd name="adj2" fmla="val 18379103"/>
            </a:avLst>
          </a:prstGeom>
          <a:noFill/>
          <a:ln w="38100" cap="rnd" cmpd="sng" algn="ctr">
            <a:gradFill flip="none" rotWithShape="1">
              <a:gsLst>
                <a:gs pos="0">
                  <a:srgbClr val="E4DED8"/>
                </a:gs>
                <a:gs pos="100000">
                  <a:srgbClr val="E4DED8">
                    <a:alpha val="7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3" name="Arc 72">
            <a:extLst>
              <a:ext uri="{FF2B5EF4-FFF2-40B4-BE49-F238E27FC236}">
                <a16:creationId xmlns:a16="http://schemas.microsoft.com/office/drawing/2014/main" id="{EC4CF066-C6F2-4F1A-87CA-E06FCB800E24}"/>
              </a:ext>
            </a:extLst>
          </p:cNvPr>
          <p:cNvSpPr/>
          <p:nvPr userDrawn="1"/>
        </p:nvSpPr>
        <p:spPr>
          <a:xfrm>
            <a:off x="2105060" y="2410778"/>
            <a:ext cx="4366403" cy="5000449"/>
          </a:xfrm>
          <a:prstGeom prst="arc">
            <a:avLst>
              <a:gd name="adj1" fmla="val 12182083"/>
              <a:gd name="adj2" fmla="val 19536372"/>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4" name="Arc 73">
            <a:extLst>
              <a:ext uri="{FF2B5EF4-FFF2-40B4-BE49-F238E27FC236}">
                <a16:creationId xmlns:a16="http://schemas.microsoft.com/office/drawing/2014/main" id="{D51CE9C9-E735-4EE8-BBF1-146825EEA228}"/>
              </a:ext>
            </a:extLst>
          </p:cNvPr>
          <p:cNvSpPr/>
          <p:nvPr userDrawn="1"/>
        </p:nvSpPr>
        <p:spPr>
          <a:xfrm>
            <a:off x="-392970" y="3486450"/>
            <a:ext cx="2697097" cy="2198540"/>
          </a:xfrm>
          <a:prstGeom prst="arc">
            <a:avLst>
              <a:gd name="adj1" fmla="val 12011279"/>
              <a:gd name="adj2" fmla="val 20180343"/>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5" name="Arc 74">
            <a:extLst>
              <a:ext uri="{FF2B5EF4-FFF2-40B4-BE49-F238E27FC236}">
                <a16:creationId xmlns:a16="http://schemas.microsoft.com/office/drawing/2014/main" id="{786B4561-E039-46DC-837E-7074F17EAA6F}"/>
              </a:ext>
            </a:extLst>
          </p:cNvPr>
          <p:cNvSpPr/>
          <p:nvPr userDrawn="1"/>
        </p:nvSpPr>
        <p:spPr>
          <a:xfrm flipH="1">
            <a:off x="8936109" y="2670191"/>
            <a:ext cx="2340278" cy="4190282"/>
          </a:xfrm>
          <a:prstGeom prst="arc">
            <a:avLst>
              <a:gd name="adj1" fmla="val 11367434"/>
              <a:gd name="adj2" fmla="val 19352303"/>
            </a:avLst>
          </a:prstGeom>
          <a:noFill/>
          <a:ln w="38100" cap="rnd" cmpd="sng" algn="ctr">
            <a:gradFill flip="none" rotWithShape="1">
              <a:gsLst>
                <a:gs pos="0">
                  <a:srgbClr val="E4DED8"/>
                </a:gs>
                <a:gs pos="100000">
                  <a:srgbClr val="E4DED8">
                    <a:alpha val="23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6" name="Arc 75">
            <a:extLst>
              <a:ext uri="{FF2B5EF4-FFF2-40B4-BE49-F238E27FC236}">
                <a16:creationId xmlns:a16="http://schemas.microsoft.com/office/drawing/2014/main" id="{BA8EB5EB-012B-4F35-B894-5B16E30F3B50}"/>
              </a:ext>
            </a:extLst>
          </p:cNvPr>
          <p:cNvSpPr/>
          <p:nvPr userDrawn="1"/>
        </p:nvSpPr>
        <p:spPr>
          <a:xfrm>
            <a:off x="2866659" y="3386925"/>
            <a:ext cx="2483195" cy="3414172"/>
          </a:xfrm>
          <a:prstGeom prst="arc">
            <a:avLst>
              <a:gd name="adj1" fmla="val 13976552"/>
              <a:gd name="adj2" fmla="val 18629965"/>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7" name="Arc 76">
            <a:extLst>
              <a:ext uri="{FF2B5EF4-FFF2-40B4-BE49-F238E27FC236}">
                <a16:creationId xmlns:a16="http://schemas.microsoft.com/office/drawing/2014/main" id="{AE6F7A07-0110-49AC-AB01-4952A61655CA}"/>
              </a:ext>
            </a:extLst>
          </p:cNvPr>
          <p:cNvSpPr/>
          <p:nvPr userDrawn="1"/>
        </p:nvSpPr>
        <p:spPr>
          <a:xfrm flipH="1">
            <a:off x="3520989" y="4540064"/>
            <a:ext cx="1274914" cy="3391632"/>
          </a:xfrm>
          <a:prstGeom prst="arc">
            <a:avLst>
              <a:gd name="adj1" fmla="val 11268502"/>
              <a:gd name="adj2" fmla="val 17415783"/>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8" name="Arc 77">
            <a:extLst>
              <a:ext uri="{FF2B5EF4-FFF2-40B4-BE49-F238E27FC236}">
                <a16:creationId xmlns:a16="http://schemas.microsoft.com/office/drawing/2014/main" id="{313525FC-D6E0-48C2-A89F-7969C5C89C1C}"/>
              </a:ext>
            </a:extLst>
          </p:cNvPr>
          <p:cNvSpPr/>
          <p:nvPr userDrawn="1"/>
        </p:nvSpPr>
        <p:spPr>
          <a:xfrm>
            <a:off x="4826858" y="5337727"/>
            <a:ext cx="1724829" cy="1757947"/>
          </a:xfrm>
          <a:prstGeom prst="arc">
            <a:avLst>
              <a:gd name="adj1" fmla="val 11065609"/>
              <a:gd name="adj2" fmla="val 20290859"/>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9" name="Arc 78">
            <a:extLst>
              <a:ext uri="{FF2B5EF4-FFF2-40B4-BE49-F238E27FC236}">
                <a16:creationId xmlns:a16="http://schemas.microsoft.com/office/drawing/2014/main" id="{4F2A464D-C7B4-4B7C-8D6D-263F7096D8FC}"/>
              </a:ext>
            </a:extLst>
          </p:cNvPr>
          <p:cNvSpPr/>
          <p:nvPr userDrawn="1"/>
        </p:nvSpPr>
        <p:spPr>
          <a:xfrm flipH="1">
            <a:off x="11194829" y="3301250"/>
            <a:ext cx="2340278" cy="4190282"/>
          </a:xfrm>
          <a:prstGeom prst="arc">
            <a:avLst>
              <a:gd name="adj1" fmla="val 11367434"/>
              <a:gd name="adj2" fmla="val 19352303"/>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0" name="Arc 79">
            <a:extLst>
              <a:ext uri="{FF2B5EF4-FFF2-40B4-BE49-F238E27FC236}">
                <a16:creationId xmlns:a16="http://schemas.microsoft.com/office/drawing/2014/main" id="{25A0C855-9418-4AAC-BDD5-92FEC97A6EDC}"/>
              </a:ext>
            </a:extLst>
          </p:cNvPr>
          <p:cNvSpPr/>
          <p:nvPr userDrawn="1"/>
        </p:nvSpPr>
        <p:spPr>
          <a:xfrm flipH="1">
            <a:off x="-283840" y="4982613"/>
            <a:ext cx="1908062" cy="1837287"/>
          </a:xfrm>
          <a:prstGeom prst="arc">
            <a:avLst>
              <a:gd name="adj1" fmla="val 11954805"/>
              <a:gd name="adj2" fmla="val 20039040"/>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1" name="Arc 80">
            <a:extLst>
              <a:ext uri="{FF2B5EF4-FFF2-40B4-BE49-F238E27FC236}">
                <a16:creationId xmlns:a16="http://schemas.microsoft.com/office/drawing/2014/main" id="{394A3882-97AF-4415-B2FA-54060278FF00}"/>
              </a:ext>
            </a:extLst>
          </p:cNvPr>
          <p:cNvSpPr/>
          <p:nvPr userDrawn="1"/>
        </p:nvSpPr>
        <p:spPr>
          <a:xfrm>
            <a:off x="8203428" y="2111748"/>
            <a:ext cx="3452653" cy="4448383"/>
          </a:xfrm>
          <a:prstGeom prst="arc">
            <a:avLst>
              <a:gd name="adj1" fmla="val 11879355"/>
              <a:gd name="adj2" fmla="val 1827695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2" name="Arc 81">
            <a:extLst>
              <a:ext uri="{FF2B5EF4-FFF2-40B4-BE49-F238E27FC236}">
                <a16:creationId xmlns:a16="http://schemas.microsoft.com/office/drawing/2014/main" id="{434CD890-0FCE-4C78-9E3A-662F27B08834}"/>
              </a:ext>
            </a:extLst>
          </p:cNvPr>
          <p:cNvSpPr/>
          <p:nvPr userDrawn="1"/>
        </p:nvSpPr>
        <p:spPr>
          <a:xfrm flipH="1">
            <a:off x="6550693" y="3064604"/>
            <a:ext cx="1669802" cy="1730990"/>
          </a:xfrm>
          <a:prstGeom prst="arc">
            <a:avLst>
              <a:gd name="adj1" fmla="val 11350335"/>
              <a:gd name="adj2" fmla="val 17617918"/>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3" name="Arc 82">
            <a:extLst>
              <a:ext uri="{FF2B5EF4-FFF2-40B4-BE49-F238E27FC236}">
                <a16:creationId xmlns:a16="http://schemas.microsoft.com/office/drawing/2014/main" id="{30B682D6-2361-4D8E-B7CD-85DCCBE31D89}"/>
              </a:ext>
            </a:extLst>
          </p:cNvPr>
          <p:cNvSpPr/>
          <p:nvPr userDrawn="1"/>
        </p:nvSpPr>
        <p:spPr>
          <a:xfrm>
            <a:off x="8676227" y="5133728"/>
            <a:ext cx="1164990" cy="1757947"/>
          </a:xfrm>
          <a:prstGeom prst="arc">
            <a:avLst>
              <a:gd name="adj1" fmla="val 11368144"/>
              <a:gd name="adj2" fmla="val 19112867"/>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4" name="Arc 83">
            <a:extLst>
              <a:ext uri="{FF2B5EF4-FFF2-40B4-BE49-F238E27FC236}">
                <a16:creationId xmlns:a16="http://schemas.microsoft.com/office/drawing/2014/main" id="{045E08CE-DFE9-48D0-9DAF-EE365E1502D2}"/>
              </a:ext>
            </a:extLst>
          </p:cNvPr>
          <p:cNvSpPr/>
          <p:nvPr userDrawn="1"/>
        </p:nvSpPr>
        <p:spPr>
          <a:xfrm flipH="1">
            <a:off x="6174658" y="1978362"/>
            <a:ext cx="2815408" cy="3436813"/>
          </a:xfrm>
          <a:prstGeom prst="arc">
            <a:avLst>
              <a:gd name="adj1" fmla="val 10339918"/>
              <a:gd name="adj2" fmla="val 21358129"/>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5" name="Oval 84">
            <a:extLst>
              <a:ext uri="{FF2B5EF4-FFF2-40B4-BE49-F238E27FC236}">
                <a16:creationId xmlns:a16="http://schemas.microsoft.com/office/drawing/2014/main" id="{5C636303-1089-4607-B94E-F51B6D0186E3}"/>
              </a:ext>
            </a:extLst>
          </p:cNvPr>
          <p:cNvSpPr>
            <a:spLocks noChangeAspect="1"/>
          </p:cNvSpPr>
          <p:nvPr userDrawn="1"/>
        </p:nvSpPr>
        <p:spPr>
          <a:xfrm>
            <a:off x="5014187" y="3962535"/>
            <a:ext cx="137160" cy="137234"/>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6" name="Oval 85">
            <a:extLst>
              <a:ext uri="{FF2B5EF4-FFF2-40B4-BE49-F238E27FC236}">
                <a16:creationId xmlns:a16="http://schemas.microsoft.com/office/drawing/2014/main" id="{5F3A18A9-647F-4120-B7C5-E0696AC7F433}"/>
              </a:ext>
            </a:extLst>
          </p:cNvPr>
          <p:cNvSpPr>
            <a:spLocks noChangeAspect="1"/>
          </p:cNvSpPr>
          <p:nvPr userDrawn="1"/>
        </p:nvSpPr>
        <p:spPr>
          <a:xfrm>
            <a:off x="6410579" y="5882309"/>
            <a:ext cx="137160" cy="137235"/>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7" name="Oval 86">
            <a:extLst>
              <a:ext uri="{FF2B5EF4-FFF2-40B4-BE49-F238E27FC236}">
                <a16:creationId xmlns:a16="http://schemas.microsoft.com/office/drawing/2014/main" id="{2C881490-6885-4E6F-BAAA-F8A9A2D0363A}"/>
              </a:ext>
            </a:extLst>
          </p:cNvPr>
          <p:cNvSpPr/>
          <p:nvPr userDrawn="1"/>
        </p:nvSpPr>
        <p:spPr>
          <a:xfrm flipH="1" flipV="1">
            <a:off x="6115889" y="3634411"/>
            <a:ext cx="106082" cy="106138"/>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8" name="Oval 87">
            <a:extLst>
              <a:ext uri="{FF2B5EF4-FFF2-40B4-BE49-F238E27FC236}">
                <a16:creationId xmlns:a16="http://schemas.microsoft.com/office/drawing/2014/main" id="{C4C3A6E0-41D7-4E35-8228-901162C37FAE}"/>
              </a:ext>
            </a:extLst>
          </p:cNvPr>
          <p:cNvSpPr>
            <a:spLocks noChangeAspect="1"/>
          </p:cNvSpPr>
          <p:nvPr userDrawn="1"/>
        </p:nvSpPr>
        <p:spPr>
          <a:xfrm>
            <a:off x="11587501" y="6381240"/>
            <a:ext cx="137160" cy="137235"/>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9" name="Oval 88">
            <a:extLst>
              <a:ext uri="{FF2B5EF4-FFF2-40B4-BE49-F238E27FC236}">
                <a16:creationId xmlns:a16="http://schemas.microsoft.com/office/drawing/2014/main" id="{50096964-F4B6-448F-AC6E-3AF4B51C316D}"/>
              </a:ext>
            </a:extLst>
          </p:cNvPr>
          <p:cNvSpPr>
            <a:spLocks noChangeAspect="1"/>
          </p:cNvSpPr>
          <p:nvPr userDrawn="1"/>
        </p:nvSpPr>
        <p:spPr>
          <a:xfrm>
            <a:off x="11190678" y="4565608"/>
            <a:ext cx="182880" cy="182979"/>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90" name="Oval 89">
            <a:extLst>
              <a:ext uri="{FF2B5EF4-FFF2-40B4-BE49-F238E27FC236}">
                <a16:creationId xmlns:a16="http://schemas.microsoft.com/office/drawing/2014/main" id="{1E28C3A2-0111-4EE3-B205-2EF7B3750128}"/>
              </a:ext>
            </a:extLst>
          </p:cNvPr>
          <p:cNvSpPr>
            <a:spLocks noChangeAspect="1"/>
          </p:cNvSpPr>
          <p:nvPr userDrawn="1"/>
        </p:nvSpPr>
        <p:spPr>
          <a:xfrm>
            <a:off x="2125969" y="4048488"/>
            <a:ext cx="182780" cy="182880"/>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91" name="Oval 90">
            <a:extLst>
              <a:ext uri="{FF2B5EF4-FFF2-40B4-BE49-F238E27FC236}">
                <a16:creationId xmlns:a16="http://schemas.microsoft.com/office/drawing/2014/main" id="{E38A7622-C5ED-488D-835B-B8D7326177A2}"/>
              </a:ext>
            </a:extLst>
          </p:cNvPr>
          <p:cNvSpPr>
            <a:spLocks noChangeAspect="1"/>
          </p:cNvSpPr>
          <p:nvPr userDrawn="1"/>
        </p:nvSpPr>
        <p:spPr>
          <a:xfrm>
            <a:off x="8160946" y="3837278"/>
            <a:ext cx="137160" cy="137234"/>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92" name="Arc 91">
            <a:extLst>
              <a:ext uri="{FF2B5EF4-FFF2-40B4-BE49-F238E27FC236}">
                <a16:creationId xmlns:a16="http://schemas.microsoft.com/office/drawing/2014/main" id="{014C9754-9996-4805-B516-9B0A5E01F62D}"/>
              </a:ext>
            </a:extLst>
          </p:cNvPr>
          <p:cNvSpPr/>
          <p:nvPr userDrawn="1"/>
        </p:nvSpPr>
        <p:spPr>
          <a:xfrm flipH="1">
            <a:off x="6498985" y="3911458"/>
            <a:ext cx="2175208" cy="4347318"/>
          </a:xfrm>
          <a:prstGeom prst="arc">
            <a:avLst>
              <a:gd name="adj1" fmla="val 11429360"/>
              <a:gd name="adj2" fmla="val 17614459"/>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grpSp>
        <p:nvGrpSpPr>
          <p:cNvPr id="93" name="Group 92">
            <a:extLst>
              <a:ext uri="{FF2B5EF4-FFF2-40B4-BE49-F238E27FC236}">
                <a16:creationId xmlns:a16="http://schemas.microsoft.com/office/drawing/2014/main" id="{B8BEBBAD-A473-428F-8B30-48DFCD4577A3}"/>
              </a:ext>
            </a:extLst>
          </p:cNvPr>
          <p:cNvGrpSpPr/>
          <p:nvPr userDrawn="1"/>
        </p:nvGrpSpPr>
        <p:grpSpPr>
          <a:xfrm>
            <a:off x="6609823" y="4353505"/>
            <a:ext cx="399704" cy="399922"/>
            <a:chOff x="6609823" y="4353505"/>
            <a:chExt cx="399704" cy="399922"/>
          </a:xfrm>
          <a:solidFill>
            <a:schemeClr val="tx1"/>
          </a:solidFill>
        </p:grpSpPr>
        <p:sp>
          <p:nvSpPr>
            <p:cNvPr id="94" name="Oval 93">
              <a:extLst>
                <a:ext uri="{FF2B5EF4-FFF2-40B4-BE49-F238E27FC236}">
                  <a16:creationId xmlns:a16="http://schemas.microsoft.com/office/drawing/2014/main" id="{60139C06-0C5F-4296-94AE-C5E7941B16DD}"/>
                </a:ext>
              </a:extLst>
            </p:cNvPr>
            <p:cNvSpPr>
              <a:spLocks noChangeAspect="1"/>
            </p:cNvSpPr>
            <p:nvPr/>
          </p:nvSpPr>
          <p:spPr>
            <a:xfrm>
              <a:off x="6609823" y="4353505"/>
              <a:ext cx="399704" cy="399922"/>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95" name="Picture 94">
              <a:extLst>
                <a:ext uri="{FF2B5EF4-FFF2-40B4-BE49-F238E27FC236}">
                  <a16:creationId xmlns:a16="http://schemas.microsoft.com/office/drawing/2014/main" id="{C74F16E5-FF90-4B3E-9FED-47BBA3E1A246}"/>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702761" y="4446552"/>
              <a:ext cx="213829" cy="213829"/>
            </a:xfrm>
            <a:prstGeom prst="rect">
              <a:avLst/>
            </a:prstGeom>
            <a:grpFill/>
          </p:spPr>
        </p:pic>
      </p:grpSp>
      <p:grpSp>
        <p:nvGrpSpPr>
          <p:cNvPr id="96" name="Group 95">
            <a:extLst>
              <a:ext uri="{FF2B5EF4-FFF2-40B4-BE49-F238E27FC236}">
                <a16:creationId xmlns:a16="http://schemas.microsoft.com/office/drawing/2014/main" id="{63125BEB-C5B8-4DD5-B79C-5ECF069136B5}"/>
              </a:ext>
            </a:extLst>
          </p:cNvPr>
          <p:cNvGrpSpPr/>
          <p:nvPr userDrawn="1"/>
        </p:nvGrpSpPr>
        <p:grpSpPr>
          <a:xfrm>
            <a:off x="9530451" y="5423393"/>
            <a:ext cx="553868" cy="554174"/>
            <a:chOff x="9530451" y="5423393"/>
            <a:chExt cx="553868" cy="554174"/>
          </a:xfrm>
          <a:solidFill>
            <a:schemeClr val="tx1"/>
          </a:solidFill>
        </p:grpSpPr>
        <p:sp>
          <p:nvSpPr>
            <p:cNvPr id="97" name="Oval 96">
              <a:extLst>
                <a:ext uri="{FF2B5EF4-FFF2-40B4-BE49-F238E27FC236}">
                  <a16:creationId xmlns:a16="http://schemas.microsoft.com/office/drawing/2014/main" id="{6A353B80-0825-4429-ABD6-CC88EAB4B2CE}"/>
                </a:ext>
              </a:extLst>
            </p:cNvPr>
            <p:cNvSpPr>
              <a:spLocks noChangeAspect="1"/>
            </p:cNvSpPr>
            <p:nvPr/>
          </p:nvSpPr>
          <p:spPr>
            <a:xfrm>
              <a:off x="9530451" y="5423393"/>
              <a:ext cx="553868" cy="554174"/>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98" name="Picture 97">
              <a:extLst>
                <a:ext uri="{FF2B5EF4-FFF2-40B4-BE49-F238E27FC236}">
                  <a16:creationId xmlns:a16="http://schemas.microsoft.com/office/drawing/2014/main" id="{C4A64801-10D2-42FF-AA13-8C3A421AF7C8}"/>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9629344" y="5572125"/>
              <a:ext cx="356082" cy="256710"/>
            </a:xfrm>
            <a:prstGeom prst="rect">
              <a:avLst/>
            </a:prstGeom>
            <a:grpFill/>
          </p:spPr>
        </p:pic>
      </p:grpSp>
      <p:grpSp>
        <p:nvGrpSpPr>
          <p:cNvPr id="99" name="Group 98">
            <a:extLst>
              <a:ext uri="{FF2B5EF4-FFF2-40B4-BE49-F238E27FC236}">
                <a16:creationId xmlns:a16="http://schemas.microsoft.com/office/drawing/2014/main" id="{D04F9453-BDAF-4760-B141-872C3B580AE0}"/>
              </a:ext>
            </a:extLst>
          </p:cNvPr>
          <p:cNvGrpSpPr/>
          <p:nvPr userDrawn="1"/>
        </p:nvGrpSpPr>
        <p:grpSpPr>
          <a:xfrm>
            <a:off x="4603526" y="6153717"/>
            <a:ext cx="405566" cy="405788"/>
            <a:chOff x="4603526" y="6153717"/>
            <a:chExt cx="405566" cy="405788"/>
          </a:xfrm>
          <a:solidFill>
            <a:schemeClr val="tx1"/>
          </a:solidFill>
        </p:grpSpPr>
        <p:sp>
          <p:nvSpPr>
            <p:cNvPr id="100" name="Oval 99">
              <a:extLst>
                <a:ext uri="{FF2B5EF4-FFF2-40B4-BE49-F238E27FC236}">
                  <a16:creationId xmlns:a16="http://schemas.microsoft.com/office/drawing/2014/main" id="{F8326098-B09C-4161-8BB3-AF3637ABBCB3}"/>
                </a:ext>
              </a:extLst>
            </p:cNvPr>
            <p:cNvSpPr>
              <a:spLocks noChangeAspect="1"/>
            </p:cNvSpPr>
            <p:nvPr/>
          </p:nvSpPr>
          <p:spPr>
            <a:xfrm>
              <a:off x="4603526" y="6153717"/>
              <a:ext cx="405566" cy="405788"/>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01" name="Picture 100">
              <a:extLst>
                <a:ext uri="{FF2B5EF4-FFF2-40B4-BE49-F238E27FC236}">
                  <a16:creationId xmlns:a16="http://schemas.microsoft.com/office/drawing/2014/main" id="{D97B2AC1-25AD-4430-B29C-5C6AA3C3006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698144" y="6265087"/>
              <a:ext cx="216330" cy="183048"/>
            </a:xfrm>
            <a:prstGeom prst="rect">
              <a:avLst/>
            </a:prstGeom>
            <a:grpFill/>
          </p:spPr>
        </p:pic>
      </p:grpSp>
      <p:grpSp>
        <p:nvGrpSpPr>
          <p:cNvPr id="102" name="Group 101">
            <a:extLst>
              <a:ext uri="{FF2B5EF4-FFF2-40B4-BE49-F238E27FC236}">
                <a16:creationId xmlns:a16="http://schemas.microsoft.com/office/drawing/2014/main" id="{7A461DBF-A562-43CB-9A46-C294D1B32BA0}"/>
              </a:ext>
            </a:extLst>
          </p:cNvPr>
          <p:cNvGrpSpPr/>
          <p:nvPr userDrawn="1"/>
        </p:nvGrpSpPr>
        <p:grpSpPr>
          <a:xfrm>
            <a:off x="8870506" y="3926493"/>
            <a:ext cx="274320" cy="274469"/>
            <a:chOff x="8870506" y="3926493"/>
            <a:chExt cx="274320" cy="274469"/>
          </a:xfrm>
          <a:solidFill>
            <a:schemeClr val="tx1"/>
          </a:solidFill>
        </p:grpSpPr>
        <p:sp>
          <p:nvSpPr>
            <p:cNvPr id="103" name="Oval 102">
              <a:extLst>
                <a:ext uri="{FF2B5EF4-FFF2-40B4-BE49-F238E27FC236}">
                  <a16:creationId xmlns:a16="http://schemas.microsoft.com/office/drawing/2014/main" id="{7D1814C7-195E-49EE-B2DF-A2B1BA052CA4}"/>
                </a:ext>
              </a:extLst>
            </p:cNvPr>
            <p:cNvSpPr>
              <a:spLocks noChangeAspect="1"/>
            </p:cNvSpPr>
            <p:nvPr/>
          </p:nvSpPr>
          <p:spPr>
            <a:xfrm>
              <a:off x="8870506" y="3926493"/>
              <a:ext cx="274320" cy="274469"/>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04" name="Picture 103">
              <a:extLst>
                <a:ext uri="{FF2B5EF4-FFF2-40B4-BE49-F238E27FC236}">
                  <a16:creationId xmlns:a16="http://schemas.microsoft.com/office/drawing/2014/main" id="{A9B94E3D-FC46-477F-953F-28A6F71DE9D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926688" y="4021548"/>
              <a:ext cx="161957" cy="122455"/>
            </a:xfrm>
            <a:prstGeom prst="rect">
              <a:avLst/>
            </a:prstGeom>
            <a:grpFill/>
          </p:spPr>
        </p:pic>
      </p:grpSp>
      <p:grpSp>
        <p:nvGrpSpPr>
          <p:cNvPr id="105" name="Group 104">
            <a:extLst>
              <a:ext uri="{FF2B5EF4-FFF2-40B4-BE49-F238E27FC236}">
                <a16:creationId xmlns:a16="http://schemas.microsoft.com/office/drawing/2014/main" id="{581A6791-957B-43F4-8A17-B16D30EFE853}"/>
              </a:ext>
            </a:extLst>
          </p:cNvPr>
          <p:cNvGrpSpPr/>
          <p:nvPr userDrawn="1"/>
        </p:nvGrpSpPr>
        <p:grpSpPr>
          <a:xfrm>
            <a:off x="1370473" y="5524356"/>
            <a:ext cx="419326" cy="419552"/>
            <a:chOff x="1370473" y="5524356"/>
            <a:chExt cx="419326" cy="419552"/>
          </a:xfrm>
          <a:solidFill>
            <a:schemeClr val="tx1"/>
          </a:solidFill>
        </p:grpSpPr>
        <p:sp>
          <p:nvSpPr>
            <p:cNvPr id="106" name="Oval 105">
              <a:extLst>
                <a:ext uri="{FF2B5EF4-FFF2-40B4-BE49-F238E27FC236}">
                  <a16:creationId xmlns:a16="http://schemas.microsoft.com/office/drawing/2014/main" id="{90ED94F2-0217-4456-B3D1-A374F0C81A7C}"/>
                </a:ext>
              </a:extLst>
            </p:cNvPr>
            <p:cNvSpPr>
              <a:spLocks noChangeAspect="1"/>
            </p:cNvSpPr>
            <p:nvPr/>
          </p:nvSpPr>
          <p:spPr>
            <a:xfrm>
              <a:off x="1370473" y="5524356"/>
              <a:ext cx="419326" cy="419552"/>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07" name="Picture 106">
              <a:extLst>
                <a:ext uri="{FF2B5EF4-FFF2-40B4-BE49-F238E27FC236}">
                  <a16:creationId xmlns:a16="http://schemas.microsoft.com/office/drawing/2014/main" id="{547C35C5-BE5F-4EAD-B674-A7D775CE092B}"/>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1454804" y="5608800"/>
              <a:ext cx="250664" cy="250664"/>
            </a:xfrm>
            <a:prstGeom prst="rect">
              <a:avLst/>
            </a:prstGeom>
            <a:grpFill/>
          </p:spPr>
        </p:pic>
      </p:grpSp>
      <p:grpSp>
        <p:nvGrpSpPr>
          <p:cNvPr id="108" name="Group 107">
            <a:extLst>
              <a:ext uri="{FF2B5EF4-FFF2-40B4-BE49-F238E27FC236}">
                <a16:creationId xmlns:a16="http://schemas.microsoft.com/office/drawing/2014/main" id="{A49F6C17-E6C9-4D92-9510-44A6C6FFE747}"/>
              </a:ext>
            </a:extLst>
          </p:cNvPr>
          <p:cNvGrpSpPr/>
          <p:nvPr userDrawn="1"/>
        </p:nvGrpSpPr>
        <p:grpSpPr>
          <a:xfrm>
            <a:off x="3551476" y="4959177"/>
            <a:ext cx="264874" cy="265018"/>
            <a:chOff x="3551476" y="4959177"/>
            <a:chExt cx="264874" cy="265018"/>
          </a:xfrm>
          <a:solidFill>
            <a:schemeClr val="tx1"/>
          </a:solidFill>
        </p:grpSpPr>
        <p:sp>
          <p:nvSpPr>
            <p:cNvPr id="109" name="Oval 108">
              <a:extLst>
                <a:ext uri="{FF2B5EF4-FFF2-40B4-BE49-F238E27FC236}">
                  <a16:creationId xmlns:a16="http://schemas.microsoft.com/office/drawing/2014/main" id="{2C258160-2D9A-4A91-8B51-97FF5DE29E46}"/>
                </a:ext>
              </a:extLst>
            </p:cNvPr>
            <p:cNvSpPr>
              <a:spLocks noChangeAspect="1"/>
            </p:cNvSpPr>
            <p:nvPr/>
          </p:nvSpPr>
          <p:spPr>
            <a:xfrm>
              <a:off x="3551476" y="4959177"/>
              <a:ext cx="264874" cy="265018"/>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10" name="Picture 109">
              <a:extLst>
                <a:ext uri="{FF2B5EF4-FFF2-40B4-BE49-F238E27FC236}">
                  <a16:creationId xmlns:a16="http://schemas.microsoft.com/office/drawing/2014/main" id="{71F3654B-BC3E-4316-B84B-ADC995F42CA9}"/>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597749" y="5025621"/>
              <a:ext cx="177090" cy="197329"/>
            </a:xfrm>
            <a:prstGeom prst="rect">
              <a:avLst/>
            </a:prstGeom>
            <a:grpFill/>
          </p:spPr>
        </p:pic>
      </p:grpSp>
      <p:grpSp>
        <p:nvGrpSpPr>
          <p:cNvPr id="111" name="Group 110">
            <a:extLst>
              <a:ext uri="{FF2B5EF4-FFF2-40B4-BE49-F238E27FC236}">
                <a16:creationId xmlns:a16="http://schemas.microsoft.com/office/drawing/2014/main" id="{7567E9DE-A172-45DF-9B4A-7D63CDA7B8CC}"/>
              </a:ext>
            </a:extLst>
          </p:cNvPr>
          <p:cNvGrpSpPr/>
          <p:nvPr userDrawn="1"/>
        </p:nvGrpSpPr>
        <p:grpSpPr>
          <a:xfrm>
            <a:off x="8529638" y="5910657"/>
            <a:ext cx="286330" cy="286486"/>
            <a:chOff x="8529638" y="5910657"/>
            <a:chExt cx="286330" cy="286486"/>
          </a:xfrm>
          <a:solidFill>
            <a:schemeClr val="tx1"/>
          </a:solidFill>
        </p:grpSpPr>
        <p:sp>
          <p:nvSpPr>
            <p:cNvPr id="112" name="Oval 111">
              <a:extLst>
                <a:ext uri="{FF2B5EF4-FFF2-40B4-BE49-F238E27FC236}">
                  <a16:creationId xmlns:a16="http://schemas.microsoft.com/office/drawing/2014/main" id="{0F6940D5-2ED4-45AA-A288-FF194BD53CA1}"/>
                </a:ext>
              </a:extLst>
            </p:cNvPr>
            <p:cNvSpPr>
              <a:spLocks noChangeAspect="1"/>
            </p:cNvSpPr>
            <p:nvPr/>
          </p:nvSpPr>
          <p:spPr>
            <a:xfrm>
              <a:off x="8529638" y="5910657"/>
              <a:ext cx="286330" cy="286486"/>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13" name="Picture 112">
              <a:extLst>
                <a:ext uri="{FF2B5EF4-FFF2-40B4-BE49-F238E27FC236}">
                  <a16:creationId xmlns:a16="http://schemas.microsoft.com/office/drawing/2014/main" id="{43367025-2EC3-41EB-A726-C164146C1F12}"/>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617757" y="5966233"/>
              <a:ext cx="110093" cy="175334"/>
            </a:xfrm>
            <a:prstGeom prst="rect">
              <a:avLst/>
            </a:prstGeom>
            <a:grpFill/>
          </p:spPr>
        </p:pic>
      </p:grpSp>
      <p:grpSp>
        <p:nvGrpSpPr>
          <p:cNvPr id="114" name="Group 113">
            <a:extLst>
              <a:ext uri="{FF2B5EF4-FFF2-40B4-BE49-F238E27FC236}">
                <a16:creationId xmlns:a16="http://schemas.microsoft.com/office/drawing/2014/main" id="{5E7252BD-3801-491C-9662-92D5D1FAFFE4}"/>
              </a:ext>
            </a:extLst>
          </p:cNvPr>
          <p:cNvGrpSpPr/>
          <p:nvPr userDrawn="1"/>
        </p:nvGrpSpPr>
        <p:grpSpPr>
          <a:xfrm>
            <a:off x="3025413" y="3951698"/>
            <a:ext cx="274172" cy="274320"/>
            <a:chOff x="3025413" y="3951698"/>
            <a:chExt cx="274172" cy="274320"/>
          </a:xfrm>
          <a:solidFill>
            <a:schemeClr val="tx1"/>
          </a:solidFill>
        </p:grpSpPr>
        <p:sp>
          <p:nvSpPr>
            <p:cNvPr id="115" name="Oval 114">
              <a:extLst>
                <a:ext uri="{FF2B5EF4-FFF2-40B4-BE49-F238E27FC236}">
                  <a16:creationId xmlns:a16="http://schemas.microsoft.com/office/drawing/2014/main" id="{F4CF392C-441E-489D-B4FB-E68685BAB3F7}"/>
                </a:ext>
              </a:extLst>
            </p:cNvPr>
            <p:cNvSpPr>
              <a:spLocks noChangeAspect="1"/>
            </p:cNvSpPr>
            <p:nvPr/>
          </p:nvSpPr>
          <p:spPr>
            <a:xfrm>
              <a:off x="3025413" y="3951698"/>
              <a:ext cx="274172" cy="274320"/>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16" name="Picture 115">
              <a:extLst>
                <a:ext uri="{FF2B5EF4-FFF2-40B4-BE49-F238E27FC236}">
                  <a16:creationId xmlns:a16="http://schemas.microsoft.com/office/drawing/2014/main" id="{88248721-9643-4926-B126-27C912D2F9BC}"/>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087383" y="4039587"/>
              <a:ext cx="150232" cy="127120"/>
            </a:xfrm>
            <a:prstGeom prst="rect">
              <a:avLst/>
            </a:prstGeom>
            <a:grpFill/>
          </p:spPr>
        </p:pic>
      </p:grpSp>
      <p:sp>
        <p:nvSpPr>
          <p:cNvPr id="117" name="Freeform 5">
            <a:extLst>
              <a:ext uri="{FF2B5EF4-FFF2-40B4-BE49-F238E27FC236}">
                <a16:creationId xmlns:a16="http://schemas.microsoft.com/office/drawing/2014/main" id="{9B6A2DE1-85EE-430E-9DAC-04677D87947C}"/>
              </a:ext>
            </a:extLst>
          </p:cNvPr>
          <p:cNvSpPr>
            <a:spLocks noEditPoints="1"/>
          </p:cNvSpPr>
          <p:nvPr userDrawn="1"/>
        </p:nvSpPr>
        <p:spPr bwMode="auto">
          <a:xfrm>
            <a:off x="2175998" y="4093419"/>
            <a:ext cx="79267" cy="88040"/>
          </a:xfrm>
          <a:custGeom>
            <a:avLst/>
            <a:gdLst>
              <a:gd name="T0" fmla="*/ 70 w 104"/>
              <a:gd name="T1" fmla="*/ 67 h 116"/>
              <a:gd name="T2" fmla="*/ 88 w 104"/>
              <a:gd name="T3" fmla="*/ 36 h 116"/>
              <a:gd name="T4" fmla="*/ 52 w 104"/>
              <a:gd name="T5" fmla="*/ 0 h 116"/>
              <a:gd name="T6" fmla="*/ 16 w 104"/>
              <a:gd name="T7" fmla="*/ 36 h 116"/>
              <a:gd name="T8" fmla="*/ 34 w 104"/>
              <a:gd name="T9" fmla="*/ 67 h 116"/>
              <a:gd name="T10" fmla="*/ 0 w 104"/>
              <a:gd name="T11" fmla="*/ 116 h 116"/>
              <a:gd name="T12" fmla="*/ 8 w 104"/>
              <a:gd name="T13" fmla="*/ 116 h 116"/>
              <a:gd name="T14" fmla="*/ 52 w 104"/>
              <a:gd name="T15" fmla="*/ 72 h 116"/>
              <a:gd name="T16" fmla="*/ 96 w 104"/>
              <a:gd name="T17" fmla="*/ 116 h 116"/>
              <a:gd name="T18" fmla="*/ 104 w 104"/>
              <a:gd name="T19" fmla="*/ 116 h 116"/>
              <a:gd name="T20" fmla="*/ 70 w 104"/>
              <a:gd name="T21" fmla="*/ 67 h 116"/>
              <a:gd name="T22" fmla="*/ 24 w 104"/>
              <a:gd name="T23" fmla="*/ 36 h 116"/>
              <a:gd name="T24" fmla="*/ 52 w 104"/>
              <a:gd name="T25" fmla="*/ 8 h 116"/>
              <a:gd name="T26" fmla="*/ 80 w 104"/>
              <a:gd name="T27" fmla="*/ 36 h 116"/>
              <a:gd name="T28" fmla="*/ 52 w 104"/>
              <a:gd name="T29" fmla="*/ 64 h 116"/>
              <a:gd name="T30" fmla="*/ 24 w 104"/>
              <a:gd name="T31" fmla="*/ 3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16">
                <a:moveTo>
                  <a:pt x="70" y="67"/>
                </a:moveTo>
                <a:cubicBezTo>
                  <a:pt x="81" y="61"/>
                  <a:pt x="88" y="49"/>
                  <a:pt x="88" y="36"/>
                </a:cubicBezTo>
                <a:cubicBezTo>
                  <a:pt x="88" y="16"/>
                  <a:pt x="72" y="0"/>
                  <a:pt x="52" y="0"/>
                </a:cubicBezTo>
                <a:cubicBezTo>
                  <a:pt x="32" y="0"/>
                  <a:pt x="16" y="16"/>
                  <a:pt x="16" y="36"/>
                </a:cubicBezTo>
                <a:cubicBezTo>
                  <a:pt x="16" y="49"/>
                  <a:pt x="23" y="61"/>
                  <a:pt x="34" y="67"/>
                </a:cubicBezTo>
                <a:cubicBezTo>
                  <a:pt x="14" y="75"/>
                  <a:pt x="0" y="94"/>
                  <a:pt x="0" y="116"/>
                </a:cubicBezTo>
                <a:cubicBezTo>
                  <a:pt x="8" y="116"/>
                  <a:pt x="8" y="116"/>
                  <a:pt x="8" y="116"/>
                </a:cubicBezTo>
                <a:cubicBezTo>
                  <a:pt x="8" y="92"/>
                  <a:pt x="28" y="72"/>
                  <a:pt x="52" y="72"/>
                </a:cubicBezTo>
                <a:cubicBezTo>
                  <a:pt x="76" y="72"/>
                  <a:pt x="96" y="92"/>
                  <a:pt x="96" y="116"/>
                </a:cubicBezTo>
                <a:cubicBezTo>
                  <a:pt x="104" y="116"/>
                  <a:pt x="104" y="116"/>
                  <a:pt x="104" y="116"/>
                </a:cubicBezTo>
                <a:cubicBezTo>
                  <a:pt x="104" y="94"/>
                  <a:pt x="90" y="75"/>
                  <a:pt x="70" y="67"/>
                </a:cubicBezTo>
                <a:close/>
                <a:moveTo>
                  <a:pt x="24" y="36"/>
                </a:moveTo>
                <a:cubicBezTo>
                  <a:pt x="24" y="21"/>
                  <a:pt x="37" y="8"/>
                  <a:pt x="52" y="8"/>
                </a:cubicBezTo>
                <a:cubicBezTo>
                  <a:pt x="67" y="8"/>
                  <a:pt x="80" y="21"/>
                  <a:pt x="80" y="36"/>
                </a:cubicBezTo>
                <a:cubicBezTo>
                  <a:pt x="80" y="51"/>
                  <a:pt x="67" y="64"/>
                  <a:pt x="52" y="64"/>
                </a:cubicBezTo>
                <a:cubicBezTo>
                  <a:pt x="37" y="64"/>
                  <a:pt x="24" y="51"/>
                  <a:pt x="24" y="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Calibri"/>
              <a:ea typeface="+mn-ea"/>
              <a:cs typeface="+mn-cs"/>
            </a:endParaRPr>
          </a:p>
        </p:txBody>
      </p:sp>
      <p:sp>
        <p:nvSpPr>
          <p:cNvPr id="118" name="Arc 117">
            <a:extLst>
              <a:ext uri="{FF2B5EF4-FFF2-40B4-BE49-F238E27FC236}">
                <a16:creationId xmlns:a16="http://schemas.microsoft.com/office/drawing/2014/main" id="{2422EE41-CAE7-4AE5-BC35-5A0EB980DA9A}"/>
              </a:ext>
            </a:extLst>
          </p:cNvPr>
          <p:cNvSpPr/>
          <p:nvPr userDrawn="1"/>
        </p:nvSpPr>
        <p:spPr>
          <a:xfrm flipH="1">
            <a:off x="-258330" y="2222360"/>
            <a:ext cx="3452653" cy="4448383"/>
          </a:xfrm>
          <a:prstGeom prst="arc">
            <a:avLst>
              <a:gd name="adj1" fmla="val 11879355"/>
              <a:gd name="adj2" fmla="val 1827695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 name="Rectangle 7"/>
          <p:cNvSpPr/>
          <p:nvPr userDrawn="1"/>
        </p:nvSpPr>
        <p:spPr bwMode="auto">
          <a:xfrm>
            <a:off x="0" y="-1"/>
            <a:ext cx="12192000" cy="1118249"/>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2" name="Forme libre 9"/>
          <p:cNvSpPr>
            <a:spLocks/>
          </p:cNvSpPr>
          <p:nvPr userDrawn="1"/>
        </p:nvSpPr>
        <p:spPr bwMode="auto">
          <a:xfrm>
            <a:off x="-22578" y="1118250"/>
            <a:ext cx="5735785"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accent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chemeClr val="bg1"/>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a:p>
        </p:txBody>
      </p:sp>
      <p:pic>
        <p:nvPicPr>
          <p:cNvPr id="14" name="Image 13" descr="VE_RGB_C.png"/>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0030885" y="6160569"/>
            <a:ext cx="1715193" cy="442737"/>
          </a:xfrm>
          <a:prstGeom prst="rect">
            <a:avLst/>
          </a:prstGeom>
        </p:spPr>
      </p:pic>
      <p:pic>
        <p:nvPicPr>
          <p:cNvPr id="10" name="Image 9" descr="Log_AXIANS_CRVB.jpg"/>
          <p:cNvPicPr>
            <a:picLocks noChangeAspect="1"/>
          </p:cNvPicPr>
          <p:nvPr userDrawn="1"/>
        </p:nvPicPr>
        <p:blipFill>
          <a:blip r:embed="rId12">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36446686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249"/>
                                          </p:stCondLst>
                                        </p:cTn>
                                        <p:tgtEl>
                                          <p:spTgt spid="105"/>
                                        </p:tgtEl>
                                        <p:attrNameLst>
                                          <p:attrName>style.visibility</p:attrName>
                                        </p:attrNameLst>
                                      </p:cBhvr>
                                      <p:to>
                                        <p:strVal val="visible"/>
                                      </p:to>
                                    </p:set>
                                  </p:childTnLst>
                                </p:cTn>
                              </p:par>
                              <p:par>
                                <p:cTn id="7" presetID="6" presetClass="emph" presetSubtype="0" accel="100000" autoRev="1" fill="hold" nodeType="withEffect">
                                  <p:stCondLst>
                                    <p:cond delay="0"/>
                                  </p:stCondLst>
                                  <p:childTnLst>
                                    <p:animScale>
                                      <p:cBhvr>
                                        <p:cTn id="8" dur="250" fill="hold"/>
                                        <p:tgtEl>
                                          <p:spTgt spid="105"/>
                                        </p:tgtEl>
                                      </p:cBhvr>
                                      <p:by x="0" y="0"/>
                                    </p:animScale>
                                  </p:childTnLst>
                                </p:cTn>
                              </p:par>
                              <p:par>
                                <p:cTn id="9" presetID="1" presetClass="entr" presetSubtype="0" fill="hold" grpId="0" nodeType="withEffect">
                                  <p:stCondLst>
                                    <p:cond delay="0"/>
                                  </p:stCondLst>
                                  <p:childTnLst>
                                    <p:set>
                                      <p:cBhvr>
                                        <p:cTn id="10" dur="1" fill="hold">
                                          <p:stCondLst>
                                            <p:cond delay="249"/>
                                          </p:stCondLst>
                                        </p:cTn>
                                        <p:tgtEl>
                                          <p:spTgt spid="90"/>
                                        </p:tgtEl>
                                        <p:attrNameLst>
                                          <p:attrName>style.visibility</p:attrName>
                                        </p:attrNameLst>
                                      </p:cBhvr>
                                      <p:to>
                                        <p:strVal val="visible"/>
                                      </p:to>
                                    </p:set>
                                  </p:childTnLst>
                                </p:cTn>
                              </p:par>
                              <p:par>
                                <p:cTn id="11" presetID="6" presetClass="emph" presetSubtype="0" accel="100000" autoRev="1" fill="hold" grpId="1" nodeType="withEffect">
                                  <p:stCondLst>
                                    <p:cond delay="0"/>
                                  </p:stCondLst>
                                  <p:childTnLst>
                                    <p:animScale>
                                      <p:cBhvr>
                                        <p:cTn id="12" dur="250" fill="hold"/>
                                        <p:tgtEl>
                                          <p:spTgt spid="90"/>
                                        </p:tgtEl>
                                      </p:cBhvr>
                                      <p:by x="0" y="0"/>
                                    </p:animScale>
                                  </p:childTnLst>
                                </p:cTn>
                              </p:par>
                              <p:par>
                                <p:cTn id="13" presetID="1" presetClass="entr" presetSubtype="0" fill="hold" grpId="0" nodeType="withEffect">
                                  <p:stCondLst>
                                    <p:cond delay="0"/>
                                  </p:stCondLst>
                                  <p:childTnLst>
                                    <p:set>
                                      <p:cBhvr>
                                        <p:cTn id="14" dur="1" fill="hold">
                                          <p:stCondLst>
                                            <p:cond delay="249"/>
                                          </p:stCondLst>
                                        </p:cTn>
                                        <p:tgtEl>
                                          <p:spTgt spid="117"/>
                                        </p:tgtEl>
                                        <p:attrNameLst>
                                          <p:attrName>style.visibility</p:attrName>
                                        </p:attrNameLst>
                                      </p:cBhvr>
                                      <p:to>
                                        <p:strVal val="visible"/>
                                      </p:to>
                                    </p:set>
                                  </p:childTnLst>
                                </p:cTn>
                              </p:par>
                              <p:par>
                                <p:cTn id="15" presetID="6" presetClass="emph" presetSubtype="0" accel="100000" autoRev="1" fill="hold" grpId="1" nodeType="withEffect">
                                  <p:stCondLst>
                                    <p:cond delay="0"/>
                                  </p:stCondLst>
                                  <p:childTnLst>
                                    <p:animScale>
                                      <p:cBhvr>
                                        <p:cTn id="16" dur="250" fill="hold"/>
                                        <p:tgtEl>
                                          <p:spTgt spid="117"/>
                                        </p:tgtEl>
                                      </p:cBhvr>
                                      <p:by x="0" y="0"/>
                                    </p:animScale>
                                  </p:childTnLst>
                                </p:cTn>
                              </p:par>
                              <p:par>
                                <p:cTn id="17" presetID="1" presetClass="entr" presetSubtype="0" fill="hold" nodeType="withEffect">
                                  <p:stCondLst>
                                    <p:cond delay="200"/>
                                  </p:stCondLst>
                                  <p:childTnLst>
                                    <p:set>
                                      <p:cBhvr>
                                        <p:cTn id="18" dur="1" fill="hold">
                                          <p:stCondLst>
                                            <p:cond delay="249"/>
                                          </p:stCondLst>
                                        </p:cTn>
                                        <p:tgtEl>
                                          <p:spTgt spid="114"/>
                                        </p:tgtEl>
                                        <p:attrNameLst>
                                          <p:attrName>style.visibility</p:attrName>
                                        </p:attrNameLst>
                                      </p:cBhvr>
                                      <p:to>
                                        <p:strVal val="visible"/>
                                      </p:to>
                                    </p:set>
                                  </p:childTnLst>
                                </p:cTn>
                              </p:par>
                              <p:par>
                                <p:cTn id="19" presetID="6" presetClass="emph" presetSubtype="0" accel="100000" autoRev="1" fill="hold" nodeType="withEffect">
                                  <p:stCondLst>
                                    <p:cond delay="200"/>
                                  </p:stCondLst>
                                  <p:childTnLst>
                                    <p:animScale>
                                      <p:cBhvr>
                                        <p:cTn id="20" dur="250" fill="hold"/>
                                        <p:tgtEl>
                                          <p:spTgt spid="114"/>
                                        </p:tgtEl>
                                      </p:cBhvr>
                                      <p:by x="0" y="0"/>
                                    </p:animScale>
                                  </p:childTnLst>
                                </p:cTn>
                              </p:par>
                              <p:par>
                                <p:cTn id="21" presetID="1" presetClass="entr" presetSubtype="0" fill="hold" nodeType="withEffect">
                                  <p:stCondLst>
                                    <p:cond delay="300"/>
                                  </p:stCondLst>
                                  <p:childTnLst>
                                    <p:set>
                                      <p:cBhvr>
                                        <p:cTn id="22" dur="1" fill="hold">
                                          <p:stCondLst>
                                            <p:cond delay="249"/>
                                          </p:stCondLst>
                                        </p:cTn>
                                        <p:tgtEl>
                                          <p:spTgt spid="108"/>
                                        </p:tgtEl>
                                        <p:attrNameLst>
                                          <p:attrName>style.visibility</p:attrName>
                                        </p:attrNameLst>
                                      </p:cBhvr>
                                      <p:to>
                                        <p:strVal val="visible"/>
                                      </p:to>
                                    </p:set>
                                  </p:childTnLst>
                                </p:cTn>
                              </p:par>
                              <p:par>
                                <p:cTn id="23" presetID="6" presetClass="emph" presetSubtype="0" accel="100000" autoRev="1" fill="hold" nodeType="withEffect">
                                  <p:stCondLst>
                                    <p:cond delay="300"/>
                                  </p:stCondLst>
                                  <p:childTnLst>
                                    <p:animScale>
                                      <p:cBhvr>
                                        <p:cTn id="24" dur="250" fill="hold"/>
                                        <p:tgtEl>
                                          <p:spTgt spid="108"/>
                                        </p:tgtEl>
                                      </p:cBhvr>
                                      <p:by x="0" y="0"/>
                                    </p:animScale>
                                  </p:childTnLst>
                                </p:cTn>
                              </p:par>
                              <p:par>
                                <p:cTn id="25" presetID="1" presetClass="entr" presetSubtype="0" fill="hold" nodeType="withEffect">
                                  <p:stCondLst>
                                    <p:cond delay="400"/>
                                  </p:stCondLst>
                                  <p:childTnLst>
                                    <p:set>
                                      <p:cBhvr>
                                        <p:cTn id="26" dur="1" fill="hold">
                                          <p:stCondLst>
                                            <p:cond delay="249"/>
                                          </p:stCondLst>
                                        </p:cTn>
                                        <p:tgtEl>
                                          <p:spTgt spid="99"/>
                                        </p:tgtEl>
                                        <p:attrNameLst>
                                          <p:attrName>style.visibility</p:attrName>
                                        </p:attrNameLst>
                                      </p:cBhvr>
                                      <p:to>
                                        <p:strVal val="visible"/>
                                      </p:to>
                                    </p:set>
                                  </p:childTnLst>
                                </p:cTn>
                              </p:par>
                              <p:par>
                                <p:cTn id="27" presetID="6" presetClass="emph" presetSubtype="0" accel="100000" autoRev="1" fill="hold" nodeType="withEffect">
                                  <p:stCondLst>
                                    <p:cond delay="400"/>
                                  </p:stCondLst>
                                  <p:childTnLst>
                                    <p:animScale>
                                      <p:cBhvr>
                                        <p:cTn id="28" dur="250" fill="hold"/>
                                        <p:tgtEl>
                                          <p:spTgt spid="99"/>
                                        </p:tgtEl>
                                      </p:cBhvr>
                                      <p:by x="0" y="0"/>
                                    </p:animScale>
                                  </p:childTnLst>
                                </p:cTn>
                              </p:par>
                              <p:par>
                                <p:cTn id="29" presetID="1" presetClass="entr" presetSubtype="0" fill="hold" grpId="0" nodeType="withEffect">
                                  <p:stCondLst>
                                    <p:cond delay="500"/>
                                  </p:stCondLst>
                                  <p:childTnLst>
                                    <p:set>
                                      <p:cBhvr>
                                        <p:cTn id="30" dur="1" fill="hold">
                                          <p:stCondLst>
                                            <p:cond delay="249"/>
                                          </p:stCondLst>
                                        </p:cTn>
                                        <p:tgtEl>
                                          <p:spTgt spid="85"/>
                                        </p:tgtEl>
                                        <p:attrNameLst>
                                          <p:attrName>style.visibility</p:attrName>
                                        </p:attrNameLst>
                                      </p:cBhvr>
                                      <p:to>
                                        <p:strVal val="visible"/>
                                      </p:to>
                                    </p:set>
                                  </p:childTnLst>
                                </p:cTn>
                              </p:par>
                              <p:par>
                                <p:cTn id="31" presetID="6" presetClass="emph" presetSubtype="0" accel="100000" autoRev="1" fill="hold" grpId="1" nodeType="withEffect">
                                  <p:stCondLst>
                                    <p:cond delay="500"/>
                                  </p:stCondLst>
                                  <p:childTnLst>
                                    <p:animScale>
                                      <p:cBhvr>
                                        <p:cTn id="32" dur="250" fill="hold"/>
                                        <p:tgtEl>
                                          <p:spTgt spid="85"/>
                                        </p:tgtEl>
                                      </p:cBhvr>
                                      <p:by x="0" y="0"/>
                                    </p:animScale>
                                  </p:childTnLst>
                                </p:cTn>
                              </p:par>
                              <p:par>
                                <p:cTn id="33" presetID="1" presetClass="entr" presetSubtype="0" fill="hold" grpId="0" nodeType="withEffect">
                                  <p:stCondLst>
                                    <p:cond delay="600"/>
                                  </p:stCondLst>
                                  <p:childTnLst>
                                    <p:set>
                                      <p:cBhvr>
                                        <p:cTn id="34" dur="1" fill="hold">
                                          <p:stCondLst>
                                            <p:cond delay="249"/>
                                          </p:stCondLst>
                                        </p:cTn>
                                        <p:tgtEl>
                                          <p:spTgt spid="87"/>
                                        </p:tgtEl>
                                        <p:attrNameLst>
                                          <p:attrName>style.visibility</p:attrName>
                                        </p:attrNameLst>
                                      </p:cBhvr>
                                      <p:to>
                                        <p:strVal val="visible"/>
                                      </p:to>
                                    </p:set>
                                  </p:childTnLst>
                                </p:cTn>
                              </p:par>
                              <p:par>
                                <p:cTn id="35" presetID="6" presetClass="emph" presetSubtype="0" accel="100000" autoRev="1" fill="hold" grpId="1" nodeType="withEffect">
                                  <p:stCondLst>
                                    <p:cond delay="600"/>
                                  </p:stCondLst>
                                  <p:childTnLst>
                                    <p:animScale>
                                      <p:cBhvr>
                                        <p:cTn id="36" dur="250" fill="hold"/>
                                        <p:tgtEl>
                                          <p:spTgt spid="87"/>
                                        </p:tgtEl>
                                      </p:cBhvr>
                                      <p:by x="0" y="0"/>
                                    </p:animScale>
                                  </p:childTnLst>
                                </p:cTn>
                              </p:par>
                              <p:par>
                                <p:cTn id="37" presetID="1" presetClass="entr" presetSubtype="0" fill="hold" nodeType="withEffect">
                                  <p:stCondLst>
                                    <p:cond delay="700"/>
                                  </p:stCondLst>
                                  <p:childTnLst>
                                    <p:set>
                                      <p:cBhvr>
                                        <p:cTn id="38" dur="1" fill="hold">
                                          <p:stCondLst>
                                            <p:cond delay="249"/>
                                          </p:stCondLst>
                                        </p:cTn>
                                        <p:tgtEl>
                                          <p:spTgt spid="93"/>
                                        </p:tgtEl>
                                        <p:attrNameLst>
                                          <p:attrName>style.visibility</p:attrName>
                                        </p:attrNameLst>
                                      </p:cBhvr>
                                      <p:to>
                                        <p:strVal val="visible"/>
                                      </p:to>
                                    </p:set>
                                  </p:childTnLst>
                                </p:cTn>
                              </p:par>
                              <p:par>
                                <p:cTn id="39" presetID="6" presetClass="emph" presetSubtype="0" accel="100000" autoRev="1" fill="hold" nodeType="withEffect">
                                  <p:stCondLst>
                                    <p:cond delay="700"/>
                                  </p:stCondLst>
                                  <p:childTnLst>
                                    <p:animScale>
                                      <p:cBhvr>
                                        <p:cTn id="40" dur="250" fill="hold"/>
                                        <p:tgtEl>
                                          <p:spTgt spid="93"/>
                                        </p:tgtEl>
                                      </p:cBhvr>
                                      <p:by x="0" y="0"/>
                                    </p:animScale>
                                  </p:childTnLst>
                                </p:cTn>
                              </p:par>
                              <p:par>
                                <p:cTn id="41" presetID="1" presetClass="entr" presetSubtype="0" fill="hold" grpId="0" nodeType="withEffect">
                                  <p:stCondLst>
                                    <p:cond delay="800"/>
                                  </p:stCondLst>
                                  <p:childTnLst>
                                    <p:set>
                                      <p:cBhvr>
                                        <p:cTn id="42" dur="1" fill="hold">
                                          <p:stCondLst>
                                            <p:cond delay="249"/>
                                          </p:stCondLst>
                                        </p:cTn>
                                        <p:tgtEl>
                                          <p:spTgt spid="86"/>
                                        </p:tgtEl>
                                        <p:attrNameLst>
                                          <p:attrName>style.visibility</p:attrName>
                                        </p:attrNameLst>
                                      </p:cBhvr>
                                      <p:to>
                                        <p:strVal val="visible"/>
                                      </p:to>
                                    </p:set>
                                  </p:childTnLst>
                                </p:cTn>
                              </p:par>
                              <p:par>
                                <p:cTn id="43" presetID="6" presetClass="emph" presetSubtype="0" accel="100000" autoRev="1" fill="hold" grpId="1" nodeType="withEffect">
                                  <p:stCondLst>
                                    <p:cond delay="800"/>
                                  </p:stCondLst>
                                  <p:childTnLst>
                                    <p:animScale>
                                      <p:cBhvr>
                                        <p:cTn id="44" dur="250" fill="hold"/>
                                        <p:tgtEl>
                                          <p:spTgt spid="86"/>
                                        </p:tgtEl>
                                      </p:cBhvr>
                                      <p:by x="0" y="0"/>
                                    </p:animScale>
                                  </p:childTnLst>
                                </p:cTn>
                              </p:par>
                              <p:par>
                                <p:cTn id="45" presetID="1" presetClass="entr" presetSubtype="0" fill="hold" nodeType="withEffect">
                                  <p:stCondLst>
                                    <p:cond delay="900"/>
                                  </p:stCondLst>
                                  <p:childTnLst>
                                    <p:set>
                                      <p:cBhvr>
                                        <p:cTn id="46" dur="1" fill="hold">
                                          <p:stCondLst>
                                            <p:cond delay="249"/>
                                          </p:stCondLst>
                                        </p:cTn>
                                        <p:tgtEl>
                                          <p:spTgt spid="111"/>
                                        </p:tgtEl>
                                        <p:attrNameLst>
                                          <p:attrName>style.visibility</p:attrName>
                                        </p:attrNameLst>
                                      </p:cBhvr>
                                      <p:to>
                                        <p:strVal val="visible"/>
                                      </p:to>
                                    </p:set>
                                  </p:childTnLst>
                                </p:cTn>
                              </p:par>
                              <p:par>
                                <p:cTn id="47" presetID="6" presetClass="emph" presetSubtype="0" accel="100000" autoRev="1" fill="hold" nodeType="withEffect">
                                  <p:stCondLst>
                                    <p:cond delay="900"/>
                                  </p:stCondLst>
                                  <p:childTnLst>
                                    <p:animScale>
                                      <p:cBhvr>
                                        <p:cTn id="48" dur="250" fill="hold"/>
                                        <p:tgtEl>
                                          <p:spTgt spid="111"/>
                                        </p:tgtEl>
                                      </p:cBhvr>
                                      <p:by x="0" y="0"/>
                                    </p:animScale>
                                  </p:childTnLst>
                                </p:cTn>
                              </p:par>
                              <p:par>
                                <p:cTn id="49" presetID="1" presetClass="entr" presetSubtype="0" fill="hold" grpId="0" nodeType="withEffect">
                                  <p:stCondLst>
                                    <p:cond delay="1000"/>
                                  </p:stCondLst>
                                  <p:childTnLst>
                                    <p:set>
                                      <p:cBhvr>
                                        <p:cTn id="50" dur="1" fill="hold">
                                          <p:stCondLst>
                                            <p:cond delay="249"/>
                                          </p:stCondLst>
                                        </p:cTn>
                                        <p:tgtEl>
                                          <p:spTgt spid="91"/>
                                        </p:tgtEl>
                                        <p:attrNameLst>
                                          <p:attrName>style.visibility</p:attrName>
                                        </p:attrNameLst>
                                      </p:cBhvr>
                                      <p:to>
                                        <p:strVal val="visible"/>
                                      </p:to>
                                    </p:set>
                                  </p:childTnLst>
                                </p:cTn>
                              </p:par>
                              <p:par>
                                <p:cTn id="51" presetID="6" presetClass="emph" presetSubtype="0" accel="100000" autoRev="1" fill="hold" grpId="1" nodeType="withEffect">
                                  <p:stCondLst>
                                    <p:cond delay="1000"/>
                                  </p:stCondLst>
                                  <p:childTnLst>
                                    <p:animScale>
                                      <p:cBhvr>
                                        <p:cTn id="52" dur="250" fill="hold"/>
                                        <p:tgtEl>
                                          <p:spTgt spid="91"/>
                                        </p:tgtEl>
                                      </p:cBhvr>
                                      <p:by x="0" y="0"/>
                                    </p:animScale>
                                  </p:childTnLst>
                                </p:cTn>
                              </p:par>
                              <p:par>
                                <p:cTn id="53" presetID="1" presetClass="entr" presetSubtype="0" fill="hold" nodeType="withEffect">
                                  <p:stCondLst>
                                    <p:cond delay="1100"/>
                                  </p:stCondLst>
                                  <p:childTnLst>
                                    <p:set>
                                      <p:cBhvr>
                                        <p:cTn id="54" dur="1" fill="hold">
                                          <p:stCondLst>
                                            <p:cond delay="249"/>
                                          </p:stCondLst>
                                        </p:cTn>
                                        <p:tgtEl>
                                          <p:spTgt spid="102"/>
                                        </p:tgtEl>
                                        <p:attrNameLst>
                                          <p:attrName>style.visibility</p:attrName>
                                        </p:attrNameLst>
                                      </p:cBhvr>
                                      <p:to>
                                        <p:strVal val="visible"/>
                                      </p:to>
                                    </p:set>
                                  </p:childTnLst>
                                </p:cTn>
                              </p:par>
                              <p:par>
                                <p:cTn id="55" presetID="6" presetClass="emph" presetSubtype="0" accel="100000" autoRev="1" fill="hold" nodeType="withEffect">
                                  <p:stCondLst>
                                    <p:cond delay="1100"/>
                                  </p:stCondLst>
                                  <p:childTnLst>
                                    <p:animScale>
                                      <p:cBhvr>
                                        <p:cTn id="56" dur="250" fill="hold"/>
                                        <p:tgtEl>
                                          <p:spTgt spid="102"/>
                                        </p:tgtEl>
                                      </p:cBhvr>
                                      <p:by x="0" y="0"/>
                                    </p:animScale>
                                  </p:childTnLst>
                                </p:cTn>
                              </p:par>
                              <p:par>
                                <p:cTn id="57" presetID="1" presetClass="entr" presetSubtype="0" fill="hold" nodeType="withEffect">
                                  <p:stCondLst>
                                    <p:cond delay="1200"/>
                                  </p:stCondLst>
                                  <p:childTnLst>
                                    <p:set>
                                      <p:cBhvr>
                                        <p:cTn id="58" dur="1" fill="hold">
                                          <p:stCondLst>
                                            <p:cond delay="249"/>
                                          </p:stCondLst>
                                        </p:cTn>
                                        <p:tgtEl>
                                          <p:spTgt spid="96"/>
                                        </p:tgtEl>
                                        <p:attrNameLst>
                                          <p:attrName>style.visibility</p:attrName>
                                        </p:attrNameLst>
                                      </p:cBhvr>
                                      <p:to>
                                        <p:strVal val="visible"/>
                                      </p:to>
                                    </p:set>
                                  </p:childTnLst>
                                </p:cTn>
                              </p:par>
                              <p:par>
                                <p:cTn id="59" presetID="6" presetClass="emph" presetSubtype="0" accel="100000" autoRev="1" fill="hold" nodeType="withEffect">
                                  <p:stCondLst>
                                    <p:cond delay="1200"/>
                                  </p:stCondLst>
                                  <p:childTnLst>
                                    <p:animScale>
                                      <p:cBhvr>
                                        <p:cTn id="60" dur="250" fill="hold"/>
                                        <p:tgtEl>
                                          <p:spTgt spid="96"/>
                                        </p:tgtEl>
                                      </p:cBhvr>
                                      <p:by x="0" y="0"/>
                                    </p:animScale>
                                  </p:childTnLst>
                                </p:cTn>
                              </p:par>
                              <p:par>
                                <p:cTn id="61" presetID="1" presetClass="entr" presetSubtype="0" fill="hold" grpId="0" nodeType="withEffect">
                                  <p:stCondLst>
                                    <p:cond delay="1300"/>
                                  </p:stCondLst>
                                  <p:childTnLst>
                                    <p:set>
                                      <p:cBhvr>
                                        <p:cTn id="62" dur="1" fill="hold">
                                          <p:stCondLst>
                                            <p:cond delay="249"/>
                                          </p:stCondLst>
                                        </p:cTn>
                                        <p:tgtEl>
                                          <p:spTgt spid="89"/>
                                        </p:tgtEl>
                                        <p:attrNameLst>
                                          <p:attrName>style.visibility</p:attrName>
                                        </p:attrNameLst>
                                      </p:cBhvr>
                                      <p:to>
                                        <p:strVal val="visible"/>
                                      </p:to>
                                    </p:set>
                                  </p:childTnLst>
                                </p:cTn>
                              </p:par>
                              <p:par>
                                <p:cTn id="63" presetID="6" presetClass="emph" presetSubtype="0" accel="100000" autoRev="1" fill="hold" grpId="1" nodeType="withEffect">
                                  <p:stCondLst>
                                    <p:cond delay="1300"/>
                                  </p:stCondLst>
                                  <p:childTnLst>
                                    <p:animScale>
                                      <p:cBhvr>
                                        <p:cTn id="64" dur="250" fill="hold"/>
                                        <p:tgtEl>
                                          <p:spTgt spid="89"/>
                                        </p:tgtEl>
                                      </p:cBhvr>
                                      <p:by x="0" y="0"/>
                                    </p:animScale>
                                  </p:childTnLst>
                                </p:cTn>
                              </p:par>
                              <p:par>
                                <p:cTn id="65" presetID="1" presetClass="entr" presetSubtype="0" fill="hold" grpId="0" nodeType="withEffect">
                                  <p:stCondLst>
                                    <p:cond delay="1400"/>
                                  </p:stCondLst>
                                  <p:childTnLst>
                                    <p:set>
                                      <p:cBhvr>
                                        <p:cTn id="66" dur="1" fill="hold">
                                          <p:stCondLst>
                                            <p:cond delay="249"/>
                                          </p:stCondLst>
                                        </p:cTn>
                                        <p:tgtEl>
                                          <p:spTgt spid="88"/>
                                        </p:tgtEl>
                                        <p:attrNameLst>
                                          <p:attrName>style.visibility</p:attrName>
                                        </p:attrNameLst>
                                      </p:cBhvr>
                                      <p:to>
                                        <p:strVal val="visible"/>
                                      </p:to>
                                    </p:set>
                                  </p:childTnLst>
                                </p:cTn>
                              </p:par>
                              <p:par>
                                <p:cTn id="67" presetID="6" presetClass="emph" presetSubtype="0" accel="100000" autoRev="1" fill="hold" grpId="1" nodeType="withEffect">
                                  <p:stCondLst>
                                    <p:cond delay="1400"/>
                                  </p:stCondLst>
                                  <p:childTnLst>
                                    <p:animScale>
                                      <p:cBhvr>
                                        <p:cTn id="68" dur="250" fill="hold"/>
                                        <p:tgtEl>
                                          <p:spTgt spid="88"/>
                                        </p:tgtEl>
                                      </p:cBhvr>
                                      <p:by x="0" y="0"/>
                                    </p:animScale>
                                  </p:childTnLst>
                                </p:cTn>
                              </p:par>
                            </p:childTnLst>
                          </p:cTn>
                        </p:par>
                        <p:par>
                          <p:cTn id="69" fill="hold">
                            <p:stCondLst>
                              <p:cond delay="1900"/>
                            </p:stCondLst>
                            <p:childTnLst>
                              <p:par>
                                <p:cTn id="70" presetID="22" presetClass="entr" presetSubtype="8" fill="hold" grpId="0" nodeType="afterEffect">
                                  <p:stCondLst>
                                    <p:cond delay="0"/>
                                  </p:stCondLst>
                                  <p:childTnLst>
                                    <p:set>
                                      <p:cBhvr>
                                        <p:cTn id="71" dur="1" fill="hold">
                                          <p:stCondLst>
                                            <p:cond delay="0"/>
                                          </p:stCondLst>
                                        </p:cTn>
                                        <p:tgtEl>
                                          <p:spTgt spid="73"/>
                                        </p:tgtEl>
                                        <p:attrNameLst>
                                          <p:attrName>style.visibility</p:attrName>
                                        </p:attrNameLst>
                                      </p:cBhvr>
                                      <p:to>
                                        <p:strVal val="visible"/>
                                      </p:to>
                                    </p:set>
                                    <p:animEffect transition="in" filter="wipe(left)">
                                      <p:cBhvr>
                                        <p:cTn id="72" dur="1400"/>
                                        <p:tgtEl>
                                          <p:spTgt spid="73"/>
                                        </p:tgtEl>
                                      </p:cBhvr>
                                    </p:animEffect>
                                  </p:childTnLst>
                                </p:cTn>
                              </p:par>
                              <p:par>
                                <p:cTn id="73" presetID="22" presetClass="entr" presetSubtype="8" fill="hold" grpId="0" nodeType="withEffect">
                                  <p:stCondLst>
                                    <p:cond delay="750"/>
                                  </p:stCondLst>
                                  <p:childTnLst>
                                    <p:set>
                                      <p:cBhvr>
                                        <p:cTn id="74" dur="1" fill="hold">
                                          <p:stCondLst>
                                            <p:cond delay="0"/>
                                          </p:stCondLst>
                                        </p:cTn>
                                        <p:tgtEl>
                                          <p:spTgt spid="66"/>
                                        </p:tgtEl>
                                        <p:attrNameLst>
                                          <p:attrName>style.visibility</p:attrName>
                                        </p:attrNameLst>
                                      </p:cBhvr>
                                      <p:to>
                                        <p:strVal val="visible"/>
                                      </p:to>
                                    </p:set>
                                    <p:animEffect transition="in" filter="wipe(left)">
                                      <p:cBhvr>
                                        <p:cTn id="75" dur="1400"/>
                                        <p:tgtEl>
                                          <p:spTgt spid="66"/>
                                        </p:tgtEl>
                                      </p:cBhvr>
                                    </p:animEffect>
                                  </p:childTnLst>
                                </p:cTn>
                              </p:par>
                              <p:par>
                                <p:cTn id="76" presetID="22" presetClass="entr" presetSubtype="2" fill="hold" grpId="0" nodeType="withEffect">
                                  <p:stCondLst>
                                    <p:cond delay="1500"/>
                                  </p:stCondLst>
                                  <p:childTnLst>
                                    <p:set>
                                      <p:cBhvr>
                                        <p:cTn id="77" dur="1" fill="hold">
                                          <p:stCondLst>
                                            <p:cond delay="0"/>
                                          </p:stCondLst>
                                        </p:cTn>
                                        <p:tgtEl>
                                          <p:spTgt spid="67"/>
                                        </p:tgtEl>
                                        <p:attrNameLst>
                                          <p:attrName>style.visibility</p:attrName>
                                        </p:attrNameLst>
                                      </p:cBhvr>
                                      <p:to>
                                        <p:strVal val="visible"/>
                                      </p:to>
                                    </p:set>
                                    <p:animEffect transition="in" filter="wipe(right)">
                                      <p:cBhvr>
                                        <p:cTn id="78" dur="1400"/>
                                        <p:tgtEl>
                                          <p:spTgt spid="67"/>
                                        </p:tgtEl>
                                      </p:cBhvr>
                                    </p:animEffect>
                                  </p:childTnLst>
                                </p:cTn>
                              </p:par>
                              <p:par>
                                <p:cTn id="79" presetID="22" presetClass="entr" presetSubtype="8" fill="hold" grpId="0" nodeType="withEffect">
                                  <p:stCondLst>
                                    <p:cond delay="2500"/>
                                  </p:stCondLst>
                                  <p:childTnLst>
                                    <p:set>
                                      <p:cBhvr>
                                        <p:cTn id="80" dur="1" fill="hold">
                                          <p:stCondLst>
                                            <p:cond delay="0"/>
                                          </p:stCondLst>
                                        </p:cTn>
                                        <p:tgtEl>
                                          <p:spTgt spid="70"/>
                                        </p:tgtEl>
                                        <p:attrNameLst>
                                          <p:attrName>style.visibility</p:attrName>
                                        </p:attrNameLst>
                                      </p:cBhvr>
                                      <p:to>
                                        <p:strVal val="visible"/>
                                      </p:to>
                                    </p:set>
                                    <p:animEffect transition="in" filter="wipe(left)">
                                      <p:cBhvr>
                                        <p:cTn id="81" dur="1400"/>
                                        <p:tgtEl>
                                          <p:spTgt spid="70"/>
                                        </p:tgtEl>
                                      </p:cBhvr>
                                    </p:animEffect>
                                  </p:childTnLst>
                                </p:cTn>
                              </p:par>
                              <p:par>
                                <p:cTn id="82" presetID="22" presetClass="entr" presetSubtype="8" fill="hold" grpId="0" nodeType="withEffect">
                                  <p:stCondLst>
                                    <p:cond delay="3000"/>
                                  </p:stCondLst>
                                  <p:childTnLst>
                                    <p:set>
                                      <p:cBhvr>
                                        <p:cTn id="83" dur="1" fill="hold">
                                          <p:stCondLst>
                                            <p:cond delay="0"/>
                                          </p:stCondLst>
                                        </p:cTn>
                                        <p:tgtEl>
                                          <p:spTgt spid="118"/>
                                        </p:tgtEl>
                                        <p:attrNameLst>
                                          <p:attrName>style.visibility</p:attrName>
                                        </p:attrNameLst>
                                      </p:cBhvr>
                                      <p:to>
                                        <p:strVal val="visible"/>
                                      </p:to>
                                    </p:set>
                                    <p:animEffect transition="in" filter="wipe(left)">
                                      <p:cBhvr>
                                        <p:cTn id="84" dur="1400"/>
                                        <p:tgtEl>
                                          <p:spTgt spid="118"/>
                                        </p:tgtEl>
                                      </p:cBhvr>
                                    </p:animEffect>
                                  </p:childTnLst>
                                </p:cTn>
                              </p:par>
                              <p:par>
                                <p:cTn id="85" presetID="22" presetClass="entr" presetSubtype="2" fill="hold" grpId="0" nodeType="withEffect">
                                  <p:stCondLst>
                                    <p:cond delay="3500"/>
                                  </p:stCondLst>
                                  <p:childTnLst>
                                    <p:set>
                                      <p:cBhvr>
                                        <p:cTn id="86" dur="1" fill="hold">
                                          <p:stCondLst>
                                            <p:cond delay="0"/>
                                          </p:stCondLst>
                                        </p:cTn>
                                        <p:tgtEl>
                                          <p:spTgt spid="80"/>
                                        </p:tgtEl>
                                        <p:attrNameLst>
                                          <p:attrName>style.visibility</p:attrName>
                                        </p:attrNameLst>
                                      </p:cBhvr>
                                      <p:to>
                                        <p:strVal val="visible"/>
                                      </p:to>
                                    </p:set>
                                    <p:animEffect transition="in" filter="wipe(right)">
                                      <p:cBhvr>
                                        <p:cTn id="87" dur="1400"/>
                                        <p:tgtEl>
                                          <p:spTgt spid="80"/>
                                        </p:tgtEl>
                                      </p:cBhvr>
                                    </p:animEffect>
                                  </p:childTnLst>
                                </p:cTn>
                              </p:par>
                              <p:par>
                                <p:cTn id="88" presetID="22" presetClass="entr" presetSubtype="8" fill="hold" grpId="0" nodeType="withEffect">
                                  <p:stCondLst>
                                    <p:cond delay="4250"/>
                                  </p:stCondLst>
                                  <p:childTnLst>
                                    <p:set>
                                      <p:cBhvr>
                                        <p:cTn id="89" dur="1" fill="hold">
                                          <p:stCondLst>
                                            <p:cond delay="0"/>
                                          </p:stCondLst>
                                        </p:cTn>
                                        <p:tgtEl>
                                          <p:spTgt spid="74"/>
                                        </p:tgtEl>
                                        <p:attrNameLst>
                                          <p:attrName>style.visibility</p:attrName>
                                        </p:attrNameLst>
                                      </p:cBhvr>
                                      <p:to>
                                        <p:strVal val="visible"/>
                                      </p:to>
                                    </p:set>
                                    <p:animEffect transition="in" filter="wipe(left)">
                                      <p:cBhvr>
                                        <p:cTn id="90" dur="1400"/>
                                        <p:tgtEl>
                                          <p:spTgt spid="74"/>
                                        </p:tgtEl>
                                      </p:cBhvr>
                                    </p:animEffect>
                                  </p:childTnLst>
                                </p:cTn>
                              </p:par>
                              <p:par>
                                <p:cTn id="91" presetID="22" presetClass="entr" presetSubtype="2" fill="hold" grpId="0" nodeType="withEffect">
                                  <p:stCondLst>
                                    <p:cond delay="5000"/>
                                  </p:stCondLst>
                                  <p:childTnLst>
                                    <p:set>
                                      <p:cBhvr>
                                        <p:cTn id="92" dur="1" fill="hold">
                                          <p:stCondLst>
                                            <p:cond delay="0"/>
                                          </p:stCondLst>
                                        </p:cTn>
                                        <p:tgtEl>
                                          <p:spTgt spid="68"/>
                                        </p:tgtEl>
                                        <p:attrNameLst>
                                          <p:attrName>style.visibility</p:attrName>
                                        </p:attrNameLst>
                                      </p:cBhvr>
                                      <p:to>
                                        <p:strVal val="visible"/>
                                      </p:to>
                                    </p:set>
                                    <p:animEffect transition="in" filter="wipe(right)">
                                      <p:cBhvr>
                                        <p:cTn id="93" dur="1400"/>
                                        <p:tgtEl>
                                          <p:spTgt spid="68"/>
                                        </p:tgtEl>
                                      </p:cBhvr>
                                    </p:animEffect>
                                  </p:childTnLst>
                                </p:cTn>
                              </p:par>
                              <p:par>
                                <p:cTn id="94" presetID="22" presetClass="entr" presetSubtype="8" fill="hold" grpId="0" nodeType="withEffect">
                                  <p:stCondLst>
                                    <p:cond delay="5750"/>
                                  </p:stCondLst>
                                  <p:childTnLst>
                                    <p:set>
                                      <p:cBhvr>
                                        <p:cTn id="95" dur="1" fill="hold">
                                          <p:stCondLst>
                                            <p:cond delay="0"/>
                                          </p:stCondLst>
                                        </p:cTn>
                                        <p:tgtEl>
                                          <p:spTgt spid="76"/>
                                        </p:tgtEl>
                                        <p:attrNameLst>
                                          <p:attrName>style.visibility</p:attrName>
                                        </p:attrNameLst>
                                      </p:cBhvr>
                                      <p:to>
                                        <p:strVal val="visible"/>
                                      </p:to>
                                    </p:set>
                                    <p:animEffect transition="in" filter="wipe(left)">
                                      <p:cBhvr>
                                        <p:cTn id="96" dur="1400"/>
                                        <p:tgtEl>
                                          <p:spTgt spid="76"/>
                                        </p:tgtEl>
                                      </p:cBhvr>
                                    </p:animEffect>
                                  </p:childTnLst>
                                </p:cTn>
                              </p:par>
                              <p:par>
                                <p:cTn id="97" presetID="22" presetClass="entr" presetSubtype="8" fill="hold" grpId="0" nodeType="withEffect">
                                  <p:stCondLst>
                                    <p:cond delay="6750"/>
                                  </p:stCondLst>
                                  <p:childTnLst>
                                    <p:set>
                                      <p:cBhvr>
                                        <p:cTn id="98" dur="1" fill="hold">
                                          <p:stCondLst>
                                            <p:cond delay="0"/>
                                          </p:stCondLst>
                                        </p:cTn>
                                        <p:tgtEl>
                                          <p:spTgt spid="77"/>
                                        </p:tgtEl>
                                        <p:attrNameLst>
                                          <p:attrName>style.visibility</p:attrName>
                                        </p:attrNameLst>
                                      </p:cBhvr>
                                      <p:to>
                                        <p:strVal val="visible"/>
                                      </p:to>
                                    </p:set>
                                    <p:animEffect transition="in" filter="wipe(left)">
                                      <p:cBhvr>
                                        <p:cTn id="99" dur="1400"/>
                                        <p:tgtEl>
                                          <p:spTgt spid="77"/>
                                        </p:tgtEl>
                                      </p:cBhvr>
                                    </p:animEffect>
                                  </p:childTnLst>
                                </p:cTn>
                              </p:par>
                              <p:par>
                                <p:cTn id="100" presetID="22" presetClass="exit" presetSubtype="2" fill="hold" grpId="1" nodeType="withEffect">
                                  <p:stCondLst>
                                    <p:cond delay="4000"/>
                                  </p:stCondLst>
                                  <p:childTnLst>
                                    <p:animEffect transition="out" filter="wipe(right)">
                                      <p:cBhvr>
                                        <p:cTn id="101" dur="1500"/>
                                        <p:tgtEl>
                                          <p:spTgt spid="73"/>
                                        </p:tgtEl>
                                      </p:cBhvr>
                                    </p:animEffect>
                                    <p:set>
                                      <p:cBhvr>
                                        <p:cTn id="102" dur="1" fill="hold">
                                          <p:stCondLst>
                                            <p:cond delay="1499"/>
                                          </p:stCondLst>
                                        </p:cTn>
                                        <p:tgtEl>
                                          <p:spTgt spid="73"/>
                                        </p:tgtEl>
                                        <p:attrNameLst>
                                          <p:attrName>style.visibility</p:attrName>
                                        </p:attrNameLst>
                                      </p:cBhvr>
                                      <p:to>
                                        <p:strVal val="hidden"/>
                                      </p:to>
                                    </p:set>
                                  </p:childTnLst>
                                </p:cTn>
                              </p:par>
                              <p:par>
                                <p:cTn id="103" presetID="22" presetClass="exit" presetSubtype="2" fill="hold" grpId="1" nodeType="withEffect">
                                  <p:stCondLst>
                                    <p:cond delay="4500"/>
                                  </p:stCondLst>
                                  <p:childTnLst>
                                    <p:animEffect transition="out" filter="wipe(right)">
                                      <p:cBhvr>
                                        <p:cTn id="104" dur="1500"/>
                                        <p:tgtEl>
                                          <p:spTgt spid="66"/>
                                        </p:tgtEl>
                                      </p:cBhvr>
                                    </p:animEffect>
                                    <p:set>
                                      <p:cBhvr>
                                        <p:cTn id="105" dur="1" fill="hold">
                                          <p:stCondLst>
                                            <p:cond delay="1499"/>
                                          </p:stCondLst>
                                        </p:cTn>
                                        <p:tgtEl>
                                          <p:spTgt spid="66"/>
                                        </p:tgtEl>
                                        <p:attrNameLst>
                                          <p:attrName>style.visibility</p:attrName>
                                        </p:attrNameLst>
                                      </p:cBhvr>
                                      <p:to>
                                        <p:strVal val="hidden"/>
                                      </p:to>
                                    </p:set>
                                  </p:childTnLst>
                                </p:cTn>
                              </p:par>
                              <p:par>
                                <p:cTn id="106" presetID="22" presetClass="exit" presetSubtype="2" fill="hold" grpId="1" nodeType="withEffect">
                                  <p:stCondLst>
                                    <p:cond delay="5000"/>
                                  </p:stCondLst>
                                  <p:childTnLst>
                                    <p:animEffect transition="out" filter="wipe(right)">
                                      <p:cBhvr>
                                        <p:cTn id="107" dur="1500"/>
                                        <p:tgtEl>
                                          <p:spTgt spid="67"/>
                                        </p:tgtEl>
                                      </p:cBhvr>
                                    </p:animEffect>
                                    <p:set>
                                      <p:cBhvr>
                                        <p:cTn id="108" dur="1" fill="hold">
                                          <p:stCondLst>
                                            <p:cond delay="1499"/>
                                          </p:stCondLst>
                                        </p:cTn>
                                        <p:tgtEl>
                                          <p:spTgt spid="67"/>
                                        </p:tgtEl>
                                        <p:attrNameLst>
                                          <p:attrName>style.visibility</p:attrName>
                                        </p:attrNameLst>
                                      </p:cBhvr>
                                      <p:to>
                                        <p:strVal val="hidden"/>
                                      </p:to>
                                    </p:set>
                                  </p:childTnLst>
                                </p:cTn>
                              </p:par>
                              <p:par>
                                <p:cTn id="109" presetID="22" presetClass="exit" presetSubtype="2" fill="hold" grpId="1" nodeType="withEffect">
                                  <p:stCondLst>
                                    <p:cond delay="5250"/>
                                  </p:stCondLst>
                                  <p:childTnLst>
                                    <p:animEffect transition="out" filter="wipe(right)">
                                      <p:cBhvr>
                                        <p:cTn id="110" dur="1500"/>
                                        <p:tgtEl>
                                          <p:spTgt spid="70"/>
                                        </p:tgtEl>
                                      </p:cBhvr>
                                    </p:animEffect>
                                    <p:set>
                                      <p:cBhvr>
                                        <p:cTn id="111" dur="1" fill="hold">
                                          <p:stCondLst>
                                            <p:cond delay="1499"/>
                                          </p:stCondLst>
                                        </p:cTn>
                                        <p:tgtEl>
                                          <p:spTgt spid="70"/>
                                        </p:tgtEl>
                                        <p:attrNameLst>
                                          <p:attrName>style.visibility</p:attrName>
                                        </p:attrNameLst>
                                      </p:cBhvr>
                                      <p:to>
                                        <p:strVal val="hidden"/>
                                      </p:to>
                                    </p:set>
                                  </p:childTnLst>
                                </p:cTn>
                              </p:par>
                              <p:par>
                                <p:cTn id="112" presetID="22" presetClass="exit" presetSubtype="2" fill="hold" grpId="1" nodeType="withEffect">
                                  <p:stCondLst>
                                    <p:cond delay="6000"/>
                                  </p:stCondLst>
                                  <p:childTnLst>
                                    <p:animEffect transition="out" filter="wipe(right)">
                                      <p:cBhvr>
                                        <p:cTn id="113" dur="1500"/>
                                        <p:tgtEl>
                                          <p:spTgt spid="80"/>
                                        </p:tgtEl>
                                      </p:cBhvr>
                                    </p:animEffect>
                                    <p:set>
                                      <p:cBhvr>
                                        <p:cTn id="114" dur="1" fill="hold">
                                          <p:stCondLst>
                                            <p:cond delay="1499"/>
                                          </p:stCondLst>
                                        </p:cTn>
                                        <p:tgtEl>
                                          <p:spTgt spid="80"/>
                                        </p:tgtEl>
                                        <p:attrNameLst>
                                          <p:attrName>style.visibility</p:attrName>
                                        </p:attrNameLst>
                                      </p:cBhvr>
                                      <p:to>
                                        <p:strVal val="hidden"/>
                                      </p:to>
                                    </p:set>
                                  </p:childTnLst>
                                </p:cTn>
                              </p:par>
                              <p:par>
                                <p:cTn id="115" presetID="22" presetClass="exit" presetSubtype="2" fill="hold" grpId="1" nodeType="withEffect">
                                  <p:stCondLst>
                                    <p:cond delay="6250"/>
                                  </p:stCondLst>
                                  <p:childTnLst>
                                    <p:animEffect transition="out" filter="wipe(right)">
                                      <p:cBhvr>
                                        <p:cTn id="116" dur="1500"/>
                                        <p:tgtEl>
                                          <p:spTgt spid="74"/>
                                        </p:tgtEl>
                                      </p:cBhvr>
                                    </p:animEffect>
                                    <p:set>
                                      <p:cBhvr>
                                        <p:cTn id="117" dur="1" fill="hold">
                                          <p:stCondLst>
                                            <p:cond delay="1499"/>
                                          </p:stCondLst>
                                        </p:cTn>
                                        <p:tgtEl>
                                          <p:spTgt spid="74"/>
                                        </p:tgtEl>
                                        <p:attrNameLst>
                                          <p:attrName>style.visibility</p:attrName>
                                        </p:attrNameLst>
                                      </p:cBhvr>
                                      <p:to>
                                        <p:strVal val="hidden"/>
                                      </p:to>
                                    </p:set>
                                  </p:childTnLst>
                                </p:cTn>
                              </p:par>
                              <p:par>
                                <p:cTn id="118" presetID="22" presetClass="exit" presetSubtype="2" fill="hold" grpId="1" nodeType="withEffect">
                                  <p:stCondLst>
                                    <p:cond delay="6750"/>
                                  </p:stCondLst>
                                  <p:childTnLst>
                                    <p:animEffect transition="out" filter="wipe(right)">
                                      <p:cBhvr>
                                        <p:cTn id="119" dur="1500"/>
                                        <p:tgtEl>
                                          <p:spTgt spid="118"/>
                                        </p:tgtEl>
                                      </p:cBhvr>
                                    </p:animEffect>
                                    <p:set>
                                      <p:cBhvr>
                                        <p:cTn id="120" dur="1" fill="hold">
                                          <p:stCondLst>
                                            <p:cond delay="1499"/>
                                          </p:stCondLst>
                                        </p:cTn>
                                        <p:tgtEl>
                                          <p:spTgt spid="118"/>
                                        </p:tgtEl>
                                        <p:attrNameLst>
                                          <p:attrName>style.visibility</p:attrName>
                                        </p:attrNameLst>
                                      </p:cBhvr>
                                      <p:to>
                                        <p:strVal val="hidden"/>
                                      </p:to>
                                    </p:set>
                                  </p:childTnLst>
                                </p:cTn>
                              </p:par>
                              <p:par>
                                <p:cTn id="121" presetID="22" presetClass="exit" presetSubtype="2" fill="hold" grpId="1" nodeType="withEffect">
                                  <p:stCondLst>
                                    <p:cond delay="7250"/>
                                  </p:stCondLst>
                                  <p:childTnLst>
                                    <p:animEffect transition="out" filter="wipe(right)">
                                      <p:cBhvr>
                                        <p:cTn id="122" dur="1500"/>
                                        <p:tgtEl>
                                          <p:spTgt spid="68"/>
                                        </p:tgtEl>
                                      </p:cBhvr>
                                    </p:animEffect>
                                    <p:set>
                                      <p:cBhvr>
                                        <p:cTn id="123" dur="1" fill="hold">
                                          <p:stCondLst>
                                            <p:cond delay="1499"/>
                                          </p:stCondLst>
                                        </p:cTn>
                                        <p:tgtEl>
                                          <p:spTgt spid="68"/>
                                        </p:tgtEl>
                                        <p:attrNameLst>
                                          <p:attrName>style.visibility</p:attrName>
                                        </p:attrNameLst>
                                      </p:cBhvr>
                                      <p:to>
                                        <p:strVal val="hidden"/>
                                      </p:to>
                                    </p:set>
                                  </p:childTnLst>
                                </p:cTn>
                              </p:par>
                              <p:par>
                                <p:cTn id="124" presetID="22" presetClass="exit" presetSubtype="2" fill="hold" grpId="1" nodeType="withEffect">
                                  <p:stCondLst>
                                    <p:cond delay="7500"/>
                                  </p:stCondLst>
                                  <p:childTnLst>
                                    <p:animEffect transition="out" filter="wipe(right)">
                                      <p:cBhvr>
                                        <p:cTn id="125" dur="1500"/>
                                        <p:tgtEl>
                                          <p:spTgt spid="76"/>
                                        </p:tgtEl>
                                      </p:cBhvr>
                                    </p:animEffect>
                                    <p:set>
                                      <p:cBhvr>
                                        <p:cTn id="126" dur="1" fill="hold">
                                          <p:stCondLst>
                                            <p:cond delay="1499"/>
                                          </p:stCondLst>
                                        </p:cTn>
                                        <p:tgtEl>
                                          <p:spTgt spid="76"/>
                                        </p:tgtEl>
                                        <p:attrNameLst>
                                          <p:attrName>style.visibility</p:attrName>
                                        </p:attrNameLst>
                                      </p:cBhvr>
                                      <p:to>
                                        <p:strVal val="hidden"/>
                                      </p:to>
                                    </p:set>
                                  </p:childTnLst>
                                </p:cTn>
                              </p:par>
                              <p:par>
                                <p:cTn id="127" presetID="22" presetClass="exit" presetSubtype="2" fill="hold" grpId="1" nodeType="withEffect">
                                  <p:stCondLst>
                                    <p:cond delay="8500"/>
                                  </p:stCondLst>
                                  <p:childTnLst>
                                    <p:animEffect transition="out" filter="wipe(right)">
                                      <p:cBhvr>
                                        <p:cTn id="128" dur="1500"/>
                                        <p:tgtEl>
                                          <p:spTgt spid="77"/>
                                        </p:tgtEl>
                                      </p:cBhvr>
                                    </p:animEffect>
                                    <p:set>
                                      <p:cBhvr>
                                        <p:cTn id="129" dur="1" fill="hold">
                                          <p:stCondLst>
                                            <p:cond delay="1499"/>
                                          </p:stCondLst>
                                        </p:cTn>
                                        <p:tgtEl>
                                          <p:spTgt spid="77"/>
                                        </p:tgtEl>
                                        <p:attrNameLst>
                                          <p:attrName>style.visibility</p:attrName>
                                        </p:attrNameLst>
                                      </p:cBhvr>
                                      <p:to>
                                        <p:strVal val="hidden"/>
                                      </p:to>
                                    </p:set>
                                  </p:childTnLst>
                                </p:cTn>
                              </p:par>
                              <p:par>
                                <p:cTn id="130" presetID="22" presetClass="entr" presetSubtype="8" fill="hold" grpId="2" nodeType="withEffect">
                                  <p:stCondLst>
                                    <p:cond delay="10250"/>
                                  </p:stCondLst>
                                  <p:childTnLst>
                                    <p:set>
                                      <p:cBhvr>
                                        <p:cTn id="131" dur="1" fill="hold">
                                          <p:stCondLst>
                                            <p:cond delay="0"/>
                                          </p:stCondLst>
                                        </p:cTn>
                                        <p:tgtEl>
                                          <p:spTgt spid="73"/>
                                        </p:tgtEl>
                                        <p:attrNameLst>
                                          <p:attrName>style.visibility</p:attrName>
                                        </p:attrNameLst>
                                      </p:cBhvr>
                                      <p:to>
                                        <p:strVal val="visible"/>
                                      </p:to>
                                    </p:set>
                                    <p:animEffect transition="in" filter="wipe(left)">
                                      <p:cBhvr>
                                        <p:cTn id="132" dur="1500"/>
                                        <p:tgtEl>
                                          <p:spTgt spid="73"/>
                                        </p:tgtEl>
                                      </p:cBhvr>
                                    </p:animEffect>
                                  </p:childTnLst>
                                </p:cTn>
                              </p:par>
                              <p:par>
                                <p:cTn id="133" presetID="22" presetClass="entr" presetSubtype="8" fill="hold" grpId="2" nodeType="withEffect">
                                  <p:stCondLst>
                                    <p:cond delay="10750"/>
                                  </p:stCondLst>
                                  <p:childTnLst>
                                    <p:set>
                                      <p:cBhvr>
                                        <p:cTn id="134" dur="1" fill="hold">
                                          <p:stCondLst>
                                            <p:cond delay="0"/>
                                          </p:stCondLst>
                                        </p:cTn>
                                        <p:tgtEl>
                                          <p:spTgt spid="66"/>
                                        </p:tgtEl>
                                        <p:attrNameLst>
                                          <p:attrName>style.visibility</p:attrName>
                                        </p:attrNameLst>
                                      </p:cBhvr>
                                      <p:to>
                                        <p:strVal val="visible"/>
                                      </p:to>
                                    </p:set>
                                    <p:animEffect transition="in" filter="wipe(left)">
                                      <p:cBhvr>
                                        <p:cTn id="135" dur="1500"/>
                                        <p:tgtEl>
                                          <p:spTgt spid="66"/>
                                        </p:tgtEl>
                                      </p:cBhvr>
                                    </p:animEffect>
                                  </p:childTnLst>
                                </p:cTn>
                              </p:par>
                              <p:par>
                                <p:cTn id="136" presetID="22" presetClass="entr" presetSubtype="2" fill="hold" grpId="2" nodeType="withEffect">
                                  <p:stCondLst>
                                    <p:cond delay="11750"/>
                                  </p:stCondLst>
                                  <p:childTnLst>
                                    <p:set>
                                      <p:cBhvr>
                                        <p:cTn id="137" dur="1" fill="hold">
                                          <p:stCondLst>
                                            <p:cond delay="0"/>
                                          </p:stCondLst>
                                        </p:cTn>
                                        <p:tgtEl>
                                          <p:spTgt spid="67"/>
                                        </p:tgtEl>
                                        <p:attrNameLst>
                                          <p:attrName>style.visibility</p:attrName>
                                        </p:attrNameLst>
                                      </p:cBhvr>
                                      <p:to>
                                        <p:strVal val="visible"/>
                                      </p:to>
                                    </p:set>
                                    <p:animEffect transition="in" filter="wipe(right)">
                                      <p:cBhvr>
                                        <p:cTn id="138" dur="1500"/>
                                        <p:tgtEl>
                                          <p:spTgt spid="67"/>
                                        </p:tgtEl>
                                      </p:cBhvr>
                                    </p:animEffect>
                                  </p:childTnLst>
                                </p:cTn>
                              </p:par>
                              <p:par>
                                <p:cTn id="139" presetID="22" presetClass="entr" presetSubtype="8" fill="hold" grpId="2" nodeType="withEffect">
                                  <p:stCondLst>
                                    <p:cond delay="12500"/>
                                  </p:stCondLst>
                                  <p:childTnLst>
                                    <p:set>
                                      <p:cBhvr>
                                        <p:cTn id="140" dur="1" fill="hold">
                                          <p:stCondLst>
                                            <p:cond delay="0"/>
                                          </p:stCondLst>
                                        </p:cTn>
                                        <p:tgtEl>
                                          <p:spTgt spid="70"/>
                                        </p:tgtEl>
                                        <p:attrNameLst>
                                          <p:attrName>style.visibility</p:attrName>
                                        </p:attrNameLst>
                                      </p:cBhvr>
                                      <p:to>
                                        <p:strVal val="visible"/>
                                      </p:to>
                                    </p:set>
                                    <p:animEffect transition="in" filter="wipe(left)">
                                      <p:cBhvr>
                                        <p:cTn id="141" dur="1500"/>
                                        <p:tgtEl>
                                          <p:spTgt spid="70"/>
                                        </p:tgtEl>
                                      </p:cBhvr>
                                    </p:animEffect>
                                  </p:childTnLst>
                                </p:cTn>
                              </p:par>
                              <p:par>
                                <p:cTn id="142" presetID="22" presetClass="entr" presetSubtype="8" fill="hold" grpId="2" nodeType="withEffect">
                                  <p:stCondLst>
                                    <p:cond delay="13000"/>
                                  </p:stCondLst>
                                  <p:childTnLst>
                                    <p:set>
                                      <p:cBhvr>
                                        <p:cTn id="143" dur="1" fill="hold">
                                          <p:stCondLst>
                                            <p:cond delay="0"/>
                                          </p:stCondLst>
                                        </p:cTn>
                                        <p:tgtEl>
                                          <p:spTgt spid="80"/>
                                        </p:tgtEl>
                                        <p:attrNameLst>
                                          <p:attrName>style.visibility</p:attrName>
                                        </p:attrNameLst>
                                      </p:cBhvr>
                                      <p:to>
                                        <p:strVal val="visible"/>
                                      </p:to>
                                    </p:set>
                                    <p:animEffect transition="in" filter="wipe(left)">
                                      <p:cBhvr>
                                        <p:cTn id="144" dur="1500"/>
                                        <p:tgtEl>
                                          <p:spTgt spid="80"/>
                                        </p:tgtEl>
                                      </p:cBhvr>
                                    </p:animEffect>
                                  </p:childTnLst>
                                </p:cTn>
                              </p:par>
                              <p:par>
                                <p:cTn id="145" presetID="22" presetClass="entr" presetSubtype="8" fill="hold" grpId="2" nodeType="withEffect">
                                  <p:stCondLst>
                                    <p:cond delay="14000"/>
                                  </p:stCondLst>
                                  <p:childTnLst>
                                    <p:set>
                                      <p:cBhvr>
                                        <p:cTn id="146" dur="1" fill="hold">
                                          <p:stCondLst>
                                            <p:cond delay="0"/>
                                          </p:stCondLst>
                                        </p:cTn>
                                        <p:tgtEl>
                                          <p:spTgt spid="74"/>
                                        </p:tgtEl>
                                        <p:attrNameLst>
                                          <p:attrName>style.visibility</p:attrName>
                                        </p:attrNameLst>
                                      </p:cBhvr>
                                      <p:to>
                                        <p:strVal val="visible"/>
                                      </p:to>
                                    </p:set>
                                    <p:animEffect transition="in" filter="wipe(left)">
                                      <p:cBhvr>
                                        <p:cTn id="147" dur="1250"/>
                                        <p:tgtEl>
                                          <p:spTgt spid="74"/>
                                        </p:tgtEl>
                                      </p:cBhvr>
                                    </p:animEffect>
                                  </p:childTnLst>
                                </p:cTn>
                              </p:par>
                              <p:par>
                                <p:cTn id="148" presetID="22" presetClass="entr" presetSubtype="2" fill="hold" grpId="2" nodeType="withEffect">
                                  <p:stCondLst>
                                    <p:cond delay="14750"/>
                                  </p:stCondLst>
                                  <p:childTnLst>
                                    <p:set>
                                      <p:cBhvr>
                                        <p:cTn id="149" dur="1" fill="hold">
                                          <p:stCondLst>
                                            <p:cond delay="0"/>
                                          </p:stCondLst>
                                        </p:cTn>
                                        <p:tgtEl>
                                          <p:spTgt spid="68"/>
                                        </p:tgtEl>
                                        <p:attrNameLst>
                                          <p:attrName>style.visibility</p:attrName>
                                        </p:attrNameLst>
                                      </p:cBhvr>
                                      <p:to>
                                        <p:strVal val="visible"/>
                                      </p:to>
                                    </p:set>
                                    <p:animEffect transition="in" filter="wipe(right)">
                                      <p:cBhvr>
                                        <p:cTn id="150" dur="1250"/>
                                        <p:tgtEl>
                                          <p:spTgt spid="68"/>
                                        </p:tgtEl>
                                      </p:cBhvr>
                                    </p:animEffect>
                                  </p:childTnLst>
                                </p:cTn>
                              </p:par>
                              <p:par>
                                <p:cTn id="151" presetID="22" presetClass="entr" presetSubtype="8" fill="hold" grpId="2" nodeType="withEffect">
                                  <p:stCondLst>
                                    <p:cond delay="15500"/>
                                  </p:stCondLst>
                                  <p:childTnLst>
                                    <p:set>
                                      <p:cBhvr>
                                        <p:cTn id="152" dur="1" fill="hold">
                                          <p:stCondLst>
                                            <p:cond delay="0"/>
                                          </p:stCondLst>
                                        </p:cTn>
                                        <p:tgtEl>
                                          <p:spTgt spid="76"/>
                                        </p:tgtEl>
                                        <p:attrNameLst>
                                          <p:attrName>style.visibility</p:attrName>
                                        </p:attrNameLst>
                                      </p:cBhvr>
                                      <p:to>
                                        <p:strVal val="visible"/>
                                      </p:to>
                                    </p:set>
                                    <p:animEffect transition="in" filter="wipe(left)">
                                      <p:cBhvr>
                                        <p:cTn id="153" dur="1250"/>
                                        <p:tgtEl>
                                          <p:spTgt spid="76"/>
                                        </p:tgtEl>
                                      </p:cBhvr>
                                    </p:animEffect>
                                  </p:childTnLst>
                                </p:cTn>
                              </p:par>
                              <p:par>
                                <p:cTn id="154" presetID="22" presetClass="entr" presetSubtype="8" fill="hold" grpId="2" nodeType="withEffect">
                                  <p:stCondLst>
                                    <p:cond delay="16750"/>
                                  </p:stCondLst>
                                  <p:childTnLst>
                                    <p:set>
                                      <p:cBhvr>
                                        <p:cTn id="155" dur="1" fill="hold">
                                          <p:stCondLst>
                                            <p:cond delay="0"/>
                                          </p:stCondLst>
                                        </p:cTn>
                                        <p:tgtEl>
                                          <p:spTgt spid="77"/>
                                        </p:tgtEl>
                                        <p:attrNameLst>
                                          <p:attrName>style.visibility</p:attrName>
                                        </p:attrNameLst>
                                      </p:cBhvr>
                                      <p:to>
                                        <p:strVal val="visible"/>
                                      </p:to>
                                    </p:set>
                                    <p:animEffect transition="in" filter="wipe(left)">
                                      <p:cBhvr>
                                        <p:cTn id="156" dur="1250"/>
                                        <p:tgtEl>
                                          <p:spTgt spid="77"/>
                                        </p:tgtEl>
                                      </p:cBhvr>
                                    </p:animEffect>
                                  </p:childTnLst>
                                </p:cTn>
                              </p:par>
                              <p:par>
                                <p:cTn id="157" presetID="22" presetClass="entr" presetSubtype="8" fill="hold" grpId="0" nodeType="withEffect">
                                  <p:stCondLst>
                                    <p:cond delay="1750"/>
                                  </p:stCondLst>
                                  <p:childTnLst>
                                    <p:set>
                                      <p:cBhvr>
                                        <p:cTn id="158" dur="1" fill="hold">
                                          <p:stCondLst>
                                            <p:cond delay="0"/>
                                          </p:stCondLst>
                                        </p:cTn>
                                        <p:tgtEl>
                                          <p:spTgt spid="78"/>
                                        </p:tgtEl>
                                        <p:attrNameLst>
                                          <p:attrName>style.visibility</p:attrName>
                                        </p:attrNameLst>
                                      </p:cBhvr>
                                      <p:to>
                                        <p:strVal val="visible"/>
                                      </p:to>
                                    </p:set>
                                    <p:animEffect transition="in" filter="wipe(left)">
                                      <p:cBhvr>
                                        <p:cTn id="159" dur="1400"/>
                                        <p:tgtEl>
                                          <p:spTgt spid="78"/>
                                        </p:tgtEl>
                                      </p:cBhvr>
                                    </p:animEffect>
                                  </p:childTnLst>
                                </p:cTn>
                              </p:par>
                              <p:par>
                                <p:cTn id="160" presetID="22" presetClass="entr" presetSubtype="8" fill="hold" grpId="0" nodeType="withEffect">
                                  <p:stCondLst>
                                    <p:cond delay="3000"/>
                                  </p:stCondLst>
                                  <p:childTnLst>
                                    <p:set>
                                      <p:cBhvr>
                                        <p:cTn id="161" dur="1" fill="hold">
                                          <p:stCondLst>
                                            <p:cond delay="0"/>
                                          </p:stCondLst>
                                        </p:cTn>
                                        <p:tgtEl>
                                          <p:spTgt spid="92"/>
                                        </p:tgtEl>
                                        <p:attrNameLst>
                                          <p:attrName>style.visibility</p:attrName>
                                        </p:attrNameLst>
                                      </p:cBhvr>
                                      <p:to>
                                        <p:strVal val="visible"/>
                                      </p:to>
                                    </p:set>
                                    <p:animEffect transition="in" filter="wipe(left)">
                                      <p:cBhvr>
                                        <p:cTn id="162" dur="1400"/>
                                        <p:tgtEl>
                                          <p:spTgt spid="92"/>
                                        </p:tgtEl>
                                      </p:cBhvr>
                                    </p:animEffect>
                                  </p:childTnLst>
                                </p:cTn>
                              </p:par>
                              <p:par>
                                <p:cTn id="163" presetID="22" presetClass="entr" presetSubtype="8" fill="hold" grpId="0" nodeType="withEffect">
                                  <p:stCondLst>
                                    <p:cond delay="3750"/>
                                  </p:stCondLst>
                                  <p:childTnLst>
                                    <p:set>
                                      <p:cBhvr>
                                        <p:cTn id="164" dur="1" fill="hold">
                                          <p:stCondLst>
                                            <p:cond delay="0"/>
                                          </p:stCondLst>
                                        </p:cTn>
                                        <p:tgtEl>
                                          <p:spTgt spid="83"/>
                                        </p:tgtEl>
                                        <p:attrNameLst>
                                          <p:attrName>style.visibility</p:attrName>
                                        </p:attrNameLst>
                                      </p:cBhvr>
                                      <p:to>
                                        <p:strVal val="visible"/>
                                      </p:to>
                                    </p:set>
                                    <p:animEffect transition="in" filter="wipe(left)">
                                      <p:cBhvr>
                                        <p:cTn id="165" dur="1400"/>
                                        <p:tgtEl>
                                          <p:spTgt spid="83"/>
                                        </p:tgtEl>
                                      </p:cBhvr>
                                    </p:animEffect>
                                  </p:childTnLst>
                                </p:cTn>
                              </p:par>
                              <p:par>
                                <p:cTn id="166" presetID="22" presetClass="entr" presetSubtype="2" fill="hold" grpId="0" nodeType="withEffect">
                                  <p:stCondLst>
                                    <p:cond delay="4750"/>
                                  </p:stCondLst>
                                  <p:childTnLst>
                                    <p:set>
                                      <p:cBhvr>
                                        <p:cTn id="167" dur="1" fill="hold">
                                          <p:stCondLst>
                                            <p:cond delay="0"/>
                                          </p:stCondLst>
                                        </p:cTn>
                                        <p:tgtEl>
                                          <p:spTgt spid="69"/>
                                        </p:tgtEl>
                                        <p:attrNameLst>
                                          <p:attrName>style.visibility</p:attrName>
                                        </p:attrNameLst>
                                      </p:cBhvr>
                                      <p:to>
                                        <p:strVal val="visible"/>
                                      </p:to>
                                    </p:set>
                                    <p:animEffect transition="in" filter="wipe(right)">
                                      <p:cBhvr>
                                        <p:cTn id="168" dur="1400"/>
                                        <p:tgtEl>
                                          <p:spTgt spid="69"/>
                                        </p:tgtEl>
                                      </p:cBhvr>
                                    </p:animEffect>
                                  </p:childTnLst>
                                </p:cTn>
                              </p:par>
                              <p:par>
                                <p:cTn id="169" presetID="22" presetClass="entr" presetSubtype="8" fill="hold" grpId="0" nodeType="withEffect">
                                  <p:stCondLst>
                                    <p:cond delay="5500"/>
                                  </p:stCondLst>
                                  <p:childTnLst>
                                    <p:set>
                                      <p:cBhvr>
                                        <p:cTn id="170" dur="1" fill="hold">
                                          <p:stCondLst>
                                            <p:cond delay="0"/>
                                          </p:stCondLst>
                                        </p:cTn>
                                        <p:tgtEl>
                                          <p:spTgt spid="71"/>
                                        </p:tgtEl>
                                        <p:attrNameLst>
                                          <p:attrName>style.visibility</p:attrName>
                                        </p:attrNameLst>
                                      </p:cBhvr>
                                      <p:to>
                                        <p:strVal val="visible"/>
                                      </p:to>
                                    </p:set>
                                    <p:animEffect transition="in" filter="wipe(left)">
                                      <p:cBhvr>
                                        <p:cTn id="171" dur="1250"/>
                                        <p:tgtEl>
                                          <p:spTgt spid="71"/>
                                        </p:tgtEl>
                                      </p:cBhvr>
                                    </p:animEffect>
                                  </p:childTnLst>
                                </p:cTn>
                              </p:par>
                              <p:par>
                                <p:cTn id="172" presetID="22" presetClass="exit" presetSubtype="2" fill="hold" grpId="1" nodeType="withEffect">
                                  <p:stCondLst>
                                    <p:cond delay="6500"/>
                                  </p:stCondLst>
                                  <p:childTnLst>
                                    <p:animEffect transition="out" filter="wipe(right)">
                                      <p:cBhvr>
                                        <p:cTn id="173" dur="1500"/>
                                        <p:tgtEl>
                                          <p:spTgt spid="78"/>
                                        </p:tgtEl>
                                      </p:cBhvr>
                                    </p:animEffect>
                                    <p:set>
                                      <p:cBhvr>
                                        <p:cTn id="174" dur="1" fill="hold">
                                          <p:stCondLst>
                                            <p:cond delay="1499"/>
                                          </p:stCondLst>
                                        </p:cTn>
                                        <p:tgtEl>
                                          <p:spTgt spid="78"/>
                                        </p:tgtEl>
                                        <p:attrNameLst>
                                          <p:attrName>style.visibility</p:attrName>
                                        </p:attrNameLst>
                                      </p:cBhvr>
                                      <p:to>
                                        <p:strVal val="hidden"/>
                                      </p:to>
                                    </p:set>
                                  </p:childTnLst>
                                </p:cTn>
                              </p:par>
                              <p:par>
                                <p:cTn id="175" presetID="22" presetClass="exit" presetSubtype="2" fill="hold" grpId="1" nodeType="withEffect">
                                  <p:stCondLst>
                                    <p:cond delay="7500"/>
                                  </p:stCondLst>
                                  <p:childTnLst>
                                    <p:animEffect transition="out" filter="wipe(right)">
                                      <p:cBhvr>
                                        <p:cTn id="176" dur="1500"/>
                                        <p:tgtEl>
                                          <p:spTgt spid="92"/>
                                        </p:tgtEl>
                                      </p:cBhvr>
                                    </p:animEffect>
                                    <p:set>
                                      <p:cBhvr>
                                        <p:cTn id="177" dur="1" fill="hold">
                                          <p:stCondLst>
                                            <p:cond delay="1499"/>
                                          </p:stCondLst>
                                        </p:cTn>
                                        <p:tgtEl>
                                          <p:spTgt spid="92"/>
                                        </p:tgtEl>
                                        <p:attrNameLst>
                                          <p:attrName>style.visibility</p:attrName>
                                        </p:attrNameLst>
                                      </p:cBhvr>
                                      <p:to>
                                        <p:strVal val="hidden"/>
                                      </p:to>
                                    </p:set>
                                  </p:childTnLst>
                                </p:cTn>
                              </p:par>
                              <p:par>
                                <p:cTn id="178" presetID="22" presetClass="exit" presetSubtype="2" fill="hold" grpId="1" nodeType="withEffect">
                                  <p:stCondLst>
                                    <p:cond delay="8500"/>
                                  </p:stCondLst>
                                  <p:childTnLst>
                                    <p:animEffect transition="out" filter="wipe(right)">
                                      <p:cBhvr>
                                        <p:cTn id="179" dur="1500"/>
                                        <p:tgtEl>
                                          <p:spTgt spid="83"/>
                                        </p:tgtEl>
                                      </p:cBhvr>
                                    </p:animEffect>
                                    <p:set>
                                      <p:cBhvr>
                                        <p:cTn id="180" dur="1" fill="hold">
                                          <p:stCondLst>
                                            <p:cond delay="1499"/>
                                          </p:stCondLst>
                                        </p:cTn>
                                        <p:tgtEl>
                                          <p:spTgt spid="83"/>
                                        </p:tgtEl>
                                        <p:attrNameLst>
                                          <p:attrName>style.visibility</p:attrName>
                                        </p:attrNameLst>
                                      </p:cBhvr>
                                      <p:to>
                                        <p:strVal val="hidden"/>
                                      </p:to>
                                    </p:set>
                                  </p:childTnLst>
                                </p:cTn>
                              </p:par>
                              <p:par>
                                <p:cTn id="181" presetID="22" presetClass="exit" presetSubtype="2" fill="hold" grpId="1" nodeType="withEffect">
                                  <p:stCondLst>
                                    <p:cond delay="9000"/>
                                  </p:stCondLst>
                                  <p:childTnLst>
                                    <p:animEffect transition="out" filter="wipe(right)">
                                      <p:cBhvr>
                                        <p:cTn id="182" dur="1500"/>
                                        <p:tgtEl>
                                          <p:spTgt spid="69"/>
                                        </p:tgtEl>
                                      </p:cBhvr>
                                    </p:animEffect>
                                    <p:set>
                                      <p:cBhvr>
                                        <p:cTn id="183" dur="1" fill="hold">
                                          <p:stCondLst>
                                            <p:cond delay="1499"/>
                                          </p:stCondLst>
                                        </p:cTn>
                                        <p:tgtEl>
                                          <p:spTgt spid="69"/>
                                        </p:tgtEl>
                                        <p:attrNameLst>
                                          <p:attrName>style.visibility</p:attrName>
                                        </p:attrNameLst>
                                      </p:cBhvr>
                                      <p:to>
                                        <p:strVal val="hidden"/>
                                      </p:to>
                                    </p:set>
                                  </p:childTnLst>
                                </p:cTn>
                              </p:par>
                              <p:par>
                                <p:cTn id="184" presetID="22" presetClass="exit" presetSubtype="2" fill="hold" grpId="1" nodeType="withEffect">
                                  <p:stCondLst>
                                    <p:cond delay="9750"/>
                                  </p:stCondLst>
                                  <p:childTnLst>
                                    <p:animEffect transition="out" filter="wipe(right)">
                                      <p:cBhvr>
                                        <p:cTn id="185" dur="1500"/>
                                        <p:tgtEl>
                                          <p:spTgt spid="71"/>
                                        </p:tgtEl>
                                      </p:cBhvr>
                                    </p:animEffect>
                                    <p:set>
                                      <p:cBhvr>
                                        <p:cTn id="186" dur="1" fill="hold">
                                          <p:stCondLst>
                                            <p:cond delay="1499"/>
                                          </p:stCondLst>
                                        </p:cTn>
                                        <p:tgtEl>
                                          <p:spTgt spid="71"/>
                                        </p:tgtEl>
                                        <p:attrNameLst>
                                          <p:attrName>style.visibility</p:attrName>
                                        </p:attrNameLst>
                                      </p:cBhvr>
                                      <p:to>
                                        <p:strVal val="hidden"/>
                                      </p:to>
                                    </p:set>
                                  </p:childTnLst>
                                </p:cTn>
                              </p:par>
                              <p:par>
                                <p:cTn id="187" presetID="22" presetClass="entr" presetSubtype="8" fill="hold" grpId="2" nodeType="withEffect">
                                  <p:stCondLst>
                                    <p:cond delay="10500"/>
                                  </p:stCondLst>
                                  <p:childTnLst>
                                    <p:set>
                                      <p:cBhvr>
                                        <p:cTn id="188" dur="1" fill="hold">
                                          <p:stCondLst>
                                            <p:cond delay="0"/>
                                          </p:stCondLst>
                                        </p:cTn>
                                        <p:tgtEl>
                                          <p:spTgt spid="78"/>
                                        </p:tgtEl>
                                        <p:attrNameLst>
                                          <p:attrName>style.visibility</p:attrName>
                                        </p:attrNameLst>
                                      </p:cBhvr>
                                      <p:to>
                                        <p:strVal val="visible"/>
                                      </p:to>
                                    </p:set>
                                    <p:animEffect transition="in" filter="wipe(left)">
                                      <p:cBhvr>
                                        <p:cTn id="189" dur="1500"/>
                                        <p:tgtEl>
                                          <p:spTgt spid="78"/>
                                        </p:tgtEl>
                                      </p:cBhvr>
                                    </p:animEffect>
                                  </p:childTnLst>
                                </p:cTn>
                              </p:par>
                              <p:par>
                                <p:cTn id="190" presetID="22" presetClass="entr" presetSubtype="8" fill="hold" grpId="2" nodeType="withEffect">
                                  <p:stCondLst>
                                    <p:cond delay="12500"/>
                                  </p:stCondLst>
                                  <p:childTnLst>
                                    <p:set>
                                      <p:cBhvr>
                                        <p:cTn id="191" dur="1" fill="hold">
                                          <p:stCondLst>
                                            <p:cond delay="0"/>
                                          </p:stCondLst>
                                        </p:cTn>
                                        <p:tgtEl>
                                          <p:spTgt spid="92"/>
                                        </p:tgtEl>
                                        <p:attrNameLst>
                                          <p:attrName>style.visibility</p:attrName>
                                        </p:attrNameLst>
                                      </p:cBhvr>
                                      <p:to>
                                        <p:strVal val="visible"/>
                                      </p:to>
                                    </p:set>
                                    <p:animEffect transition="in" filter="wipe(left)">
                                      <p:cBhvr>
                                        <p:cTn id="192" dur="1500"/>
                                        <p:tgtEl>
                                          <p:spTgt spid="92"/>
                                        </p:tgtEl>
                                      </p:cBhvr>
                                    </p:animEffect>
                                  </p:childTnLst>
                                </p:cTn>
                              </p:par>
                              <p:par>
                                <p:cTn id="193" presetID="22" presetClass="entr" presetSubtype="2" fill="hold" grpId="2" nodeType="withEffect">
                                  <p:stCondLst>
                                    <p:cond delay="13500"/>
                                  </p:stCondLst>
                                  <p:childTnLst>
                                    <p:set>
                                      <p:cBhvr>
                                        <p:cTn id="194" dur="1" fill="hold">
                                          <p:stCondLst>
                                            <p:cond delay="0"/>
                                          </p:stCondLst>
                                        </p:cTn>
                                        <p:tgtEl>
                                          <p:spTgt spid="83"/>
                                        </p:tgtEl>
                                        <p:attrNameLst>
                                          <p:attrName>style.visibility</p:attrName>
                                        </p:attrNameLst>
                                      </p:cBhvr>
                                      <p:to>
                                        <p:strVal val="visible"/>
                                      </p:to>
                                    </p:set>
                                    <p:animEffect transition="in" filter="wipe(right)">
                                      <p:cBhvr>
                                        <p:cTn id="195" dur="1500"/>
                                        <p:tgtEl>
                                          <p:spTgt spid="83"/>
                                        </p:tgtEl>
                                      </p:cBhvr>
                                    </p:animEffect>
                                  </p:childTnLst>
                                </p:cTn>
                              </p:par>
                              <p:par>
                                <p:cTn id="196" presetID="22" presetClass="entr" presetSubtype="8" fill="hold" grpId="2" nodeType="withEffect">
                                  <p:stCondLst>
                                    <p:cond delay="14500"/>
                                  </p:stCondLst>
                                  <p:childTnLst>
                                    <p:set>
                                      <p:cBhvr>
                                        <p:cTn id="197" dur="1" fill="hold">
                                          <p:stCondLst>
                                            <p:cond delay="0"/>
                                          </p:stCondLst>
                                        </p:cTn>
                                        <p:tgtEl>
                                          <p:spTgt spid="69"/>
                                        </p:tgtEl>
                                        <p:attrNameLst>
                                          <p:attrName>style.visibility</p:attrName>
                                        </p:attrNameLst>
                                      </p:cBhvr>
                                      <p:to>
                                        <p:strVal val="visible"/>
                                      </p:to>
                                    </p:set>
                                    <p:animEffect transition="in" filter="wipe(left)">
                                      <p:cBhvr>
                                        <p:cTn id="198" dur="1500"/>
                                        <p:tgtEl>
                                          <p:spTgt spid="69"/>
                                        </p:tgtEl>
                                      </p:cBhvr>
                                    </p:animEffect>
                                  </p:childTnLst>
                                </p:cTn>
                              </p:par>
                              <p:par>
                                <p:cTn id="199" presetID="22" presetClass="entr" presetSubtype="8" fill="hold" grpId="2" nodeType="withEffect">
                                  <p:stCondLst>
                                    <p:cond delay="15250"/>
                                  </p:stCondLst>
                                  <p:childTnLst>
                                    <p:set>
                                      <p:cBhvr>
                                        <p:cTn id="200" dur="1" fill="hold">
                                          <p:stCondLst>
                                            <p:cond delay="0"/>
                                          </p:stCondLst>
                                        </p:cTn>
                                        <p:tgtEl>
                                          <p:spTgt spid="71"/>
                                        </p:tgtEl>
                                        <p:attrNameLst>
                                          <p:attrName>style.visibility</p:attrName>
                                        </p:attrNameLst>
                                      </p:cBhvr>
                                      <p:to>
                                        <p:strVal val="visible"/>
                                      </p:to>
                                    </p:set>
                                    <p:animEffect transition="in" filter="wipe(left)">
                                      <p:cBhvr>
                                        <p:cTn id="201" dur="1500"/>
                                        <p:tgtEl>
                                          <p:spTgt spid="71"/>
                                        </p:tgtEl>
                                      </p:cBhvr>
                                    </p:animEffect>
                                  </p:childTnLst>
                                </p:cTn>
                              </p:par>
                              <p:par>
                                <p:cTn id="202" presetID="22" presetClass="entr" presetSubtype="8" fill="hold" grpId="0" nodeType="withEffect">
                                  <p:stCondLst>
                                    <p:cond delay="2500"/>
                                  </p:stCondLst>
                                  <p:childTnLst>
                                    <p:set>
                                      <p:cBhvr>
                                        <p:cTn id="203" dur="1" fill="hold">
                                          <p:stCondLst>
                                            <p:cond delay="0"/>
                                          </p:stCondLst>
                                        </p:cTn>
                                        <p:tgtEl>
                                          <p:spTgt spid="79"/>
                                        </p:tgtEl>
                                        <p:attrNameLst>
                                          <p:attrName>style.visibility</p:attrName>
                                        </p:attrNameLst>
                                      </p:cBhvr>
                                      <p:to>
                                        <p:strVal val="visible"/>
                                      </p:to>
                                    </p:set>
                                    <p:animEffect transition="in" filter="wipe(left)">
                                      <p:cBhvr>
                                        <p:cTn id="204" dur="1400"/>
                                        <p:tgtEl>
                                          <p:spTgt spid="79"/>
                                        </p:tgtEl>
                                      </p:cBhvr>
                                    </p:animEffect>
                                  </p:childTnLst>
                                </p:cTn>
                              </p:par>
                              <p:par>
                                <p:cTn id="205" presetID="22" presetClass="entr" presetSubtype="2" fill="hold" grpId="0" nodeType="withEffect">
                                  <p:stCondLst>
                                    <p:cond delay="3500"/>
                                  </p:stCondLst>
                                  <p:childTnLst>
                                    <p:set>
                                      <p:cBhvr>
                                        <p:cTn id="206" dur="1" fill="hold">
                                          <p:stCondLst>
                                            <p:cond delay="0"/>
                                          </p:stCondLst>
                                        </p:cTn>
                                        <p:tgtEl>
                                          <p:spTgt spid="75"/>
                                        </p:tgtEl>
                                        <p:attrNameLst>
                                          <p:attrName>style.visibility</p:attrName>
                                        </p:attrNameLst>
                                      </p:cBhvr>
                                      <p:to>
                                        <p:strVal val="visible"/>
                                      </p:to>
                                    </p:set>
                                    <p:animEffect transition="in" filter="wipe(right)">
                                      <p:cBhvr>
                                        <p:cTn id="207" dur="1400"/>
                                        <p:tgtEl>
                                          <p:spTgt spid="75"/>
                                        </p:tgtEl>
                                      </p:cBhvr>
                                    </p:animEffect>
                                  </p:childTnLst>
                                </p:cTn>
                              </p:par>
                              <p:par>
                                <p:cTn id="208" presetID="22" presetClass="entr" presetSubtype="8" fill="hold" grpId="0" nodeType="withEffect">
                                  <p:stCondLst>
                                    <p:cond delay="4500"/>
                                  </p:stCondLst>
                                  <p:childTnLst>
                                    <p:set>
                                      <p:cBhvr>
                                        <p:cTn id="209" dur="1" fill="hold">
                                          <p:stCondLst>
                                            <p:cond delay="0"/>
                                          </p:stCondLst>
                                        </p:cTn>
                                        <p:tgtEl>
                                          <p:spTgt spid="81"/>
                                        </p:tgtEl>
                                        <p:attrNameLst>
                                          <p:attrName>style.visibility</p:attrName>
                                        </p:attrNameLst>
                                      </p:cBhvr>
                                      <p:to>
                                        <p:strVal val="visible"/>
                                      </p:to>
                                    </p:set>
                                    <p:animEffect transition="in" filter="wipe(left)">
                                      <p:cBhvr>
                                        <p:cTn id="210" dur="1400"/>
                                        <p:tgtEl>
                                          <p:spTgt spid="81"/>
                                        </p:tgtEl>
                                      </p:cBhvr>
                                    </p:animEffect>
                                  </p:childTnLst>
                                </p:cTn>
                              </p:par>
                              <p:par>
                                <p:cTn id="211" presetID="22" presetClass="entr" presetSubtype="8" fill="hold" grpId="0" nodeType="withEffect">
                                  <p:stCondLst>
                                    <p:cond delay="5250"/>
                                  </p:stCondLst>
                                  <p:childTnLst>
                                    <p:set>
                                      <p:cBhvr>
                                        <p:cTn id="212" dur="1" fill="hold">
                                          <p:stCondLst>
                                            <p:cond delay="0"/>
                                          </p:stCondLst>
                                        </p:cTn>
                                        <p:tgtEl>
                                          <p:spTgt spid="84"/>
                                        </p:tgtEl>
                                        <p:attrNameLst>
                                          <p:attrName>style.visibility</p:attrName>
                                        </p:attrNameLst>
                                      </p:cBhvr>
                                      <p:to>
                                        <p:strVal val="visible"/>
                                      </p:to>
                                    </p:set>
                                    <p:animEffect transition="in" filter="wipe(left)">
                                      <p:cBhvr>
                                        <p:cTn id="213" dur="1400"/>
                                        <p:tgtEl>
                                          <p:spTgt spid="84"/>
                                        </p:tgtEl>
                                      </p:cBhvr>
                                    </p:animEffect>
                                  </p:childTnLst>
                                </p:cTn>
                              </p:par>
                              <p:par>
                                <p:cTn id="214" presetID="22" presetClass="entr" presetSubtype="2" fill="hold" grpId="0" nodeType="withEffect">
                                  <p:stCondLst>
                                    <p:cond delay="6250"/>
                                  </p:stCondLst>
                                  <p:childTnLst>
                                    <p:set>
                                      <p:cBhvr>
                                        <p:cTn id="215" dur="1" fill="hold">
                                          <p:stCondLst>
                                            <p:cond delay="0"/>
                                          </p:stCondLst>
                                        </p:cTn>
                                        <p:tgtEl>
                                          <p:spTgt spid="82"/>
                                        </p:tgtEl>
                                        <p:attrNameLst>
                                          <p:attrName>style.visibility</p:attrName>
                                        </p:attrNameLst>
                                      </p:cBhvr>
                                      <p:to>
                                        <p:strVal val="visible"/>
                                      </p:to>
                                    </p:set>
                                    <p:animEffect transition="in" filter="wipe(right)">
                                      <p:cBhvr>
                                        <p:cTn id="216" dur="1400"/>
                                        <p:tgtEl>
                                          <p:spTgt spid="82"/>
                                        </p:tgtEl>
                                      </p:cBhvr>
                                    </p:animEffect>
                                  </p:childTnLst>
                                </p:cTn>
                              </p:par>
                              <p:par>
                                <p:cTn id="217" presetID="22" presetClass="entr" presetSubtype="8" fill="hold" grpId="0" nodeType="withEffect">
                                  <p:stCondLst>
                                    <p:cond delay="7000"/>
                                  </p:stCondLst>
                                  <p:childTnLst>
                                    <p:set>
                                      <p:cBhvr>
                                        <p:cTn id="218" dur="1" fill="hold">
                                          <p:stCondLst>
                                            <p:cond delay="0"/>
                                          </p:stCondLst>
                                        </p:cTn>
                                        <p:tgtEl>
                                          <p:spTgt spid="72"/>
                                        </p:tgtEl>
                                        <p:attrNameLst>
                                          <p:attrName>style.visibility</p:attrName>
                                        </p:attrNameLst>
                                      </p:cBhvr>
                                      <p:to>
                                        <p:strVal val="visible"/>
                                      </p:to>
                                    </p:set>
                                    <p:animEffect transition="in" filter="wipe(left)">
                                      <p:cBhvr>
                                        <p:cTn id="219" dur="1400"/>
                                        <p:tgtEl>
                                          <p:spTgt spid="72"/>
                                        </p:tgtEl>
                                      </p:cBhvr>
                                    </p:animEffect>
                                  </p:childTnLst>
                                </p:cTn>
                              </p:par>
                              <p:par>
                                <p:cTn id="220" presetID="22" presetClass="exit" presetSubtype="2" fill="hold" grpId="1" nodeType="withEffect">
                                  <p:stCondLst>
                                    <p:cond delay="5250"/>
                                  </p:stCondLst>
                                  <p:childTnLst>
                                    <p:animEffect transition="out" filter="wipe(right)">
                                      <p:cBhvr>
                                        <p:cTn id="221" dur="1500"/>
                                        <p:tgtEl>
                                          <p:spTgt spid="79"/>
                                        </p:tgtEl>
                                      </p:cBhvr>
                                    </p:animEffect>
                                    <p:set>
                                      <p:cBhvr>
                                        <p:cTn id="222" dur="1" fill="hold">
                                          <p:stCondLst>
                                            <p:cond delay="1499"/>
                                          </p:stCondLst>
                                        </p:cTn>
                                        <p:tgtEl>
                                          <p:spTgt spid="79"/>
                                        </p:tgtEl>
                                        <p:attrNameLst>
                                          <p:attrName>style.visibility</p:attrName>
                                        </p:attrNameLst>
                                      </p:cBhvr>
                                      <p:to>
                                        <p:strVal val="hidden"/>
                                      </p:to>
                                    </p:set>
                                  </p:childTnLst>
                                </p:cTn>
                              </p:par>
                              <p:par>
                                <p:cTn id="223" presetID="22" presetClass="exit" presetSubtype="2" fill="hold" grpId="1" nodeType="withEffect">
                                  <p:stCondLst>
                                    <p:cond delay="6000"/>
                                  </p:stCondLst>
                                  <p:childTnLst>
                                    <p:animEffect transition="out" filter="wipe(right)">
                                      <p:cBhvr>
                                        <p:cTn id="224" dur="1500"/>
                                        <p:tgtEl>
                                          <p:spTgt spid="75"/>
                                        </p:tgtEl>
                                      </p:cBhvr>
                                    </p:animEffect>
                                    <p:set>
                                      <p:cBhvr>
                                        <p:cTn id="225" dur="1" fill="hold">
                                          <p:stCondLst>
                                            <p:cond delay="1499"/>
                                          </p:stCondLst>
                                        </p:cTn>
                                        <p:tgtEl>
                                          <p:spTgt spid="75"/>
                                        </p:tgtEl>
                                        <p:attrNameLst>
                                          <p:attrName>style.visibility</p:attrName>
                                        </p:attrNameLst>
                                      </p:cBhvr>
                                      <p:to>
                                        <p:strVal val="hidden"/>
                                      </p:to>
                                    </p:set>
                                  </p:childTnLst>
                                </p:cTn>
                              </p:par>
                              <p:par>
                                <p:cTn id="226" presetID="22" presetClass="exit" presetSubtype="2" fill="hold" grpId="1" nodeType="withEffect">
                                  <p:stCondLst>
                                    <p:cond delay="6750"/>
                                  </p:stCondLst>
                                  <p:childTnLst>
                                    <p:animEffect transition="out" filter="wipe(right)">
                                      <p:cBhvr>
                                        <p:cTn id="227" dur="1500"/>
                                        <p:tgtEl>
                                          <p:spTgt spid="81"/>
                                        </p:tgtEl>
                                      </p:cBhvr>
                                    </p:animEffect>
                                    <p:set>
                                      <p:cBhvr>
                                        <p:cTn id="228" dur="1" fill="hold">
                                          <p:stCondLst>
                                            <p:cond delay="1499"/>
                                          </p:stCondLst>
                                        </p:cTn>
                                        <p:tgtEl>
                                          <p:spTgt spid="81"/>
                                        </p:tgtEl>
                                        <p:attrNameLst>
                                          <p:attrName>style.visibility</p:attrName>
                                        </p:attrNameLst>
                                      </p:cBhvr>
                                      <p:to>
                                        <p:strVal val="hidden"/>
                                      </p:to>
                                    </p:set>
                                  </p:childTnLst>
                                </p:cTn>
                              </p:par>
                              <p:par>
                                <p:cTn id="229" presetID="22" presetClass="exit" presetSubtype="2" fill="hold" grpId="1" nodeType="withEffect">
                                  <p:stCondLst>
                                    <p:cond delay="8000"/>
                                  </p:stCondLst>
                                  <p:childTnLst>
                                    <p:animEffect transition="out" filter="wipe(right)">
                                      <p:cBhvr>
                                        <p:cTn id="230" dur="1500"/>
                                        <p:tgtEl>
                                          <p:spTgt spid="84"/>
                                        </p:tgtEl>
                                      </p:cBhvr>
                                    </p:animEffect>
                                    <p:set>
                                      <p:cBhvr>
                                        <p:cTn id="231" dur="1" fill="hold">
                                          <p:stCondLst>
                                            <p:cond delay="1499"/>
                                          </p:stCondLst>
                                        </p:cTn>
                                        <p:tgtEl>
                                          <p:spTgt spid="84"/>
                                        </p:tgtEl>
                                        <p:attrNameLst>
                                          <p:attrName>style.visibility</p:attrName>
                                        </p:attrNameLst>
                                      </p:cBhvr>
                                      <p:to>
                                        <p:strVal val="hidden"/>
                                      </p:to>
                                    </p:set>
                                  </p:childTnLst>
                                </p:cTn>
                              </p:par>
                              <p:par>
                                <p:cTn id="232" presetID="22" presetClass="exit" presetSubtype="2" fill="hold" grpId="1" nodeType="withEffect">
                                  <p:stCondLst>
                                    <p:cond delay="8750"/>
                                  </p:stCondLst>
                                  <p:childTnLst>
                                    <p:animEffect transition="out" filter="wipe(right)">
                                      <p:cBhvr>
                                        <p:cTn id="233" dur="1500"/>
                                        <p:tgtEl>
                                          <p:spTgt spid="82"/>
                                        </p:tgtEl>
                                      </p:cBhvr>
                                    </p:animEffect>
                                    <p:set>
                                      <p:cBhvr>
                                        <p:cTn id="234" dur="1" fill="hold">
                                          <p:stCondLst>
                                            <p:cond delay="1499"/>
                                          </p:stCondLst>
                                        </p:cTn>
                                        <p:tgtEl>
                                          <p:spTgt spid="82"/>
                                        </p:tgtEl>
                                        <p:attrNameLst>
                                          <p:attrName>style.visibility</p:attrName>
                                        </p:attrNameLst>
                                      </p:cBhvr>
                                      <p:to>
                                        <p:strVal val="hidden"/>
                                      </p:to>
                                    </p:set>
                                  </p:childTnLst>
                                </p:cTn>
                              </p:par>
                              <p:par>
                                <p:cTn id="235" presetID="22" presetClass="exit" presetSubtype="2" fill="hold" grpId="1" nodeType="withEffect">
                                  <p:stCondLst>
                                    <p:cond delay="10000"/>
                                  </p:stCondLst>
                                  <p:childTnLst>
                                    <p:animEffect transition="out" filter="wipe(right)">
                                      <p:cBhvr>
                                        <p:cTn id="236" dur="1500"/>
                                        <p:tgtEl>
                                          <p:spTgt spid="72"/>
                                        </p:tgtEl>
                                      </p:cBhvr>
                                    </p:animEffect>
                                    <p:set>
                                      <p:cBhvr>
                                        <p:cTn id="237" dur="1" fill="hold">
                                          <p:stCondLst>
                                            <p:cond delay="1499"/>
                                          </p:stCondLst>
                                        </p:cTn>
                                        <p:tgtEl>
                                          <p:spTgt spid="72"/>
                                        </p:tgtEl>
                                        <p:attrNameLst>
                                          <p:attrName>style.visibility</p:attrName>
                                        </p:attrNameLst>
                                      </p:cBhvr>
                                      <p:to>
                                        <p:strVal val="hidden"/>
                                      </p:to>
                                    </p:set>
                                  </p:childTnLst>
                                </p:cTn>
                              </p:par>
                              <p:par>
                                <p:cTn id="238" presetID="22" presetClass="entr" presetSubtype="8" fill="hold" grpId="2" nodeType="withEffect">
                                  <p:stCondLst>
                                    <p:cond delay="9000"/>
                                  </p:stCondLst>
                                  <p:childTnLst>
                                    <p:set>
                                      <p:cBhvr>
                                        <p:cTn id="239" dur="1" fill="hold">
                                          <p:stCondLst>
                                            <p:cond delay="0"/>
                                          </p:stCondLst>
                                        </p:cTn>
                                        <p:tgtEl>
                                          <p:spTgt spid="79"/>
                                        </p:tgtEl>
                                        <p:attrNameLst>
                                          <p:attrName>style.visibility</p:attrName>
                                        </p:attrNameLst>
                                      </p:cBhvr>
                                      <p:to>
                                        <p:strVal val="visible"/>
                                      </p:to>
                                    </p:set>
                                    <p:animEffect transition="in" filter="wipe(left)">
                                      <p:cBhvr>
                                        <p:cTn id="240" dur="1500"/>
                                        <p:tgtEl>
                                          <p:spTgt spid="79"/>
                                        </p:tgtEl>
                                      </p:cBhvr>
                                    </p:animEffect>
                                  </p:childTnLst>
                                </p:cTn>
                              </p:par>
                              <p:par>
                                <p:cTn id="241" presetID="22" presetClass="entr" presetSubtype="8" fill="hold" grpId="2" nodeType="withEffect">
                                  <p:stCondLst>
                                    <p:cond delay="10000"/>
                                  </p:stCondLst>
                                  <p:childTnLst>
                                    <p:set>
                                      <p:cBhvr>
                                        <p:cTn id="242" dur="1" fill="hold">
                                          <p:stCondLst>
                                            <p:cond delay="0"/>
                                          </p:stCondLst>
                                        </p:cTn>
                                        <p:tgtEl>
                                          <p:spTgt spid="75"/>
                                        </p:tgtEl>
                                        <p:attrNameLst>
                                          <p:attrName>style.visibility</p:attrName>
                                        </p:attrNameLst>
                                      </p:cBhvr>
                                      <p:to>
                                        <p:strVal val="visible"/>
                                      </p:to>
                                    </p:set>
                                    <p:animEffect transition="in" filter="wipe(left)">
                                      <p:cBhvr>
                                        <p:cTn id="243" dur="1500"/>
                                        <p:tgtEl>
                                          <p:spTgt spid="75"/>
                                        </p:tgtEl>
                                      </p:cBhvr>
                                    </p:animEffect>
                                  </p:childTnLst>
                                </p:cTn>
                              </p:par>
                              <p:par>
                                <p:cTn id="244" presetID="22" presetClass="entr" presetSubtype="8" fill="hold" grpId="2" nodeType="withEffect">
                                  <p:stCondLst>
                                    <p:cond delay="10250"/>
                                  </p:stCondLst>
                                  <p:childTnLst>
                                    <p:set>
                                      <p:cBhvr>
                                        <p:cTn id="245" dur="1" fill="hold">
                                          <p:stCondLst>
                                            <p:cond delay="0"/>
                                          </p:stCondLst>
                                        </p:cTn>
                                        <p:tgtEl>
                                          <p:spTgt spid="81"/>
                                        </p:tgtEl>
                                        <p:attrNameLst>
                                          <p:attrName>style.visibility</p:attrName>
                                        </p:attrNameLst>
                                      </p:cBhvr>
                                      <p:to>
                                        <p:strVal val="visible"/>
                                      </p:to>
                                    </p:set>
                                    <p:animEffect transition="in" filter="wipe(left)">
                                      <p:cBhvr>
                                        <p:cTn id="246" dur="1500"/>
                                        <p:tgtEl>
                                          <p:spTgt spid="81"/>
                                        </p:tgtEl>
                                      </p:cBhvr>
                                    </p:animEffect>
                                  </p:childTnLst>
                                </p:cTn>
                              </p:par>
                              <p:par>
                                <p:cTn id="247" presetID="22" presetClass="entr" presetSubtype="2" fill="hold" grpId="2" nodeType="withEffect">
                                  <p:stCondLst>
                                    <p:cond delay="10750"/>
                                  </p:stCondLst>
                                  <p:childTnLst>
                                    <p:set>
                                      <p:cBhvr>
                                        <p:cTn id="248" dur="1" fill="hold">
                                          <p:stCondLst>
                                            <p:cond delay="0"/>
                                          </p:stCondLst>
                                        </p:cTn>
                                        <p:tgtEl>
                                          <p:spTgt spid="84"/>
                                        </p:tgtEl>
                                        <p:attrNameLst>
                                          <p:attrName>style.visibility</p:attrName>
                                        </p:attrNameLst>
                                      </p:cBhvr>
                                      <p:to>
                                        <p:strVal val="visible"/>
                                      </p:to>
                                    </p:set>
                                    <p:animEffect transition="in" filter="wipe(right)">
                                      <p:cBhvr>
                                        <p:cTn id="249" dur="1500"/>
                                        <p:tgtEl>
                                          <p:spTgt spid="84"/>
                                        </p:tgtEl>
                                      </p:cBhvr>
                                    </p:animEffect>
                                  </p:childTnLst>
                                </p:cTn>
                              </p:par>
                              <p:par>
                                <p:cTn id="250" presetID="22" presetClass="entr" presetSubtype="8" fill="hold" grpId="2" nodeType="withEffect">
                                  <p:stCondLst>
                                    <p:cond delay="11000"/>
                                  </p:stCondLst>
                                  <p:childTnLst>
                                    <p:set>
                                      <p:cBhvr>
                                        <p:cTn id="251" dur="1" fill="hold">
                                          <p:stCondLst>
                                            <p:cond delay="0"/>
                                          </p:stCondLst>
                                        </p:cTn>
                                        <p:tgtEl>
                                          <p:spTgt spid="82"/>
                                        </p:tgtEl>
                                        <p:attrNameLst>
                                          <p:attrName>style.visibility</p:attrName>
                                        </p:attrNameLst>
                                      </p:cBhvr>
                                      <p:to>
                                        <p:strVal val="visible"/>
                                      </p:to>
                                    </p:set>
                                    <p:animEffect transition="in" filter="wipe(left)">
                                      <p:cBhvr>
                                        <p:cTn id="252" dur="1500"/>
                                        <p:tgtEl>
                                          <p:spTgt spid="82"/>
                                        </p:tgtEl>
                                      </p:cBhvr>
                                    </p:animEffect>
                                  </p:childTnLst>
                                </p:cTn>
                              </p:par>
                              <p:par>
                                <p:cTn id="253" presetID="22" presetClass="entr" presetSubtype="8" fill="hold" grpId="2" nodeType="withEffect">
                                  <p:stCondLst>
                                    <p:cond delay="17000"/>
                                  </p:stCondLst>
                                  <p:childTnLst>
                                    <p:set>
                                      <p:cBhvr>
                                        <p:cTn id="254" dur="1" fill="hold">
                                          <p:stCondLst>
                                            <p:cond delay="0"/>
                                          </p:stCondLst>
                                        </p:cTn>
                                        <p:tgtEl>
                                          <p:spTgt spid="118"/>
                                        </p:tgtEl>
                                        <p:attrNameLst>
                                          <p:attrName>style.visibility</p:attrName>
                                        </p:attrNameLst>
                                      </p:cBhvr>
                                      <p:to>
                                        <p:strVal val="visible"/>
                                      </p:to>
                                    </p:set>
                                    <p:animEffect transition="in" filter="wipe(left)">
                                      <p:cBhvr>
                                        <p:cTn id="255" dur="1500"/>
                                        <p:tgtEl>
                                          <p:spTgt spid="118"/>
                                        </p:tgtEl>
                                      </p:cBhvr>
                                    </p:animEffect>
                                  </p:childTnLst>
                                </p:cTn>
                              </p:par>
                              <p:par>
                                <p:cTn id="256" presetID="22" presetClass="entr" presetSubtype="8" fill="hold" grpId="2" nodeType="withEffect">
                                  <p:stCondLst>
                                    <p:cond delay="11750"/>
                                  </p:stCondLst>
                                  <p:childTnLst>
                                    <p:set>
                                      <p:cBhvr>
                                        <p:cTn id="257" dur="1" fill="hold">
                                          <p:stCondLst>
                                            <p:cond delay="0"/>
                                          </p:stCondLst>
                                        </p:cTn>
                                        <p:tgtEl>
                                          <p:spTgt spid="72"/>
                                        </p:tgtEl>
                                        <p:attrNameLst>
                                          <p:attrName>style.visibility</p:attrName>
                                        </p:attrNameLst>
                                      </p:cBhvr>
                                      <p:to>
                                        <p:strVal val="visible"/>
                                      </p:to>
                                    </p:set>
                                    <p:animEffect transition="in" filter="wipe(left)">
                                      <p:cBhvr>
                                        <p:cTn id="258" dur="1500"/>
                                        <p:tgtEl>
                                          <p:spTgt spid="72"/>
                                        </p:tgtEl>
                                      </p:cBhvr>
                                    </p:animEffect>
                                  </p:childTnLst>
                                </p:cTn>
                              </p:par>
                              <p:par>
                                <p:cTn id="259" presetID="22" presetClass="entr" presetSubtype="8" fill="hold" grpId="0" nodeType="withEffect">
                                  <p:stCondLst>
                                    <p:cond delay="1750"/>
                                  </p:stCondLst>
                                  <p:childTnLst>
                                    <p:set>
                                      <p:cBhvr>
                                        <p:cTn id="260" dur="1" fill="hold">
                                          <p:stCondLst>
                                            <p:cond delay="0"/>
                                          </p:stCondLst>
                                        </p:cTn>
                                        <p:tgtEl>
                                          <p:spTgt spid="65"/>
                                        </p:tgtEl>
                                        <p:attrNameLst>
                                          <p:attrName>style.visibility</p:attrName>
                                        </p:attrNameLst>
                                      </p:cBhvr>
                                      <p:to>
                                        <p:strVal val="visible"/>
                                      </p:to>
                                    </p:set>
                                    <p:animEffect transition="in" filter="wipe(left)">
                                      <p:cBhvr>
                                        <p:cTn id="261" dur="1400"/>
                                        <p:tgtEl>
                                          <p:spTgt spid="65"/>
                                        </p:tgtEl>
                                      </p:cBhvr>
                                    </p:animEffect>
                                  </p:childTnLst>
                                </p:cTn>
                              </p:par>
                              <p:par>
                                <p:cTn id="262" presetID="22" presetClass="exit" presetSubtype="2" fill="hold" grpId="1" nodeType="withEffect">
                                  <p:stCondLst>
                                    <p:cond delay="6250"/>
                                  </p:stCondLst>
                                  <p:childTnLst>
                                    <p:animEffect transition="out" filter="wipe(right)">
                                      <p:cBhvr>
                                        <p:cTn id="263" dur="1500"/>
                                        <p:tgtEl>
                                          <p:spTgt spid="65"/>
                                        </p:tgtEl>
                                      </p:cBhvr>
                                    </p:animEffect>
                                    <p:set>
                                      <p:cBhvr>
                                        <p:cTn id="264" dur="1" fill="hold">
                                          <p:stCondLst>
                                            <p:cond delay="1499"/>
                                          </p:stCondLst>
                                        </p:cTn>
                                        <p:tgtEl>
                                          <p:spTgt spid="65"/>
                                        </p:tgtEl>
                                        <p:attrNameLst>
                                          <p:attrName>style.visibility</p:attrName>
                                        </p:attrNameLst>
                                      </p:cBhvr>
                                      <p:to>
                                        <p:strVal val="hidden"/>
                                      </p:to>
                                    </p:set>
                                  </p:childTnLst>
                                </p:cTn>
                              </p:par>
                              <p:par>
                                <p:cTn id="265" presetID="22" presetClass="entr" presetSubtype="8" fill="hold" grpId="2" nodeType="withEffect">
                                  <p:stCondLst>
                                    <p:cond delay="10500"/>
                                  </p:stCondLst>
                                  <p:childTnLst>
                                    <p:set>
                                      <p:cBhvr>
                                        <p:cTn id="266" dur="1" fill="hold">
                                          <p:stCondLst>
                                            <p:cond delay="0"/>
                                          </p:stCondLst>
                                        </p:cTn>
                                        <p:tgtEl>
                                          <p:spTgt spid="65"/>
                                        </p:tgtEl>
                                        <p:attrNameLst>
                                          <p:attrName>style.visibility</p:attrName>
                                        </p:attrNameLst>
                                      </p:cBhvr>
                                      <p:to>
                                        <p:strVal val="visible"/>
                                      </p:to>
                                    </p:set>
                                    <p:animEffect transition="in" filter="wipe(left)">
                                      <p:cBhvr>
                                        <p:cTn id="267" dur="1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65" grpId="1" animBg="1"/>
      <p:bldP spid="65" grpId="2" animBg="1"/>
      <p:bldP spid="66" grpId="0" animBg="1"/>
      <p:bldP spid="66" grpId="1" animBg="1"/>
      <p:bldP spid="66" grpId="2" animBg="1"/>
      <p:bldP spid="67" grpId="0" animBg="1"/>
      <p:bldP spid="67" grpId="1" animBg="1"/>
      <p:bldP spid="67" grpId="2" animBg="1"/>
      <p:bldP spid="68" grpId="0" animBg="1"/>
      <p:bldP spid="68" grpId="1" animBg="1"/>
      <p:bldP spid="68" grpId="2" animBg="1"/>
      <p:bldP spid="69" grpId="0" animBg="1"/>
      <p:bldP spid="69" grpId="1" animBg="1"/>
      <p:bldP spid="69" grpId="2" animBg="1"/>
      <p:bldP spid="70" grpId="0" animBg="1"/>
      <p:bldP spid="70" grpId="1" animBg="1"/>
      <p:bldP spid="70" grpId="2" animBg="1"/>
      <p:bldP spid="71" grpId="0" animBg="1"/>
      <p:bldP spid="71" grpId="1" animBg="1"/>
      <p:bldP spid="71" grpId="2" animBg="1"/>
      <p:bldP spid="72" grpId="0" animBg="1"/>
      <p:bldP spid="72" grpId="1" animBg="1"/>
      <p:bldP spid="72" grpId="2" animBg="1"/>
      <p:bldP spid="73" grpId="0" animBg="1"/>
      <p:bldP spid="73" grpId="1" animBg="1"/>
      <p:bldP spid="73" grpId="2" animBg="1"/>
      <p:bldP spid="74" grpId="0" animBg="1"/>
      <p:bldP spid="74" grpId="1" animBg="1"/>
      <p:bldP spid="74" grpId="2" animBg="1"/>
      <p:bldP spid="75" grpId="0" animBg="1"/>
      <p:bldP spid="75" grpId="1" animBg="1"/>
      <p:bldP spid="75" grpId="2" animBg="1"/>
      <p:bldP spid="76" grpId="0" animBg="1"/>
      <p:bldP spid="76" grpId="1" animBg="1"/>
      <p:bldP spid="76" grpId="2" animBg="1"/>
      <p:bldP spid="77" grpId="0" animBg="1"/>
      <p:bldP spid="77" grpId="1" animBg="1"/>
      <p:bldP spid="77" grpId="2" animBg="1"/>
      <p:bldP spid="78" grpId="0" animBg="1"/>
      <p:bldP spid="78" grpId="1" animBg="1"/>
      <p:bldP spid="78" grpId="2" animBg="1"/>
      <p:bldP spid="79" grpId="0" animBg="1"/>
      <p:bldP spid="79" grpId="1" animBg="1"/>
      <p:bldP spid="79" grpId="2" animBg="1"/>
      <p:bldP spid="80" grpId="0" animBg="1"/>
      <p:bldP spid="80" grpId="1" animBg="1"/>
      <p:bldP spid="80" grpId="2" animBg="1"/>
      <p:bldP spid="81" grpId="0" animBg="1"/>
      <p:bldP spid="81" grpId="1" animBg="1"/>
      <p:bldP spid="81" grpId="2" animBg="1"/>
      <p:bldP spid="82" grpId="0" animBg="1"/>
      <p:bldP spid="82" grpId="1" animBg="1"/>
      <p:bldP spid="82" grpId="2" animBg="1"/>
      <p:bldP spid="83" grpId="0" animBg="1"/>
      <p:bldP spid="83" grpId="1" animBg="1"/>
      <p:bldP spid="83" grpId="2" animBg="1"/>
      <p:bldP spid="84" grpId="0" animBg="1"/>
      <p:bldP spid="84" grpId="1" animBg="1"/>
      <p:bldP spid="84" grpId="2" animBg="1"/>
      <p:bldP spid="85" grpId="0" animBg="1"/>
      <p:bldP spid="85" grpId="1" animBg="1"/>
      <p:bldP spid="86" grpId="0" animBg="1"/>
      <p:bldP spid="86" grpId="1" animBg="1"/>
      <p:bldP spid="87" grpId="0" animBg="1"/>
      <p:bldP spid="87" grpId="1" animBg="1"/>
      <p:bldP spid="88" grpId="0" animBg="1"/>
      <p:bldP spid="88" grpId="1" animBg="1"/>
      <p:bldP spid="89" grpId="0" animBg="1"/>
      <p:bldP spid="89" grpId="1" animBg="1"/>
      <p:bldP spid="90" grpId="0" animBg="1"/>
      <p:bldP spid="90" grpId="1" animBg="1"/>
      <p:bldP spid="91" grpId="0" animBg="1"/>
      <p:bldP spid="91" grpId="1" animBg="1"/>
      <p:bldP spid="92" grpId="0" animBg="1"/>
      <p:bldP spid="92" grpId="1" animBg="1"/>
      <p:bldP spid="92" grpId="2" animBg="1"/>
      <p:bldP spid="117" grpId="0" animBg="1"/>
      <p:bldP spid="117" grpId="1" animBg="1"/>
      <p:bldP spid="118" grpId="0" animBg="1"/>
      <p:bldP spid="118" grpId="1" animBg="1"/>
      <p:bldP spid="118" grpId="2" animBg="1"/>
    </p:bld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0205" y="3083652"/>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739455678"/>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9"/>
            <a:ext cx="11653523" cy="2424715"/>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19174753"/>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11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82735138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Tree>
    <p:extLst>
      <p:ext uri="{BB962C8B-B14F-4D97-AF65-F5344CB8AC3E}">
        <p14:creationId xmlns:p14="http://schemas.microsoft.com/office/powerpoint/2010/main" val="390480137"/>
      </p:ext>
    </p:extLst>
  </p:cSld>
  <p:clrMapOvr>
    <a:masterClrMapping/>
  </p:clrMapOvr>
  <p:transition>
    <p:fade/>
  </p:transition>
  <p:hf sldNum="0" hdr="0" dt="0"/>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defRPr sz="2800"/>
            </a:lvl1pPr>
          </a:lstStyle>
          <a:p>
            <a:r>
              <a:rPr lang="en-US"/>
              <a:t>Click to edit Master title style</a:t>
            </a:r>
            <a:endParaRPr lang="en-US" dirty="0"/>
          </a:p>
        </p:txBody>
      </p:sp>
      <p:sp>
        <p:nvSpPr>
          <p:cNvPr id="6" name="Text Placeholder 5"/>
          <p:cNvSpPr>
            <a:spLocks noGrp="1"/>
          </p:cNvSpPr>
          <p:nvPr>
            <p:ph type="body" sz="quarter" idx="10"/>
          </p:nvPr>
        </p:nvSpPr>
        <p:spPr>
          <a:xfrm>
            <a:off x="5761038" y="1905001"/>
            <a:ext cx="6164042" cy="1323196"/>
          </a:xfrm>
        </p:spPr>
        <p:txBody>
          <a:bodyPr/>
          <a:lstStyle>
            <a:lvl1pPr marL="0" indent="0">
              <a:spcBef>
                <a:spcPts val="1200"/>
              </a:spcBef>
              <a:buNone/>
              <a:defRPr sz="1600">
                <a:solidFill>
                  <a:schemeClr val="tx1"/>
                </a:solidFill>
                <a:latin typeface="Segoe Semibold" panose="020B0702040504020203" pitchFamily="34" charset="0"/>
              </a:defRPr>
            </a:lvl1pPr>
            <a:lvl2pPr marL="0" indent="0">
              <a:spcBef>
                <a:spcPts val="600"/>
              </a:spcBef>
              <a:buNone/>
              <a:defRPr sz="1400">
                <a:solidFill>
                  <a:schemeClr val="tx1"/>
                </a:solidFill>
              </a:defRPr>
            </a:lvl2pPr>
            <a:lvl3pPr marL="344422" indent="-223795">
              <a:defRPr sz="1200">
                <a:solidFill>
                  <a:schemeClr val="tx1"/>
                </a:solidFill>
              </a:defRPr>
            </a:lvl3pPr>
            <a:lvl4pPr marL="509490" indent="-165068">
              <a:defRPr sz="1100">
                <a:solidFill>
                  <a:schemeClr val="tx1"/>
                </a:solidFill>
              </a:defRPr>
            </a:lvl4pPr>
            <a:lvl5pPr marL="974538" indent="-223795">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69241" y="1475440"/>
            <a:ext cx="5033554" cy="500715"/>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00">
                <a:solidFill>
                  <a:schemeClr val="accent1"/>
                </a:solidFill>
                <a:latin typeface="+mn-lt"/>
              </a:defRPr>
            </a:lvl2pPr>
          </a:lstStyle>
          <a:p>
            <a:pPr lvl="0" fontAlgn="base">
              <a:spcBef>
                <a:spcPts val="600"/>
              </a:spcBef>
              <a:spcAft>
                <a:spcPct val="0"/>
              </a:spcAft>
            </a:pPr>
            <a:r>
              <a:rPr lang="en-US" dirty="0"/>
              <a:t>Click to edit Master text styles</a:t>
            </a:r>
          </a:p>
          <a:p>
            <a:pPr lvl="1" fontAlgn="base">
              <a:spcBef>
                <a:spcPts val="600"/>
              </a:spcBef>
              <a:spcAft>
                <a:spcPct val="0"/>
              </a:spcAft>
            </a:pPr>
            <a:r>
              <a:rPr lang="en-US" dirty="0"/>
              <a:t>VNVN</a:t>
            </a:r>
          </a:p>
        </p:txBody>
      </p:sp>
      <p:sp>
        <p:nvSpPr>
          <p:cNvPr id="12" name="Text Placeholder 8"/>
          <p:cNvSpPr>
            <a:spLocks noGrp="1"/>
          </p:cNvSpPr>
          <p:nvPr>
            <p:ph type="body" sz="quarter" idx="12"/>
          </p:nvPr>
        </p:nvSpPr>
        <p:spPr>
          <a:xfrm>
            <a:off x="5761037" y="1475439"/>
            <a:ext cx="6218237" cy="221599"/>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00"/>
              </a:spcBef>
              <a:spcAft>
                <a:spcPct val="0"/>
              </a:spcAft>
            </a:pPr>
            <a:r>
              <a:rPr lang="en-US" dirty="0"/>
              <a:t>Click to edit Master text styles</a:t>
            </a:r>
          </a:p>
        </p:txBody>
      </p:sp>
    </p:spTree>
    <p:extLst>
      <p:ext uri="{BB962C8B-B14F-4D97-AF65-F5344CB8AC3E}">
        <p14:creationId xmlns:p14="http://schemas.microsoft.com/office/powerpoint/2010/main" val="2704894538"/>
      </p:ext>
    </p:extLst>
  </p:cSld>
  <p:clrMapOvr>
    <a:masterClrMapping/>
  </p:clrMapOvr>
  <p:transition>
    <p:fade/>
  </p:transition>
  <p:hf sldNum="0" hdr="0" dt="0"/>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2"/>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7532640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 name="Rectangle 35"/>
          <p:cNvSpPr/>
          <p:nvPr userDrawn="1"/>
        </p:nvSpPr>
        <p:spPr>
          <a:xfrm>
            <a:off x="-2676" y="-3047"/>
            <a:ext cx="12192000" cy="6858000"/>
          </a:xfrm>
          <a:prstGeom prst="rect">
            <a:avLst/>
          </a:prstGeom>
          <a:gradFill>
            <a:gsLst>
              <a:gs pos="0">
                <a:srgbClr val="032145">
                  <a:lumMod val="75000"/>
                  <a:lumOff val="25000"/>
                  <a:alpha val="40000"/>
                </a:srgbClr>
              </a:gs>
              <a:gs pos="100000">
                <a:srgbClr val="032145">
                  <a:alpha val="86000"/>
                </a:srgbClr>
              </a:gs>
            </a:gsLst>
            <a:path path="circle">
              <a:fillToRect l="50000" t="50000" r="50000" b="50000"/>
            </a:path>
          </a:gradFill>
          <a:ln w="254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Segoe UI"/>
              <a:ea typeface="+mn-ea"/>
              <a:cs typeface="+mn-cs"/>
            </a:endParaRPr>
          </a:p>
        </p:txBody>
      </p:sp>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grpSp>
        <p:nvGrpSpPr>
          <p:cNvPr id="9" name="Group 5"/>
          <p:cNvGrpSpPr>
            <a:grpSpLocks noChangeAspect="1"/>
          </p:cNvGrpSpPr>
          <p:nvPr userDrawn="1"/>
        </p:nvGrpSpPr>
        <p:grpSpPr bwMode="auto">
          <a:xfrm>
            <a:off x="10592180" y="6362050"/>
            <a:ext cx="1291715" cy="333661"/>
            <a:chOff x="4870" y="227"/>
            <a:chExt cx="662" cy="171"/>
          </a:xfrm>
        </p:grpSpPr>
        <p:sp>
          <p:nvSpPr>
            <p:cNvPr id="10"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1"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2"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3"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4"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5"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6"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7"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8"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9"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pic>
        <p:nvPicPr>
          <p:cNvPr id="23" name="Imag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13243" y="375126"/>
            <a:ext cx="4565515" cy="1044997"/>
          </a:xfrm>
          <a:prstGeom prst="rect">
            <a:avLst/>
          </a:prstGeom>
        </p:spPr>
      </p:pic>
      <p:sp>
        <p:nvSpPr>
          <p:cNvPr id="28" name="Forme libre 27"/>
          <p:cNvSpPr/>
          <p:nvPr userDrawn="1"/>
        </p:nvSpPr>
        <p:spPr>
          <a:xfrm>
            <a:off x="2" y="3072651"/>
            <a:ext cx="7728180" cy="2609987"/>
          </a:xfrm>
          <a:custGeom>
            <a:avLst/>
            <a:gdLst>
              <a:gd name="connsiteX0" fmla="*/ 0 w 5299780"/>
              <a:gd name="connsiteY0" fmla="*/ 0 h 1789859"/>
              <a:gd name="connsiteX1" fmla="*/ 4404851 w 5299780"/>
              <a:gd name="connsiteY1" fmla="*/ 0 h 1789859"/>
              <a:gd name="connsiteX2" fmla="*/ 5299780 w 5299780"/>
              <a:gd name="connsiteY2" fmla="*/ 894930 h 1789859"/>
              <a:gd name="connsiteX3" fmla="*/ 4404851 w 5299780"/>
              <a:gd name="connsiteY3" fmla="*/ 1789859 h 1789859"/>
              <a:gd name="connsiteX4" fmla="*/ 0 w 5299780"/>
              <a:gd name="connsiteY4" fmla="*/ 1789859 h 1789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9780" h="1789859">
                <a:moveTo>
                  <a:pt x="0" y="0"/>
                </a:moveTo>
                <a:lnTo>
                  <a:pt x="4404851" y="0"/>
                </a:lnTo>
                <a:cubicBezTo>
                  <a:pt x="4899107" y="0"/>
                  <a:pt x="5299780" y="400673"/>
                  <a:pt x="5299780" y="894930"/>
                </a:cubicBezTo>
                <a:cubicBezTo>
                  <a:pt x="5299780" y="1389186"/>
                  <a:pt x="4899107" y="1789859"/>
                  <a:pt x="4404851" y="1789859"/>
                </a:cubicBezTo>
                <a:lnTo>
                  <a:pt x="0" y="1789859"/>
                </a:lnTo>
                <a:close/>
              </a:path>
            </a:pathLst>
          </a:custGeom>
          <a:gradFill flip="none" rotWithShape="1">
            <a:gsLst>
              <a:gs pos="0">
                <a:schemeClr val="tx2">
                  <a:lumMod val="90000"/>
                  <a:lumOff val="10000"/>
                  <a:alpha val="57000"/>
                </a:schemeClr>
              </a:gs>
              <a:gs pos="100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5" name="Forme libre 24"/>
          <p:cNvSpPr/>
          <p:nvPr userDrawn="1"/>
        </p:nvSpPr>
        <p:spPr>
          <a:xfrm>
            <a:off x="1" y="3525011"/>
            <a:ext cx="7424216" cy="2016224"/>
          </a:xfrm>
          <a:custGeom>
            <a:avLst/>
            <a:gdLst>
              <a:gd name="connsiteX0" fmla="*/ 0 w 5177583"/>
              <a:gd name="connsiteY0" fmla="*/ 0 h 1512168"/>
              <a:gd name="connsiteX1" fmla="*/ 4421499 w 5177583"/>
              <a:gd name="connsiteY1" fmla="*/ 0 h 1512168"/>
              <a:gd name="connsiteX2" fmla="*/ 5177583 w 5177583"/>
              <a:gd name="connsiteY2" fmla="*/ 756084 h 1512168"/>
              <a:gd name="connsiteX3" fmla="*/ 4421499 w 5177583"/>
              <a:gd name="connsiteY3" fmla="*/ 1512168 h 1512168"/>
              <a:gd name="connsiteX4" fmla="*/ 0 w 5177583"/>
              <a:gd name="connsiteY4" fmla="*/ 1512168 h 151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7583" h="1512168">
                <a:moveTo>
                  <a:pt x="0" y="0"/>
                </a:moveTo>
                <a:lnTo>
                  <a:pt x="4421499" y="0"/>
                </a:lnTo>
                <a:cubicBezTo>
                  <a:pt x="4839073" y="0"/>
                  <a:pt x="5177583" y="338510"/>
                  <a:pt x="5177583" y="756084"/>
                </a:cubicBezTo>
                <a:cubicBezTo>
                  <a:pt x="5177583" y="1173658"/>
                  <a:pt x="4839073" y="1512168"/>
                  <a:pt x="4421499" y="1512168"/>
                </a:cubicBezTo>
                <a:lnTo>
                  <a:pt x="0" y="15121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5" name="Titre 4"/>
          <p:cNvSpPr>
            <a:spLocks noGrp="1"/>
          </p:cNvSpPr>
          <p:nvPr>
            <p:ph type="title"/>
          </p:nvPr>
        </p:nvSpPr>
        <p:spPr>
          <a:xfrm>
            <a:off x="214768" y="3621477"/>
            <a:ext cx="6694032" cy="1022580"/>
          </a:xfrm>
          <a:prstGeom prst="rect">
            <a:avLst/>
          </a:prstGeom>
        </p:spPr>
        <p:txBody>
          <a:bodyPr anchor="b">
            <a:noAutofit/>
          </a:bodyPr>
          <a:lstStyle>
            <a:lvl1pPr>
              <a:defRPr sz="3733">
                <a:solidFill>
                  <a:schemeClr val="accent1"/>
                </a:solidFill>
              </a:defRPr>
            </a:lvl1pPr>
          </a:lstStyle>
          <a:p>
            <a:r>
              <a:rPr lang="en-GB" dirty="0"/>
              <a:t>Modifiez le style du titre</a:t>
            </a:r>
          </a:p>
        </p:txBody>
      </p:sp>
      <p:sp>
        <p:nvSpPr>
          <p:cNvPr id="26" name="Ellipse 25"/>
          <p:cNvSpPr/>
          <p:nvPr/>
        </p:nvSpPr>
        <p:spPr>
          <a:xfrm rot="20057793">
            <a:off x="6283262" y="2986485"/>
            <a:ext cx="1340429" cy="134043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fr-FR" sz="2400" dirty="0"/>
          </a:p>
        </p:txBody>
      </p:sp>
      <p:sp>
        <p:nvSpPr>
          <p:cNvPr id="29" name="Oval 5"/>
          <p:cNvSpPr>
            <a:spLocks noChangeArrowheads="1"/>
          </p:cNvSpPr>
          <p:nvPr userDrawn="1"/>
        </p:nvSpPr>
        <p:spPr bwMode="auto">
          <a:xfrm rot="20057793">
            <a:off x="6803877" y="3506199"/>
            <a:ext cx="297547" cy="297548"/>
          </a:xfrm>
          <a:prstGeom prst="ellipse">
            <a:avLst/>
          </a:pr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2" name="Freeform 6"/>
          <p:cNvSpPr>
            <a:spLocks noEditPoints="1"/>
          </p:cNvSpPr>
          <p:nvPr userDrawn="1"/>
        </p:nvSpPr>
        <p:spPr bwMode="auto">
          <a:xfrm rot="20057793">
            <a:off x="6492041" y="3211173"/>
            <a:ext cx="921219" cy="887600"/>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3" name="Freeform 7"/>
          <p:cNvSpPr>
            <a:spLocks noEditPoints="1"/>
          </p:cNvSpPr>
          <p:nvPr userDrawn="1"/>
        </p:nvSpPr>
        <p:spPr bwMode="auto">
          <a:xfrm rot="20057793">
            <a:off x="6599629" y="3301110"/>
            <a:ext cx="706043" cy="70772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4" name="Freeform 8"/>
          <p:cNvSpPr>
            <a:spLocks noEditPoints="1"/>
          </p:cNvSpPr>
          <p:nvPr userDrawn="1"/>
        </p:nvSpPr>
        <p:spPr bwMode="auto">
          <a:xfrm rot="20057793">
            <a:off x="6680810" y="3384786"/>
            <a:ext cx="542140" cy="542983"/>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5" name="Freeform 9"/>
          <p:cNvSpPr>
            <a:spLocks noEditPoints="1"/>
          </p:cNvSpPr>
          <p:nvPr userDrawn="1"/>
        </p:nvSpPr>
        <p:spPr bwMode="auto">
          <a:xfrm rot="20057793">
            <a:off x="6412557" y="3113589"/>
            <a:ext cx="1080919" cy="1084284"/>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4" name="Espace réservé du texte 3"/>
          <p:cNvSpPr>
            <a:spLocks noGrp="1"/>
          </p:cNvSpPr>
          <p:nvPr>
            <p:ph type="body" sz="quarter" idx="10"/>
          </p:nvPr>
        </p:nvSpPr>
        <p:spPr>
          <a:xfrm>
            <a:off x="213784" y="4593698"/>
            <a:ext cx="6695152" cy="912381"/>
          </a:xfrm>
        </p:spPr>
        <p:txBody>
          <a:bodyPr>
            <a:normAutofit/>
          </a:bodyPr>
          <a:lstStyle>
            <a:lvl1pPr marL="0" indent="0" algn="ctr">
              <a:buFontTx/>
              <a:buNone/>
              <a:defRPr sz="2667" b="0">
                <a:solidFill>
                  <a:schemeClr val="tx1"/>
                </a:solidFill>
              </a:defRPr>
            </a:lvl1pPr>
          </a:lstStyle>
          <a:p>
            <a:pPr lvl="0"/>
            <a:endParaRPr lang="en-GB" dirty="0"/>
          </a:p>
        </p:txBody>
      </p:sp>
      <p:sp>
        <p:nvSpPr>
          <p:cNvPr id="6" name="Espace réservé du numéro de diapositive 5"/>
          <p:cNvSpPr>
            <a:spLocks noGrp="1"/>
          </p:cNvSpPr>
          <p:nvPr>
            <p:ph type="sldNum" sz="quarter" idx="12"/>
          </p:nvPr>
        </p:nvSpPr>
        <p:spPr/>
        <p:txBody>
          <a:bodyPr/>
          <a:lstStyle/>
          <a:p>
            <a:fld id="{88A6B057-71F2-43BA-98BD-164F4E914A39}" type="slidenum">
              <a:rPr lang="en-GB" smtClean="0"/>
              <a:pPr/>
              <a:t>‹#›</a:t>
            </a:fld>
            <a:endParaRPr lang="en-GB" dirty="0"/>
          </a:p>
        </p:txBody>
      </p:sp>
    </p:spTree>
    <p:extLst>
      <p:ext uri="{BB962C8B-B14F-4D97-AF65-F5344CB8AC3E}">
        <p14:creationId xmlns:p14="http://schemas.microsoft.com/office/powerpoint/2010/main" val="240918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6" presetClass="emph" presetSubtype="0" fill="hold" nodeType="withEffect">
                                  <p:stCondLst>
                                    <p:cond delay="0"/>
                                  </p:stCondLst>
                                  <p:childTnLst>
                                    <p:animScale>
                                      <p:cBhvr>
                                        <p:cTn id="9" dur="10" fill="hold"/>
                                        <p:tgtEl>
                                          <p:spTgt spid="23"/>
                                        </p:tgtEl>
                                      </p:cBhvr>
                                      <p:by x="50000" y="50000"/>
                                    </p:animScale>
                                  </p:childTnLst>
                                </p:cTn>
                              </p:par>
                              <p:par>
                                <p:cTn id="10" presetID="6" presetClass="emph" presetSubtype="0" decel="100000" fill="hold" nodeType="withEffect">
                                  <p:stCondLst>
                                    <p:cond delay="0"/>
                                  </p:stCondLst>
                                  <p:childTnLst>
                                    <p:animScale>
                                      <p:cBhvr>
                                        <p:cTn id="11" dur="1000" fill="hold"/>
                                        <p:tgtEl>
                                          <p:spTgt spid="23"/>
                                        </p:tgtEl>
                                      </p:cBhvr>
                                      <p:by x="200000" y="200000"/>
                                    </p:animScale>
                                  </p:childTnLst>
                                </p:cTn>
                              </p:par>
                              <p:par>
                                <p:cTn id="12" presetID="2" presetClass="entr" presetSubtype="8" decel="10000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 calcmode="lin" valueType="num">
                                      <p:cBhvr additive="base">
                                        <p:cTn id="14" dur="500" fill="hold"/>
                                        <p:tgtEl>
                                          <p:spTgt spid="25"/>
                                        </p:tgtEl>
                                        <p:attrNameLst>
                                          <p:attrName>ppt_x</p:attrName>
                                        </p:attrNameLst>
                                      </p:cBhvr>
                                      <p:tavLst>
                                        <p:tav tm="0">
                                          <p:val>
                                            <p:strVal val="0-#ppt_w/2"/>
                                          </p:val>
                                        </p:tav>
                                        <p:tav tm="100000">
                                          <p:val>
                                            <p:strVal val="#ppt_x"/>
                                          </p:val>
                                        </p:tav>
                                      </p:tavLst>
                                    </p:anim>
                                    <p:anim calcmode="lin" valueType="num">
                                      <p:cBhvr additive="base">
                                        <p:cTn id="15" dur="500" fill="hold"/>
                                        <p:tgtEl>
                                          <p:spTgt spid="25"/>
                                        </p:tgtEl>
                                        <p:attrNameLst>
                                          <p:attrName>ppt_y</p:attrName>
                                        </p:attrNameLst>
                                      </p:cBhvr>
                                      <p:tavLst>
                                        <p:tav tm="0">
                                          <p:val>
                                            <p:strVal val="#ppt_y"/>
                                          </p:val>
                                        </p:tav>
                                        <p:tav tm="100000">
                                          <p:val>
                                            <p:strVal val="#ppt_y"/>
                                          </p:val>
                                        </p:tav>
                                      </p:tavLst>
                                    </p:anim>
                                  </p:childTnLst>
                                </p:cTn>
                              </p:par>
                              <p:par>
                                <p:cTn id="16" presetID="2" presetClass="entr" presetSubtype="8" decel="100000" fill="hold" grpId="0" nodeType="withEffect">
                                  <p:stCondLst>
                                    <p:cond delay="100"/>
                                  </p:stCondLst>
                                  <p:childTnLst>
                                    <p:set>
                                      <p:cBhvr>
                                        <p:cTn id="17" dur="1" fill="hold">
                                          <p:stCondLst>
                                            <p:cond delay="0"/>
                                          </p:stCondLst>
                                        </p:cTn>
                                        <p:tgtEl>
                                          <p:spTgt spid="28"/>
                                        </p:tgtEl>
                                        <p:attrNameLst>
                                          <p:attrName>style.visibility</p:attrName>
                                        </p:attrNameLst>
                                      </p:cBhvr>
                                      <p:to>
                                        <p:strVal val="visible"/>
                                      </p:to>
                                    </p:set>
                                    <p:anim calcmode="lin" valueType="num">
                                      <p:cBhvr additive="base">
                                        <p:cTn id="18" dur="500" fill="hold"/>
                                        <p:tgtEl>
                                          <p:spTgt spid="28"/>
                                        </p:tgtEl>
                                        <p:attrNameLst>
                                          <p:attrName>ppt_x</p:attrName>
                                        </p:attrNameLst>
                                      </p:cBhvr>
                                      <p:tavLst>
                                        <p:tav tm="0">
                                          <p:val>
                                            <p:strVal val="0-#ppt_w/2"/>
                                          </p:val>
                                        </p:tav>
                                        <p:tav tm="100000">
                                          <p:val>
                                            <p:strVal val="#ppt_x"/>
                                          </p:val>
                                        </p:tav>
                                      </p:tavLst>
                                    </p:anim>
                                    <p:anim calcmode="lin" valueType="num">
                                      <p:cBhvr additive="base">
                                        <p:cTn id="19" dur="500" fill="hold"/>
                                        <p:tgtEl>
                                          <p:spTgt spid="28"/>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6" presetClass="emph" presetSubtype="0" fill="hold" grpId="1" nodeType="withEffect">
                                  <p:stCondLst>
                                    <p:cond delay="500"/>
                                  </p:stCondLst>
                                  <p:childTnLst>
                                    <p:animScale>
                                      <p:cBhvr>
                                        <p:cTn id="30" dur="10" fill="hold"/>
                                        <p:tgtEl>
                                          <p:spTgt spid="29"/>
                                        </p:tgtEl>
                                      </p:cBhvr>
                                      <p:by x="50000" y="50000"/>
                                    </p:animScale>
                                  </p:childTnLst>
                                </p:cTn>
                              </p:par>
                              <p:par>
                                <p:cTn id="31" presetID="6" presetClass="emph" presetSubtype="0" decel="100000" fill="hold" grpId="2" nodeType="withEffect">
                                  <p:stCondLst>
                                    <p:cond delay="500"/>
                                  </p:stCondLst>
                                  <p:childTnLst>
                                    <p:animScale>
                                      <p:cBhvr>
                                        <p:cTn id="32" dur="1000" fill="hold"/>
                                        <p:tgtEl>
                                          <p:spTgt spid="29"/>
                                        </p:tgtEl>
                                      </p:cBhvr>
                                      <p:by x="200000" y="200000"/>
                                    </p:animScale>
                                  </p:childTnLst>
                                </p:cTn>
                              </p:par>
                              <p:par>
                                <p:cTn id="33" presetID="10" presetClass="entr" presetSubtype="0" fill="hold" grpId="0" nodeType="withEffect">
                                  <p:stCondLst>
                                    <p:cond delay="50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8" presetClass="emph" presetSubtype="0" repeatCount="indefinite" fill="hold" grpId="1" nodeType="withEffect">
                                  <p:stCondLst>
                                    <p:cond delay="500"/>
                                  </p:stCondLst>
                                  <p:childTnLst>
                                    <p:animRot by="-21600000">
                                      <p:cBhvr>
                                        <p:cTn id="37" dur="2000" fill="hold"/>
                                        <p:tgtEl>
                                          <p:spTgt spid="33"/>
                                        </p:tgtEl>
                                        <p:attrNameLst>
                                          <p:attrName>r</p:attrName>
                                        </p:attrNameLst>
                                      </p:cBhvr>
                                    </p:animRot>
                                  </p:childTnLst>
                                </p:cTn>
                              </p:par>
                              <p:par>
                                <p:cTn id="38" presetID="10" presetClass="entr" presetSubtype="0" fill="hold" grpId="0" nodeType="withEffect">
                                  <p:stCondLst>
                                    <p:cond delay="50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8" presetClass="emph" presetSubtype="0" repeatCount="indefinite" fill="hold" grpId="1" nodeType="withEffect">
                                  <p:stCondLst>
                                    <p:cond delay="500"/>
                                  </p:stCondLst>
                                  <p:childTnLst>
                                    <p:animRot by="-21600000">
                                      <p:cBhvr>
                                        <p:cTn id="42" dur="2000" fill="hold"/>
                                        <p:tgtEl>
                                          <p:spTgt spid="35"/>
                                        </p:tgtEl>
                                        <p:attrNameLst>
                                          <p:attrName>r</p:attrName>
                                        </p:attrNameLst>
                                      </p:cBhvr>
                                    </p:animRot>
                                  </p:childTnLst>
                                </p:cTn>
                              </p:par>
                              <p:par>
                                <p:cTn id="43" presetID="10" presetClass="entr" presetSubtype="0" fill="hold" grpId="0" nodeType="withEffect">
                                  <p:stCondLst>
                                    <p:cond delay="500"/>
                                  </p:stCondLst>
                                  <p:childTnLst>
                                    <p:set>
                                      <p:cBhvr>
                                        <p:cTn id="44" dur="1" fill="hold">
                                          <p:stCondLst>
                                            <p:cond delay="0"/>
                                          </p:stCondLst>
                                        </p:cTn>
                                        <p:tgtEl>
                                          <p:spTgt spid="32"/>
                                        </p:tgtEl>
                                        <p:attrNameLst>
                                          <p:attrName>style.visibility</p:attrName>
                                        </p:attrNameLst>
                                      </p:cBhvr>
                                      <p:to>
                                        <p:strVal val="visible"/>
                                      </p:to>
                                    </p:set>
                                    <p:animEffect transition="in" filter="fade">
                                      <p:cBhvr>
                                        <p:cTn id="45" dur="500"/>
                                        <p:tgtEl>
                                          <p:spTgt spid="32"/>
                                        </p:tgtEl>
                                      </p:cBhvr>
                                    </p:animEffect>
                                  </p:childTnLst>
                                </p:cTn>
                              </p:par>
                              <p:par>
                                <p:cTn id="46" presetID="8" presetClass="emph" presetSubtype="0" repeatCount="indefinite" fill="hold" grpId="1" nodeType="withEffect">
                                  <p:stCondLst>
                                    <p:cond delay="500"/>
                                  </p:stCondLst>
                                  <p:childTnLst>
                                    <p:animRot by="21600000">
                                      <p:cBhvr>
                                        <p:cTn id="47" dur="2000" fill="hold"/>
                                        <p:tgtEl>
                                          <p:spTgt spid="32"/>
                                        </p:tgtEl>
                                        <p:attrNameLst>
                                          <p:attrName>r</p:attrName>
                                        </p:attrNameLst>
                                      </p:cBhvr>
                                    </p:animRot>
                                  </p:childTnLst>
                                </p:cTn>
                              </p:par>
                              <p:par>
                                <p:cTn id="48" presetID="10" presetClass="entr" presetSubtype="0" fill="hold" grpId="0" nodeType="withEffect">
                                  <p:stCondLst>
                                    <p:cond delay="50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par>
                                <p:cTn id="51" presetID="8" presetClass="emph" presetSubtype="0" repeatCount="indefinite" fill="hold" grpId="1" nodeType="withEffect">
                                  <p:stCondLst>
                                    <p:cond delay="500"/>
                                  </p:stCondLst>
                                  <p:childTnLst>
                                    <p:animRot by="21600000">
                                      <p:cBhvr>
                                        <p:cTn id="52" dur="2000" fill="hold"/>
                                        <p:tgtEl>
                                          <p:spTgt spid="3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5" grpId="0"/>
      <p:bldP spid="26" grpId="0" animBg="1"/>
      <p:bldP spid="29" grpId="0" animBg="1"/>
      <p:bldP spid="29" grpId="1" animBg="1"/>
      <p:bldP spid="29" grpId="2" animBg="1"/>
      <p:bldP spid="32" grpId="0" animBg="1"/>
      <p:bldP spid="32" grpId="1" animBg="1"/>
      <p:bldP spid="33" grpId="0" animBg="1"/>
      <p:bldP spid="33" grpId="1" animBg="1"/>
      <p:bldP spid="34" grpId="0" animBg="1"/>
      <p:bldP spid="34" grpId="1" animBg="1"/>
      <p:bldP spid="35" grpId="0" animBg="1"/>
      <p:bldP spid="35" grpId="1" animBg="1"/>
    </p:bld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sp>
        <p:nvSpPr>
          <p:cNvPr id="6" name="Titre 5"/>
          <p:cNvSpPr>
            <a:spLocks noGrp="1"/>
          </p:cNvSpPr>
          <p:nvPr>
            <p:ph type="title"/>
          </p:nvPr>
        </p:nvSpPr>
        <p:spPr>
          <a:xfrm>
            <a:off x="838200" y="3653220"/>
            <a:ext cx="10515600" cy="1187457"/>
          </a:xfrm>
          <a:prstGeom prst="rect">
            <a:avLst/>
          </a:prstGeom>
        </p:spPr>
        <p:txBody>
          <a:bodyPr anchor="b">
            <a:normAutofit/>
          </a:bodyPr>
          <a:lstStyle>
            <a:lvl1pPr>
              <a:defRPr sz="3200">
                <a:solidFill>
                  <a:schemeClr val="accent1"/>
                </a:solidFill>
              </a:defRPr>
            </a:lvl1pPr>
          </a:lstStyle>
          <a:p>
            <a:r>
              <a:rPr lang="en-GB" dirty="0"/>
              <a:t>Modifiez le style du titre</a:t>
            </a:r>
          </a:p>
        </p:txBody>
      </p:sp>
      <p:sp>
        <p:nvSpPr>
          <p:cNvPr id="7" name="Rectangle 6"/>
          <p:cNvSpPr/>
          <p:nvPr userDrawn="1"/>
        </p:nvSpPr>
        <p:spPr>
          <a:xfrm>
            <a:off x="-2225" y="606634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grpSp>
        <p:nvGrpSpPr>
          <p:cNvPr id="20" name="Group 5"/>
          <p:cNvGrpSpPr>
            <a:grpSpLocks noChangeAspect="1"/>
          </p:cNvGrpSpPr>
          <p:nvPr userDrawn="1"/>
        </p:nvGrpSpPr>
        <p:grpSpPr bwMode="auto">
          <a:xfrm>
            <a:off x="10592180" y="6362050"/>
            <a:ext cx="1291715" cy="333661"/>
            <a:chOff x="4870" y="227"/>
            <a:chExt cx="662" cy="171"/>
          </a:xfrm>
        </p:grpSpPr>
        <p:sp>
          <p:nvSpPr>
            <p:cNvPr id="21"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2"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3"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4"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5"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6"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7"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8"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9"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30"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pic>
        <p:nvPicPr>
          <p:cNvPr id="31" name="Image 3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3" name="Espace réservé du texte 2"/>
          <p:cNvSpPr>
            <a:spLocks noGrp="1"/>
          </p:cNvSpPr>
          <p:nvPr>
            <p:ph type="body" sz="quarter" idx="11"/>
          </p:nvPr>
        </p:nvSpPr>
        <p:spPr>
          <a:xfrm>
            <a:off x="838200" y="4813583"/>
            <a:ext cx="10543117" cy="983968"/>
          </a:xfrm>
        </p:spPr>
        <p:txBody>
          <a:bodyPr/>
          <a:lstStyle>
            <a:lvl1pPr marL="0" indent="0" algn="ctr">
              <a:buFontTx/>
              <a:buNone/>
              <a:defRPr sz="2400">
                <a:solidFill>
                  <a:schemeClr val="accent2"/>
                </a:solidFill>
              </a:defRPr>
            </a:lvl1pPr>
          </a:lstStyle>
          <a:p>
            <a:pPr lvl="0"/>
            <a:endParaRPr lang="en-GB" dirty="0"/>
          </a:p>
        </p:txBody>
      </p:sp>
      <p:grpSp>
        <p:nvGrpSpPr>
          <p:cNvPr id="19" name="Groupe 18" hidden="1"/>
          <p:cNvGrpSpPr/>
          <p:nvPr userDrawn="1"/>
        </p:nvGrpSpPr>
        <p:grpSpPr>
          <a:xfrm rot="20057793">
            <a:off x="-613277" y="1966879"/>
            <a:ext cx="1226557" cy="1226557"/>
            <a:chOff x="4580002" y="2570126"/>
            <a:chExt cx="439952" cy="439952"/>
          </a:xfrm>
        </p:grpSpPr>
        <p:sp>
          <p:nvSpPr>
            <p:cNvPr id="32" name="Ellipse 31"/>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33"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34"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35"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6"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7"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8"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
        <p:nvSpPr>
          <p:cNvPr id="111" name="Espace réservé pour une image  110"/>
          <p:cNvSpPr>
            <a:spLocks noGrp="1"/>
          </p:cNvSpPr>
          <p:nvPr>
            <p:ph type="pic" sz="quarter" idx="10"/>
          </p:nvPr>
        </p:nvSpPr>
        <p:spPr>
          <a:xfrm>
            <a:off x="0" y="2"/>
            <a:ext cx="12188317" cy="3343148"/>
          </a:xfrm>
          <a:custGeom>
            <a:avLst/>
            <a:gdLst>
              <a:gd name="connsiteX0" fmla="*/ 0 w 9141238"/>
              <a:gd name="connsiteY0" fmla="*/ 0 h 2507361"/>
              <a:gd name="connsiteX1" fmla="*/ 9141238 w 9141238"/>
              <a:gd name="connsiteY1" fmla="*/ 10160 h 2507361"/>
              <a:gd name="connsiteX2" fmla="*/ 9133840 w 9141238"/>
              <a:gd name="connsiteY2" fmla="*/ 2170430 h 2507361"/>
              <a:gd name="connsiteX3" fmla="*/ 2762782 w 9141238"/>
              <a:gd name="connsiteY3" fmla="*/ 2507361 h 2507361"/>
              <a:gd name="connsiteX4" fmla="*/ 2746139 w 9141238"/>
              <a:gd name="connsiteY4" fmla="*/ 2442020 h 2507361"/>
              <a:gd name="connsiteX5" fmla="*/ 2416736 w 9141238"/>
              <a:gd name="connsiteY5" fmla="*/ 2326687 h 2507361"/>
              <a:gd name="connsiteX6" fmla="*/ 2338592 w 9141238"/>
              <a:gd name="connsiteY6" fmla="*/ 2385825 h 2507361"/>
              <a:gd name="connsiteX7" fmla="*/ 2292338 w 9141238"/>
              <a:gd name="connsiteY7" fmla="*/ 2464954 h 2507361"/>
              <a:gd name="connsiteX8" fmla="*/ 454666 w 9141238"/>
              <a:gd name="connsiteY8" fmla="*/ 2041515 h 2507361"/>
              <a:gd name="connsiteX9" fmla="*/ 469157 w 9141238"/>
              <a:gd name="connsiteY9" fmla="*/ 1942001 h 2507361"/>
              <a:gd name="connsiteX10" fmla="*/ 424076 w 9141238"/>
              <a:gd name="connsiteY10" fmla="*/ 1765003 h 2507361"/>
              <a:gd name="connsiteX11" fmla="*/ 75929 w 9141238"/>
              <a:gd name="connsiteY11" fmla="*/ 1509291 h 2507361"/>
              <a:gd name="connsiteX12" fmla="*/ 0 w 9141238"/>
              <a:gd name="connsiteY12" fmla="*/ 1505592 h 2507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1238" h="2507361">
                <a:moveTo>
                  <a:pt x="0" y="0"/>
                </a:moveTo>
                <a:lnTo>
                  <a:pt x="9141238" y="10160"/>
                </a:lnTo>
                <a:lnTo>
                  <a:pt x="9133840" y="2170430"/>
                </a:lnTo>
                <a:lnTo>
                  <a:pt x="2762782" y="2507361"/>
                </a:lnTo>
                <a:lnTo>
                  <a:pt x="2746139" y="2442020"/>
                </a:lnTo>
                <a:cubicBezTo>
                  <a:pt x="2687025" y="2319210"/>
                  <a:pt x="2539547" y="2267574"/>
                  <a:pt x="2416736" y="2326687"/>
                </a:cubicBezTo>
                <a:cubicBezTo>
                  <a:pt x="2386034" y="2341466"/>
                  <a:pt x="2359780" y="2361767"/>
                  <a:pt x="2338592" y="2385825"/>
                </a:cubicBezTo>
                <a:lnTo>
                  <a:pt x="2292338" y="2464954"/>
                </a:lnTo>
                <a:lnTo>
                  <a:pt x="454666" y="2041515"/>
                </a:lnTo>
                <a:lnTo>
                  <a:pt x="469157" y="1942001"/>
                </a:lnTo>
                <a:cubicBezTo>
                  <a:pt x="466262" y="1882322"/>
                  <a:pt x="451619" y="1822226"/>
                  <a:pt x="424076" y="1765003"/>
                </a:cubicBezTo>
                <a:cubicBezTo>
                  <a:pt x="355216" y="1621945"/>
                  <a:pt x="222023" y="1530705"/>
                  <a:pt x="75929" y="1509291"/>
                </a:cubicBezTo>
                <a:lnTo>
                  <a:pt x="0" y="1505592"/>
                </a:lnTo>
                <a:close/>
              </a:path>
            </a:pathLst>
          </a:custGeom>
          <a:solidFill>
            <a:schemeClr val="bg1">
              <a:lumMod val="95000"/>
            </a:schemeClr>
          </a:solidFill>
        </p:spPr>
        <p:txBody>
          <a:bodyPr wrap="square">
            <a:noAutofit/>
          </a:bodyPr>
          <a:lstStyle>
            <a:lvl1pPr>
              <a:defRPr>
                <a:noFill/>
              </a:defRPr>
            </a:lvl1pPr>
          </a:lstStyle>
          <a:p>
            <a:endParaRPr lang="en-GB"/>
          </a:p>
        </p:txBody>
      </p:sp>
      <p:grpSp>
        <p:nvGrpSpPr>
          <p:cNvPr id="94" name="Groupe 93"/>
          <p:cNvGrpSpPr/>
          <p:nvPr userDrawn="1"/>
        </p:nvGrpSpPr>
        <p:grpSpPr>
          <a:xfrm rot="20057793">
            <a:off x="3035980" y="3068823"/>
            <a:ext cx="658099" cy="658099"/>
            <a:chOff x="4580002" y="2570126"/>
            <a:chExt cx="439952" cy="439952"/>
          </a:xfrm>
        </p:grpSpPr>
        <p:sp>
          <p:nvSpPr>
            <p:cNvPr id="95" name="Ellipse 94"/>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96"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97"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98"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9"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0"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1"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102" name="Groupe 101"/>
          <p:cNvGrpSpPr/>
          <p:nvPr userDrawn="1"/>
        </p:nvGrpSpPr>
        <p:grpSpPr>
          <a:xfrm rot="20057793">
            <a:off x="-600439" y="2005178"/>
            <a:ext cx="1226557" cy="1226557"/>
            <a:chOff x="4580002" y="2570126"/>
            <a:chExt cx="439952" cy="439952"/>
          </a:xfrm>
        </p:grpSpPr>
        <p:sp>
          <p:nvSpPr>
            <p:cNvPr id="103" name="Ellipse 102"/>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104"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105"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106"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7"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8"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9"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Tree>
    <p:extLst>
      <p:ext uri="{BB962C8B-B14F-4D97-AF65-F5344CB8AC3E}">
        <p14:creationId xmlns:p14="http://schemas.microsoft.com/office/powerpoint/2010/main" val="2739613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2"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3"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4"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5" name="Rectangle 14"/>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6"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Espace réservé du contenu 2"/>
          <p:cNvSpPr>
            <a:spLocks noGrp="1"/>
          </p:cNvSpPr>
          <p:nvPr>
            <p:ph idx="1" hasCustomPrompt="1"/>
          </p:nvPr>
        </p:nvSpPr>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1086348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4000" fill="hold"/>
                                        <p:tgtEl>
                                          <p:spTgt spid="14"/>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4000" fill="hold"/>
                                        <p:tgtEl>
                                          <p:spTgt spid="12"/>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4000" fill="hold"/>
                                        <p:tgtEl>
                                          <p:spTgt spid="1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6" grpId="0" animBg="1"/>
    </p:bld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content &amp; image">
    <p:spTree>
      <p:nvGrpSpPr>
        <p:cNvPr id="1" name=""/>
        <p:cNvGrpSpPr/>
        <p:nvPr/>
      </p:nvGrpSpPr>
      <p:grpSpPr>
        <a:xfrm>
          <a:off x="0" y="0"/>
          <a:ext cx="0" cy="0"/>
          <a:chOff x="0" y="0"/>
          <a:chExt cx="0" cy="0"/>
        </a:xfrm>
      </p:grpSpPr>
      <p:sp>
        <p:nvSpPr>
          <p:cNvPr id="13"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4"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6"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7" name="Rectangle 16"/>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8"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Content Placeholder 2"/>
          <p:cNvSpPr>
            <a:spLocks noGrp="1"/>
          </p:cNvSpPr>
          <p:nvPr>
            <p:ph idx="1" hasCustomPrompt="1"/>
          </p:nvPr>
        </p:nvSpPr>
        <p:spPr>
          <a:xfrm>
            <a:off x="363166" y="1600202"/>
            <a:ext cx="5556725" cy="4325076"/>
          </a:xfrm>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15" name="Picture Placeholder 6"/>
          <p:cNvSpPr>
            <a:spLocks noGrp="1"/>
          </p:cNvSpPr>
          <p:nvPr>
            <p:ph type="pic" sz="quarter" idx="10"/>
          </p:nvPr>
        </p:nvSpPr>
        <p:spPr>
          <a:xfrm>
            <a:off x="6286364" y="1600202"/>
            <a:ext cx="5556725" cy="4325076"/>
          </a:xfrm>
          <a:prstGeom prst="roundRect">
            <a:avLst>
              <a:gd name="adj" fmla="val 1452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
        <p:nvSpPr>
          <p:cNvPr id="5" name="Espace réservé du pied de page 4"/>
          <p:cNvSpPr>
            <a:spLocks noGrp="1"/>
          </p:cNvSpPr>
          <p:nvPr>
            <p:ph type="ftr" sz="quarter" idx="1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17186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1"/>
                </a:solidFill>
                <a:latin typeface="Arial"/>
                <a:cs typeface="Arial"/>
              </a:defRPr>
            </a:lvl1pPr>
          </a:lstStyle>
          <a:p>
            <a:r>
              <a:rPr lang="nl-NL"/>
              <a:t>Klik om de stijl te bewerken</a:t>
            </a:r>
            <a:endParaRPr lang="fr-FR"/>
          </a:p>
        </p:txBody>
      </p:sp>
      <p:cxnSp>
        <p:nvCxnSpPr>
          <p:cNvPr id="8" name="Connecteur droit 7"/>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7" name="Image 6"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75517045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Blue background">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2" name="Espace réservé du contenu 2"/>
          <p:cNvSpPr>
            <a:spLocks noGrp="1"/>
          </p:cNvSpPr>
          <p:nvPr>
            <p:ph idx="1" hasCustomPrompt="1"/>
          </p:nvPr>
        </p:nvSpPr>
        <p:spPr>
          <a:xfrm>
            <a:off x="363166" y="1600202"/>
            <a:ext cx="11465668" cy="43250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3" name="Espace réservé du pied de page 2"/>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582364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Infographic">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cxnSp>
        <p:nvCxnSpPr>
          <p:cNvPr id="42" name="Connecteur droit 41"/>
          <p:cNvCxnSpPr/>
          <p:nvPr/>
        </p:nvCxnSpPr>
        <p:spPr>
          <a:xfrm flipV="1">
            <a:off x="6607132" y="2956097"/>
            <a:ext cx="451565" cy="187894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3" name="Connecteur droit 42"/>
          <p:cNvCxnSpPr/>
          <p:nvPr/>
        </p:nvCxnSpPr>
        <p:spPr>
          <a:xfrm flipV="1">
            <a:off x="736367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4" name="Connecteur droit 43"/>
          <p:cNvCxnSpPr/>
          <p:nvPr/>
        </p:nvCxnSpPr>
        <p:spPr>
          <a:xfrm flipV="1">
            <a:off x="818896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45" name="Groupe 44"/>
          <p:cNvGrpSpPr/>
          <p:nvPr/>
        </p:nvGrpSpPr>
        <p:grpSpPr>
          <a:xfrm>
            <a:off x="6851684" y="2303473"/>
            <a:ext cx="611509" cy="611507"/>
            <a:chOff x="129161" y="1153251"/>
            <a:chExt cx="458632" cy="458630"/>
          </a:xfrm>
        </p:grpSpPr>
        <p:grpSp>
          <p:nvGrpSpPr>
            <p:cNvPr id="58" name="Groupe 57"/>
            <p:cNvGrpSpPr/>
            <p:nvPr/>
          </p:nvGrpSpPr>
          <p:grpSpPr>
            <a:xfrm>
              <a:off x="129161" y="1153251"/>
              <a:ext cx="458632" cy="458630"/>
              <a:chOff x="2984203" y="2099374"/>
              <a:chExt cx="313070" cy="313070"/>
            </a:xfrm>
          </p:grpSpPr>
          <p:sp>
            <p:nvSpPr>
              <p:cNvPr id="60" name="Ellipse 5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1" name="Ellipse 6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2" name="Ellipse 6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6" name="Groupe 45"/>
          <p:cNvGrpSpPr/>
          <p:nvPr/>
        </p:nvGrpSpPr>
        <p:grpSpPr>
          <a:xfrm>
            <a:off x="8617758" y="2162173"/>
            <a:ext cx="611509" cy="611507"/>
            <a:chOff x="129161" y="1153251"/>
            <a:chExt cx="458632" cy="458630"/>
          </a:xfrm>
        </p:grpSpPr>
        <p:grpSp>
          <p:nvGrpSpPr>
            <p:cNvPr id="53" name="Groupe 52"/>
            <p:cNvGrpSpPr/>
            <p:nvPr/>
          </p:nvGrpSpPr>
          <p:grpSpPr>
            <a:xfrm>
              <a:off x="129161" y="1153251"/>
              <a:ext cx="458632" cy="458630"/>
              <a:chOff x="2984203" y="2099374"/>
              <a:chExt cx="313070" cy="313070"/>
            </a:xfrm>
          </p:grpSpPr>
          <p:sp>
            <p:nvSpPr>
              <p:cNvPr id="55" name="Ellipse 54"/>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6" name="Ellipse 55"/>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7" name="Ellipse 56"/>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4"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7" name="Groupe 46"/>
          <p:cNvGrpSpPr/>
          <p:nvPr/>
        </p:nvGrpSpPr>
        <p:grpSpPr>
          <a:xfrm>
            <a:off x="8694859" y="4034813"/>
            <a:ext cx="611509" cy="611507"/>
            <a:chOff x="129161" y="1153251"/>
            <a:chExt cx="458632" cy="458630"/>
          </a:xfrm>
        </p:grpSpPr>
        <p:grpSp>
          <p:nvGrpSpPr>
            <p:cNvPr id="48" name="Groupe 47"/>
            <p:cNvGrpSpPr/>
            <p:nvPr/>
          </p:nvGrpSpPr>
          <p:grpSpPr>
            <a:xfrm>
              <a:off x="129161" y="1153251"/>
              <a:ext cx="458632" cy="458630"/>
              <a:chOff x="2984203" y="2099374"/>
              <a:chExt cx="313070" cy="313070"/>
            </a:xfrm>
          </p:grpSpPr>
          <p:sp>
            <p:nvSpPr>
              <p:cNvPr id="50" name="Ellipse 4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1" name="Ellipse 5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2" name="Ellipse 5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ndParaRPr>
              </a:p>
            </p:txBody>
          </p:sp>
        </p:grpSp>
        <p:sp>
          <p:nvSpPr>
            <p:cNvPr id="4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cxnSp>
        <p:nvCxnSpPr>
          <p:cNvPr id="20" name="Connecteur droit 19"/>
          <p:cNvCxnSpPr/>
          <p:nvPr/>
        </p:nvCxnSpPr>
        <p:spPr>
          <a:xfrm flipH="1" flipV="1">
            <a:off x="5221770" y="3792119"/>
            <a:ext cx="250645" cy="1042925"/>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2" name="Connecteur droit 21"/>
          <p:cNvCxnSpPr/>
          <p:nvPr/>
        </p:nvCxnSpPr>
        <p:spPr>
          <a:xfrm flipH="1" flipV="1">
            <a:off x="334163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3" name="Connecteur droit 22"/>
          <p:cNvCxnSpPr/>
          <p:nvPr/>
        </p:nvCxnSpPr>
        <p:spPr>
          <a:xfrm flipH="1" flipV="1">
            <a:off x="337611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4" name="Groupe 23"/>
          <p:cNvGrpSpPr/>
          <p:nvPr/>
        </p:nvGrpSpPr>
        <p:grpSpPr>
          <a:xfrm flipH="1">
            <a:off x="4823371" y="3159646"/>
            <a:ext cx="611509" cy="611507"/>
            <a:chOff x="129161" y="1153251"/>
            <a:chExt cx="458632" cy="458630"/>
          </a:xfrm>
        </p:grpSpPr>
        <p:grpSp>
          <p:nvGrpSpPr>
            <p:cNvPr id="37" name="Groupe 36"/>
            <p:cNvGrpSpPr/>
            <p:nvPr/>
          </p:nvGrpSpPr>
          <p:grpSpPr>
            <a:xfrm>
              <a:off x="129161" y="1153251"/>
              <a:ext cx="458632" cy="458630"/>
              <a:chOff x="2984203" y="2099374"/>
              <a:chExt cx="313070" cy="313070"/>
            </a:xfrm>
          </p:grpSpPr>
          <p:sp>
            <p:nvSpPr>
              <p:cNvPr id="39" name="Ellipse 3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0" name="Ellipse 3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1" name="Ellipse 4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5" name="Groupe 24"/>
          <p:cNvGrpSpPr/>
          <p:nvPr/>
        </p:nvGrpSpPr>
        <p:grpSpPr>
          <a:xfrm flipH="1">
            <a:off x="2850280" y="2162173"/>
            <a:ext cx="611509" cy="611507"/>
            <a:chOff x="129161" y="1153251"/>
            <a:chExt cx="458632" cy="458630"/>
          </a:xfrm>
        </p:grpSpPr>
        <p:grpSp>
          <p:nvGrpSpPr>
            <p:cNvPr id="32" name="Groupe 31"/>
            <p:cNvGrpSpPr/>
            <p:nvPr/>
          </p:nvGrpSpPr>
          <p:grpSpPr>
            <a:xfrm>
              <a:off x="129161" y="1153251"/>
              <a:ext cx="458632" cy="458630"/>
              <a:chOff x="2984203" y="2099374"/>
              <a:chExt cx="313070" cy="313070"/>
            </a:xfrm>
          </p:grpSpPr>
          <p:sp>
            <p:nvSpPr>
              <p:cNvPr id="34" name="Ellipse 33"/>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5" name="Ellipse 34"/>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6" name="Ellipse 35"/>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3"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6" name="Groupe 25"/>
          <p:cNvGrpSpPr/>
          <p:nvPr/>
        </p:nvGrpSpPr>
        <p:grpSpPr>
          <a:xfrm flipH="1">
            <a:off x="2773179" y="4034813"/>
            <a:ext cx="611509" cy="611507"/>
            <a:chOff x="129161" y="1153251"/>
            <a:chExt cx="458632" cy="458630"/>
          </a:xfrm>
        </p:grpSpPr>
        <p:grpSp>
          <p:nvGrpSpPr>
            <p:cNvPr id="27" name="Groupe 26"/>
            <p:cNvGrpSpPr/>
            <p:nvPr/>
          </p:nvGrpSpPr>
          <p:grpSpPr>
            <a:xfrm>
              <a:off x="129161" y="1153251"/>
              <a:ext cx="458632" cy="458630"/>
              <a:chOff x="2984203" y="2099374"/>
              <a:chExt cx="313070" cy="313070"/>
            </a:xfrm>
          </p:grpSpPr>
          <p:sp>
            <p:nvSpPr>
              <p:cNvPr id="29" name="Ellipse 2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0" name="Ellipse 2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1" name="Ellipse 3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2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 name="Espace réservé du texte 4"/>
          <p:cNvSpPr>
            <a:spLocks noGrp="1"/>
          </p:cNvSpPr>
          <p:nvPr>
            <p:ph type="body" sz="quarter" idx="10" hasCustomPrompt="1"/>
          </p:nvPr>
        </p:nvSpPr>
        <p:spPr>
          <a:xfrm>
            <a:off x="363166" y="4007076"/>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4" name="Espace réservé du texte 4"/>
          <p:cNvSpPr>
            <a:spLocks noGrp="1"/>
          </p:cNvSpPr>
          <p:nvPr>
            <p:ph type="body" sz="quarter" idx="11" hasCustomPrompt="1"/>
          </p:nvPr>
        </p:nvSpPr>
        <p:spPr>
          <a:xfrm>
            <a:off x="9313386" y="400707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5" name="Espace réservé du texte 4"/>
          <p:cNvSpPr>
            <a:spLocks noGrp="1"/>
          </p:cNvSpPr>
          <p:nvPr>
            <p:ph type="body" sz="quarter" idx="12" hasCustomPrompt="1"/>
          </p:nvPr>
        </p:nvSpPr>
        <p:spPr>
          <a:xfrm>
            <a:off x="9249903" y="213443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6" name="Espace réservé du texte 4"/>
          <p:cNvSpPr>
            <a:spLocks noGrp="1"/>
          </p:cNvSpPr>
          <p:nvPr>
            <p:ph type="body" sz="quarter" idx="13" hasCustomPrompt="1"/>
          </p:nvPr>
        </p:nvSpPr>
        <p:spPr>
          <a:xfrm>
            <a:off x="5914230" y="15844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7" name="Espace réservé du texte 4"/>
          <p:cNvSpPr>
            <a:spLocks noGrp="1"/>
          </p:cNvSpPr>
          <p:nvPr>
            <p:ph type="body" sz="quarter" idx="14" hasCustomPrompt="1"/>
          </p:nvPr>
        </p:nvSpPr>
        <p:spPr>
          <a:xfrm>
            <a:off x="3873917" y="24668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8" name="Espace réservé du texte 4"/>
          <p:cNvSpPr>
            <a:spLocks noGrp="1"/>
          </p:cNvSpPr>
          <p:nvPr>
            <p:ph type="body" sz="quarter" idx="15" hasCustomPrompt="1"/>
          </p:nvPr>
        </p:nvSpPr>
        <p:spPr>
          <a:xfrm>
            <a:off x="423687" y="2141064"/>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grpSp>
        <p:nvGrpSpPr>
          <p:cNvPr id="69" name="Groupe 68"/>
          <p:cNvGrpSpPr/>
          <p:nvPr userDrawn="1"/>
        </p:nvGrpSpPr>
        <p:grpSpPr>
          <a:xfrm>
            <a:off x="3752428" y="4737046"/>
            <a:ext cx="4687147" cy="1004381"/>
            <a:chOff x="2814321" y="3552784"/>
            <a:chExt cx="3515360" cy="753286"/>
          </a:xfrm>
        </p:grpSpPr>
        <p:sp>
          <p:nvSpPr>
            <p:cNvPr id="71" name="Rectangle à coins arrondis 3"/>
            <p:cNvSpPr/>
            <p:nvPr/>
          </p:nvSpPr>
          <p:spPr>
            <a:xfrm>
              <a:off x="2814321" y="3552784"/>
              <a:ext cx="3515360" cy="75328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pic>
          <p:nvPicPr>
            <p:cNvPr id="72" name="Image 7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04723" y="3678199"/>
              <a:ext cx="2530712" cy="462756"/>
            </a:xfrm>
            <a:prstGeom prst="rect">
              <a:avLst/>
            </a:prstGeom>
          </p:spPr>
        </p:pic>
      </p:grpSp>
      <p:sp>
        <p:nvSpPr>
          <p:cNvPr id="3" name="Espace réservé du pied de page 2"/>
          <p:cNvSpPr>
            <a:spLocks noGrp="1"/>
          </p:cNvSpPr>
          <p:nvPr>
            <p:ph type="ftr" sz="quarter" idx="16"/>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620729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6" presetClass="emph" presetSubtype="0" fill="hold" nodeType="withEffect">
                                  <p:stCondLst>
                                    <p:cond delay="0"/>
                                  </p:stCondLst>
                                  <p:childTnLst>
                                    <p:animScale>
                                      <p:cBhvr>
                                        <p:cTn id="9" dur="10" fill="hold"/>
                                        <p:tgtEl>
                                          <p:spTgt spid="69"/>
                                        </p:tgtEl>
                                      </p:cBhvr>
                                      <p:by x="50000" y="50000"/>
                                    </p:animScale>
                                  </p:childTnLst>
                                </p:cTn>
                              </p:par>
                              <p:par>
                                <p:cTn id="10" presetID="6" presetClass="emph" presetSubtype="0" decel="100000" fill="hold" nodeType="withEffect">
                                  <p:stCondLst>
                                    <p:cond delay="0"/>
                                  </p:stCondLst>
                                  <p:childTnLst>
                                    <p:animScale>
                                      <p:cBhvr>
                                        <p:cTn id="11" dur="1000" fill="hold"/>
                                        <p:tgtEl>
                                          <p:spTgt spid="69"/>
                                        </p:tgtEl>
                                      </p:cBhvr>
                                      <p:by x="200000" y="200000"/>
                                    </p:animScale>
                                  </p:childTnLst>
                                </p:cTn>
                              </p:par>
                              <p:par>
                                <p:cTn id="12" presetID="22" presetClass="entr" presetSubtype="4" fill="hold" nodeType="withEffect">
                                  <p:stCondLst>
                                    <p:cond delay="500"/>
                                  </p:stCondLst>
                                  <p:childTnLst>
                                    <p:set>
                                      <p:cBhvr>
                                        <p:cTn id="13" dur="1" fill="hold">
                                          <p:stCondLst>
                                            <p:cond delay="0"/>
                                          </p:stCondLst>
                                        </p:cTn>
                                        <p:tgtEl>
                                          <p:spTgt spid="23"/>
                                        </p:tgtEl>
                                        <p:attrNameLst>
                                          <p:attrName>style.visibility</p:attrName>
                                        </p:attrNameLst>
                                      </p:cBhvr>
                                      <p:to>
                                        <p:strVal val="visible"/>
                                      </p:to>
                                    </p:set>
                                    <p:animEffect transition="in" filter="wipe(down)">
                                      <p:cBhvr>
                                        <p:cTn id="14" dur="500"/>
                                        <p:tgtEl>
                                          <p:spTgt spid="23"/>
                                        </p:tgtEl>
                                      </p:cBhvr>
                                    </p:animEffect>
                                  </p:childTnLst>
                                </p:cTn>
                              </p:par>
                              <p:par>
                                <p:cTn id="15" presetID="22" presetClass="entr" presetSubtype="4" fill="hold" nodeType="withEffect">
                                  <p:stCondLst>
                                    <p:cond delay="600"/>
                                  </p:stCondLst>
                                  <p:childTnLst>
                                    <p:set>
                                      <p:cBhvr>
                                        <p:cTn id="16" dur="1" fill="hold">
                                          <p:stCondLst>
                                            <p:cond delay="0"/>
                                          </p:stCondLst>
                                        </p:cTn>
                                        <p:tgtEl>
                                          <p:spTgt spid="22"/>
                                        </p:tgtEl>
                                        <p:attrNameLst>
                                          <p:attrName>style.visibility</p:attrName>
                                        </p:attrNameLst>
                                      </p:cBhvr>
                                      <p:to>
                                        <p:strVal val="visible"/>
                                      </p:to>
                                    </p:set>
                                    <p:animEffect transition="in" filter="wipe(down)">
                                      <p:cBhvr>
                                        <p:cTn id="17" dur="500"/>
                                        <p:tgtEl>
                                          <p:spTgt spid="22"/>
                                        </p:tgtEl>
                                      </p:cBhvr>
                                    </p:animEffect>
                                  </p:childTnLst>
                                </p:cTn>
                              </p:par>
                              <p:par>
                                <p:cTn id="18" presetID="22" presetClass="entr" presetSubtype="4" fill="hold" nodeType="withEffect">
                                  <p:stCondLst>
                                    <p:cond delay="700"/>
                                  </p:stCondLst>
                                  <p:childTnLst>
                                    <p:set>
                                      <p:cBhvr>
                                        <p:cTn id="19" dur="1" fill="hold">
                                          <p:stCondLst>
                                            <p:cond delay="0"/>
                                          </p:stCondLst>
                                        </p:cTn>
                                        <p:tgtEl>
                                          <p:spTgt spid="20"/>
                                        </p:tgtEl>
                                        <p:attrNameLst>
                                          <p:attrName>style.visibility</p:attrName>
                                        </p:attrNameLst>
                                      </p:cBhvr>
                                      <p:to>
                                        <p:strVal val="visible"/>
                                      </p:to>
                                    </p:set>
                                    <p:animEffect transition="in" filter="wipe(down)">
                                      <p:cBhvr>
                                        <p:cTn id="20" dur="500"/>
                                        <p:tgtEl>
                                          <p:spTgt spid="20"/>
                                        </p:tgtEl>
                                      </p:cBhvr>
                                    </p:animEffect>
                                  </p:childTnLst>
                                </p:cTn>
                              </p:par>
                              <p:par>
                                <p:cTn id="21" presetID="22" presetClass="entr" presetSubtype="4" fill="hold" nodeType="withEffect">
                                  <p:stCondLst>
                                    <p:cond delay="800"/>
                                  </p:stCondLst>
                                  <p:childTnLst>
                                    <p:set>
                                      <p:cBhvr>
                                        <p:cTn id="22" dur="1" fill="hold">
                                          <p:stCondLst>
                                            <p:cond delay="0"/>
                                          </p:stCondLst>
                                        </p:cTn>
                                        <p:tgtEl>
                                          <p:spTgt spid="42"/>
                                        </p:tgtEl>
                                        <p:attrNameLst>
                                          <p:attrName>style.visibility</p:attrName>
                                        </p:attrNameLst>
                                      </p:cBhvr>
                                      <p:to>
                                        <p:strVal val="visible"/>
                                      </p:to>
                                    </p:set>
                                    <p:animEffect transition="in" filter="wipe(down)">
                                      <p:cBhvr>
                                        <p:cTn id="23" dur="500"/>
                                        <p:tgtEl>
                                          <p:spTgt spid="42"/>
                                        </p:tgtEl>
                                      </p:cBhvr>
                                    </p:animEffect>
                                  </p:childTnLst>
                                </p:cTn>
                              </p:par>
                              <p:par>
                                <p:cTn id="24" presetID="22" presetClass="entr" presetSubtype="4" fill="hold" nodeType="withEffect">
                                  <p:stCondLst>
                                    <p:cond delay="900"/>
                                  </p:stCondLst>
                                  <p:childTnLst>
                                    <p:set>
                                      <p:cBhvr>
                                        <p:cTn id="25" dur="1" fill="hold">
                                          <p:stCondLst>
                                            <p:cond delay="0"/>
                                          </p:stCondLst>
                                        </p:cTn>
                                        <p:tgtEl>
                                          <p:spTgt spid="43"/>
                                        </p:tgtEl>
                                        <p:attrNameLst>
                                          <p:attrName>style.visibility</p:attrName>
                                        </p:attrNameLst>
                                      </p:cBhvr>
                                      <p:to>
                                        <p:strVal val="visible"/>
                                      </p:to>
                                    </p:set>
                                    <p:animEffect transition="in" filter="wipe(down)">
                                      <p:cBhvr>
                                        <p:cTn id="26" dur="500"/>
                                        <p:tgtEl>
                                          <p:spTgt spid="43"/>
                                        </p:tgtEl>
                                      </p:cBhvr>
                                    </p:animEffect>
                                  </p:childTnLst>
                                </p:cTn>
                              </p:par>
                              <p:par>
                                <p:cTn id="27" presetID="22" presetClass="entr" presetSubtype="4" fill="hold" nodeType="withEffect">
                                  <p:stCondLst>
                                    <p:cond delay="1000"/>
                                  </p:stCondLst>
                                  <p:childTnLst>
                                    <p:set>
                                      <p:cBhvr>
                                        <p:cTn id="28" dur="1" fill="hold">
                                          <p:stCondLst>
                                            <p:cond delay="0"/>
                                          </p:stCondLst>
                                        </p:cTn>
                                        <p:tgtEl>
                                          <p:spTgt spid="44"/>
                                        </p:tgtEl>
                                        <p:attrNameLst>
                                          <p:attrName>style.visibility</p:attrName>
                                        </p:attrNameLst>
                                      </p:cBhvr>
                                      <p:to>
                                        <p:strVal val="visible"/>
                                      </p:to>
                                    </p:set>
                                    <p:animEffect transition="in" filter="wipe(down)">
                                      <p:cBhvr>
                                        <p:cTn id="29" dur="500"/>
                                        <p:tgtEl>
                                          <p:spTgt spid="44"/>
                                        </p:tgtEl>
                                      </p:cBhvr>
                                    </p:animEffect>
                                  </p:childTnLst>
                                </p:cTn>
                              </p:par>
                              <p:par>
                                <p:cTn id="30" presetID="53" presetClass="entr" presetSubtype="16" fill="hold" nodeType="withEffect">
                                  <p:stCondLst>
                                    <p:cond delay="75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par>
                                <p:cTn id="35" presetID="53" presetClass="entr" presetSubtype="16" fill="hold" nodeType="withEffect">
                                  <p:stCondLst>
                                    <p:cond delay="850"/>
                                  </p:stCondLst>
                                  <p:childTnLst>
                                    <p:set>
                                      <p:cBhvr>
                                        <p:cTn id="36" dur="1" fill="hold">
                                          <p:stCondLst>
                                            <p:cond delay="0"/>
                                          </p:stCondLst>
                                        </p:cTn>
                                        <p:tgtEl>
                                          <p:spTgt spid="25"/>
                                        </p:tgtEl>
                                        <p:attrNameLst>
                                          <p:attrName>style.visibility</p:attrName>
                                        </p:attrNameLst>
                                      </p:cBhvr>
                                      <p:to>
                                        <p:strVal val="visible"/>
                                      </p:to>
                                    </p:set>
                                    <p:anim calcmode="lin" valueType="num">
                                      <p:cBhvr>
                                        <p:cTn id="37" dur="500" fill="hold"/>
                                        <p:tgtEl>
                                          <p:spTgt spid="25"/>
                                        </p:tgtEl>
                                        <p:attrNameLst>
                                          <p:attrName>ppt_w</p:attrName>
                                        </p:attrNameLst>
                                      </p:cBhvr>
                                      <p:tavLst>
                                        <p:tav tm="0">
                                          <p:val>
                                            <p:fltVal val="0"/>
                                          </p:val>
                                        </p:tav>
                                        <p:tav tm="100000">
                                          <p:val>
                                            <p:strVal val="#ppt_w"/>
                                          </p:val>
                                        </p:tav>
                                      </p:tavLst>
                                    </p:anim>
                                    <p:anim calcmode="lin" valueType="num">
                                      <p:cBhvr>
                                        <p:cTn id="38" dur="500" fill="hold"/>
                                        <p:tgtEl>
                                          <p:spTgt spid="25"/>
                                        </p:tgtEl>
                                        <p:attrNameLst>
                                          <p:attrName>ppt_h</p:attrName>
                                        </p:attrNameLst>
                                      </p:cBhvr>
                                      <p:tavLst>
                                        <p:tav tm="0">
                                          <p:val>
                                            <p:fltVal val="0"/>
                                          </p:val>
                                        </p:tav>
                                        <p:tav tm="100000">
                                          <p:val>
                                            <p:strVal val="#ppt_h"/>
                                          </p:val>
                                        </p:tav>
                                      </p:tavLst>
                                    </p:anim>
                                    <p:animEffect transition="in" filter="fade">
                                      <p:cBhvr>
                                        <p:cTn id="39" dur="500"/>
                                        <p:tgtEl>
                                          <p:spTgt spid="25"/>
                                        </p:tgtEl>
                                      </p:cBhvr>
                                    </p:animEffect>
                                  </p:childTnLst>
                                </p:cTn>
                              </p:par>
                              <p:par>
                                <p:cTn id="40" presetID="53" presetClass="entr" presetSubtype="16" fill="hold" nodeType="withEffect">
                                  <p:stCondLst>
                                    <p:cond delay="950"/>
                                  </p:stCondLst>
                                  <p:childTnLst>
                                    <p:set>
                                      <p:cBhvr>
                                        <p:cTn id="41" dur="1" fill="hold">
                                          <p:stCondLst>
                                            <p:cond delay="0"/>
                                          </p:stCondLst>
                                        </p:cTn>
                                        <p:tgtEl>
                                          <p:spTgt spid="24"/>
                                        </p:tgtEl>
                                        <p:attrNameLst>
                                          <p:attrName>style.visibility</p:attrName>
                                        </p:attrNameLst>
                                      </p:cBhvr>
                                      <p:to>
                                        <p:strVal val="visible"/>
                                      </p:to>
                                    </p:set>
                                    <p:anim calcmode="lin" valueType="num">
                                      <p:cBhvr>
                                        <p:cTn id="42" dur="500" fill="hold"/>
                                        <p:tgtEl>
                                          <p:spTgt spid="24"/>
                                        </p:tgtEl>
                                        <p:attrNameLst>
                                          <p:attrName>ppt_w</p:attrName>
                                        </p:attrNameLst>
                                      </p:cBhvr>
                                      <p:tavLst>
                                        <p:tav tm="0">
                                          <p:val>
                                            <p:fltVal val="0"/>
                                          </p:val>
                                        </p:tav>
                                        <p:tav tm="100000">
                                          <p:val>
                                            <p:strVal val="#ppt_w"/>
                                          </p:val>
                                        </p:tav>
                                      </p:tavLst>
                                    </p:anim>
                                    <p:anim calcmode="lin" valueType="num">
                                      <p:cBhvr>
                                        <p:cTn id="43" dur="500" fill="hold"/>
                                        <p:tgtEl>
                                          <p:spTgt spid="24"/>
                                        </p:tgtEl>
                                        <p:attrNameLst>
                                          <p:attrName>ppt_h</p:attrName>
                                        </p:attrNameLst>
                                      </p:cBhvr>
                                      <p:tavLst>
                                        <p:tav tm="0">
                                          <p:val>
                                            <p:fltVal val="0"/>
                                          </p:val>
                                        </p:tav>
                                        <p:tav tm="100000">
                                          <p:val>
                                            <p:strVal val="#ppt_h"/>
                                          </p:val>
                                        </p:tav>
                                      </p:tavLst>
                                    </p:anim>
                                    <p:animEffect transition="in" filter="fade">
                                      <p:cBhvr>
                                        <p:cTn id="44" dur="500"/>
                                        <p:tgtEl>
                                          <p:spTgt spid="24"/>
                                        </p:tgtEl>
                                      </p:cBhvr>
                                    </p:animEffect>
                                  </p:childTnLst>
                                </p:cTn>
                              </p:par>
                              <p:par>
                                <p:cTn id="45" presetID="53" presetClass="entr" presetSubtype="16" fill="hold" nodeType="withEffect">
                                  <p:stCondLst>
                                    <p:cond delay="1050"/>
                                  </p:stCondLst>
                                  <p:childTnLst>
                                    <p:set>
                                      <p:cBhvr>
                                        <p:cTn id="46" dur="1" fill="hold">
                                          <p:stCondLst>
                                            <p:cond delay="0"/>
                                          </p:stCondLst>
                                        </p:cTn>
                                        <p:tgtEl>
                                          <p:spTgt spid="45"/>
                                        </p:tgtEl>
                                        <p:attrNameLst>
                                          <p:attrName>style.visibility</p:attrName>
                                        </p:attrNameLst>
                                      </p:cBhvr>
                                      <p:to>
                                        <p:strVal val="visible"/>
                                      </p:to>
                                    </p:set>
                                    <p:anim calcmode="lin" valueType="num">
                                      <p:cBhvr>
                                        <p:cTn id="47" dur="500" fill="hold"/>
                                        <p:tgtEl>
                                          <p:spTgt spid="45"/>
                                        </p:tgtEl>
                                        <p:attrNameLst>
                                          <p:attrName>ppt_w</p:attrName>
                                        </p:attrNameLst>
                                      </p:cBhvr>
                                      <p:tavLst>
                                        <p:tav tm="0">
                                          <p:val>
                                            <p:fltVal val="0"/>
                                          </p:val>
                                        </p:tav>
                                        <p:tav tm="100000">
                                          <p:val>
                                            <p:strVal val="#ppt_w"/>
                                          </p:val>
                                        </p:tav>
                                      </p:tavLst>
                                    </p:anim>
                                    <p:anim calcmode="lin" valueType="num">
                                      <p:cBhvr>
                                        <p:cTn id="48" dur="500" fill="hold"/>
                                        <p:tgtEl>
                                          <p:spTgt spid="45"/>
                                        </p:tgtEl>
                                        <p:attrNameLst>
                                          <p:attrName>ppt_h</p:attrName>
                                        </p:attrNameLst>
                                      </p:cBhvr>
                                      <p:tavLst>
                                        <p:tav tm="0">
                                          <p:val>
                                            <p:fltVal val="0"/>
                                          </p:val>
                                        </p:tav>
                                        <p:tav tm="100000">
                                          <p:val>
                                            <p:strVal val="#ppt_h"/>
                                          </p:val>
                                        </p:tav>
                                      </p:tavLst>
                                    </p:anim>
                                    <p:animEffect transition="in" filter="fade">
                                      <p:cBhvr>
                                        <p:cTn id="49" dur="500"/>
                                        <p:tgtEl>
                                          <p:spTgt spid="45"/>
                                        </p:tgtEl>
                                      </p:cBhvr>
                                    </p:animEffect>
                                  </p:childTnLst>
                                </p:cTn>
                              </p:par>
                              <p:par>
                                <p:cTn id="50" presetID="53" presetClass="entr" presetSubtype="16" fill="hold" nodeType="withEffect">
                                  <p:stCondLst>
                                    <p:cond delay="1150"/>
                                  </p:stCondLst>
                                  <p:childTnLst>
                                    <p:set>
                                      <p:cBhvr>
                                        <p:cTn id="51" dur="1" fill="hold">
                                          <p:stCondLst>
                                            <p:cond delay="0"/>
                                          </p:stCondLst>
                                        </p:cTn>
                                        <p:tgtEl>
                                          <p:spTgt spid="46"/>
                                        </p:tgtEl>
                                        <p:attrNameLst>
                                          <p:attrName>style.visibility</p:attrName>
                                        </p:attrNameLst>
                                      </p:cBhvr>
                                      <p:to>
                                        <p:strVal val="visible"/>
                                      </p:to>
                                    </p:set>
                                    <p:anim calcmode="lin" valueType="num">
                                      <p:cBhvr>
                                        <p:cTn id="52" dur="500" fill="hold"/>
                                        <p:tgtEl>
                                          <p:spTgt spid="46"/>
                                        </p:tgtEl>
                                        <p:attrNameLst>
                                          <p:attrName>ppt_w</p:attrName>
                                        </p:attrNameLst>
                                      </p:cBhvr>
                                      <p:tavLst>
                                        <p:tav tm="0">
                                          <p:val>
                                            <p:fltVal val="0"/>
                                          </p:val>
                                        </p:tav>
                                        <p:tav tm="100000">
                                          <p:val>
                                            <p:strVal val="#ppt_w"/>
                                          </p:val>
                                        </p:tav>
                                      </p:tavLst>
                                    </p:anim>
                                    <p:anim calcmode="lin" valueType="num">
                                      <p:cBhvr>
                                        <p:cTn id="53" dur="500" fill="hold"/>
                                        <p:tgtEl>
                                          <p:spTgt spid="46"/>
                                        </p:tgtEl>
                                        <p:attrNameLst>
                                          <p:attrName>ppt_h</p:attrName>
                                        </p:attrNameLst>
                                      </p:cBhvr>
                                      <p:tavLst>
                                        <p:tav tm="0">
                                          <p:val>
                                            <p:fltVal val="0"/>
                                          </p:val>
                                        </p:tav>
                                        <p:tav tm="100000">
                                          <p:val>
                                            <p:strVal val="#ppt_h"/>
                                          </p:val>
                                        </p:tav>
                                      </p:tavLst>
                                    </p:anim>
                                    <p:animEffect transition="in" filter="fade">
                                      <p:cBhvr>
                                        <p:cTn id="54" dur="500"/>
                                        <p:tgtEl>
                                          <p:spTgt spid="46"/>
                                        </p:tgtEl>
                                      </p:cBhvr>
                                    </p:animEffect>
                                  </p:childTnLst>
                                </p:cTn>
                              </p:par>
                              <p:par>
                                <p:cTn id="55" presetID="53" presetClass="entr" presetSubtype="16" fill="hold" nodeType="withEffect">
                                  <p:stCondLst>
                                    <p:cond delay="1250"/>
                                  </p:stCondLst>
                                  <p:childTnLst>
                                    <p:set>
                                      <p:cBhvr>
                                        <p:cTn id="56" dur="1" fill="hold">
                                          <p:stCondLst>
                                            <p:cond delay="0"/>
                                          </p:stCondLst>
                                        </p:cTn>
                                        <p:tgtEl>
                                          <p:spTgt spid="47"/>
                                        </p:tgtEl>
                                        <p:attrNameLst>
                                          <p:attrName>style.visibility</p:attrName>
                                        </p:attrNameLst>
                                      </p:cBhvr>
                                      <p:to>
                                        <p:strVal val="visible"/>
                                      </p:to>
                                    </p:set>
                                    <p:anim calcmode="lin" valueType="num">
                                      <p:cBhvr>
                                        <p:cTn id="57" dur="500" fill="hold"/>
                                        <p:tgtEl>
                                          <p:spTgt spid="47"/>
                                        </p:tgtEl>
                                        <p:attrNameLst>
                                          <p:attrName>ppt_w</p:attrName>
                                        </p:attrNameLst>
                                      </p:cBhvr>
                                      <p:tavLst>
                                        <p:tav tm="0">
                                          <p:val>
                                            <p:fltVal val="0"/>
                                          </p:val>
                                        </p:tav>
                                        <p:tav tm="100000">
                                          <p:val>
                                            <p:strVal val="#ppt_w"/>
                                          </p:val>
                                        </p:tav>
                                      </p:tavLst>
                                    </p:anim>
                                    <p:anim calcmode="lin" valueType="num">
                                      <p:cBhvr>
                                        <p:cTn id="58" dur="500" fill="hold"/>
                                        <p:tgtEl>
                                          <p:spTgt spid="47"/>
                                        </p:tgtEl>
                                        <p:attrNameLst>
                                          <p:attrName>ppt_h</p:attrName>
                                        </p:attrNameLst>
                                      </p:cBhvr>
                                      <p:tavLst>
                                        <p:tav tm="0">
                                          <p:val>
                                            <p:fltVal val="0"/>
                                          </p:val>
                                        </p:tav>
                                        <p:tav tm="100000">
                                          <p:val>
                                            <p:strVal val="#ppt_h"/>
                                          </p:val>
                                        </p:tav>
                                      </p:tavLst>
                                    </p:anim>
                                    <p:animEffect transition="in" filter="fade">
                                      <p:cBhvr>
                                        <p:cTn id="59" dur="500"/>
                                        <p:tgtEl>
                                          <p:spTgt spid="47"/>
                                        </p:tgtEl>
                                      </p:cBhvr>
                                    </p:animEffect>
                                  </p:childTnLst>
                                </p:cTn>
                              </p:par>
                              <p:par>
                                <p:cTn id="60" presetID="10" presetClass="entr" presetSubtype="0" fill="hold" grpId="0" nodeType="withEffect">
                                  <p:stCondLst>
                                    <p:cond delay="1000"/>
                                  </p:stCondLst>
                                  <p:childTnLst>
                                    <p:set>
                                      <p:cBhvr>
                                        <p:cTn id="61" dur="1" fill="hold">
                                          <p:stCondLst>
                                            <p:cond delay="0"/>
                                          </p:stCondLst>
                                        </p:cTn>
                                        <p:tgtEl>
                                          <p:spTgt spid="5"/>
                                        </p:tgtEl>
                                        <p:attrNameLst>
                                          <p:attrName>style.visibility</p:attrName>
                                        </p:attrNameLst>
                                      </p:cBhvr>
                                      <p:to>
                                        <p:strVal val="visible"/>
                                      </p:to>
                                    </p:set>
                                    <p:animEffect transition="in" filter="fade">
                                      <p:cBhvr>
                                        <p:cTn id="62" dur="250"/>
                                        <p:tgtEl>
                                          <p:spTgt spid="5"/>
                                        </p:tgtEl>
                                      </p:cBhvr>
                                    </p:animEffect>
                                  </p:childTnLst>
                                </p:cTn>
                              </p:par>
                              <p:par>
                                <p:cTn id="63" presetID="10" presetClass="entr" presetSubtype="0" fill="hold" grpId="0" nodeType="withEffect">
                                  <p:stCondLst>
                                    <p:cond delay="1100"/>
                                  </p:stCondLst>
                                  <p:childTnLst>
                                    <p:set>
                                      <p:cBhvr>
                                        <p:cTn id="64" dur="1" fill="hold">
                                          <p:stCondLst>
                                            <p:cond delay="0"/>
                                          </p:stCondLst>
                                        </p:cTn>
                                        <p:tgtEl>
                                          <p:spTgt spid="68"/>
                                        </p:tgtEl>
                                        <p:attrNameLst>
                                          <p:attrName>style.visibility</p:attrName>
                                        </p:attrNameLst>
                                      </p:cBhvr>
                                      <p:to>
                                        <p:strVal val="visible"/>
                                      </p:to>
                                    </p:set>
                                    <p:animEffect transition="in" filter="fade">
                                      <p:cBhvr>
                                        <p:cTn id="65" dur="250"/>
                                        <p:tgtEl>
                                          <p:spTgt spid="68"/>
                                        </p:tgtEl>
                                      </p:cBhvr>
                                    </p:animEffect>
                                  </p:childTnLst>
                                </p:cTn>
                              </p:par>
                              <p:par>
                                <p:cTn id="66" presetID="10" presetClass="entr" presetSubtype="0" fill="hold" grpId="0" nodeType="withEffect">
                                  <p:stCondLst>
                                    <p:cond delay="1200"/>
                                  </p:stCondLst>
                                  <p:childTnLst>
                                    <p:set>
                                      <p:cBhvr>
                                        <p:cTn id="67" dur="1" fill="hold">
                                          <p:stCondLst>
                                            <p:cond delay="0"/>
                                          </p:stCondLst>
                                        </p:cTn>
                                        <p:tgtEl>
                                          <p:spTgt spid="67"/>
                                        </p:tgtEl>
                                        <p:attrNameLst>
                                          <p:attrName>style.visibility</p:attrName>
                                        </p:attrNameLst>
                                      </p:cBhvr>
                                      <p:to>
                                        <p:strVal val="visible"/>
                                      </p:to>
                                    </p:set>
                                    <p:animEffect transition="in" filter="fade">
                                      <p:cBhvr>
                                        <p:cTn id="68" dur="250"/>
                                        <p:tgtEl>
                                          <p:spTgt spid="67"/>
                                        </p:tgtEl>
                                      </p:cBhvr>
                                    </p:animEffect>
                                  </p:childTnLst>
                                </p:cTn>
                              </p:par>
                              <p:par>
                                <p:cTn id="69" presetID="10" presetClass="entr" presetSubtype="0" fill="hold" grpId="0" nodeType="withEffect">
                                  <p:stCondLst>
                                    <p:cond delay="1300"/>
                                  </p:stCondLst>
                                  <p:childTnLst>
                                    <p:set>
                                      <p:cBhvr>
                                        <p:cTn id="70" dur="1" fill="hold">
                                          <p:stCondLst>
                                            <p:cond delay="0"/>
                                          </p:stCondLst>
                                        </p:cTn>
                                        <p:tgtEl>
                                          <p:spTgt spid="66"/>
                                        </p:tgtEl>
                                        <p:attrNameLst>
                                          <p:attrName>style.visibility</p:attrName>
                                        </p:attrNameLst>
                                      </p:cBhvr>
                                      <p:to>
                                        <p:strVal val="visible"/>
                                      </p:to>
                                    </p:set>
                                    <p:animEffect transition="in" filter="fade">
                                      <p:cBhvr>
                                        <p:cTn id="71" dur="250"/>
                                        <p:tgtEl>
                                          <p:spTgt spid="66"/>
                                        </p:tgtEl>
                                      </p:cBhvr>
                                    </p:animEffect>
                                  </p:childTnLst>
                                </p:cTn>
                              </p:par>
                              <p:par>
                                <p:cTn id="72" presetID="10" presetClass="entr" presetSubtype="0" fill="hold" grpId="0" nodeType="withEffect">
                                  <p:stCondLst>
                                    <p:cond delay="1400"/>
                                  </p:stCondLst>
                                  <p:childTnLst>
                                    <p:set>
                                      <p:cBhvr>
                                        <p:cTn id="73" dur="1" fill="hold">
                                          <p:stCondLst>
                                            <p:cond delay="0"/>
                                          </p:stCondLst>
                                        </p:cTn>
                                        <p:tgtEl>
                                          <p:spTgt spid="65"/>
                                        </p:tgtEl>
                                        <p:attrNameLst>
                                          <p:attrName>style.visibility</p:attrName>
                                        </p:attrNameLst>
                                      </p:cBhvr>
                                      <p:to>
                                        <p:strVal val="visible"/>
                                      </p:to>
                                    </p:set>
                                    <p:animEffect transition="in" filter="fade">
                                      <p:cBhvr>
                                        <p:cTn id="74" dur="250"/>
                                        <p:tgtEl>
                                          <p:spTgt spid="65"/>
                                        </p:tgtEl>
                                      </p:cBhvr>
                                    </p:animEffect>
                                  </p:childTnLst>
                                </p:cTn>
                              </p:par>
                              <p:par>
                                <p:cTn id="75" presetID="10" presetClass="entr" presetSubtype="0" fill="hold" grpId="0" nodeType="withEffect">
                                  <p:stCondLst>
                                    <p:cond delay="1500"/>
                                  </p:stCondLst>
                                  <p:childTnLst>
                                    <p:set>
                                      <p:cBhvr>
                                        <p:cTn id="76" dur="1" fill="hold">
                                          <p:stCondLst>
                                            <p:cond delay="0"/>
                                          </p:stCondLst>
                                        </p:cTn>
                                        <p:tgtEl>
                                          <p:spTgt spid="64"/>
                                        </p:tgtEl>
                                        <p:attrNameLst>
                                          <p:attrName>style.visibility</p:attrName>
                                        </p:attrNameLst>
                                      </p:cBhvr>
                                      <p:to>
                                        <p:strVal val="visible"/>
                                      </p:to>
                                    </p:set>
                                    <p:animEffect transition="in" filter="fade">
                                      <p:cBhvr>
                                        <p:cTn id="77" dur="25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250"/>
                        <p:tgtEl>
                          <p:spTgt spid="5"/>
                        </p:tgtEl>
                      </p:cBhvr>
                    </p:animEffect>
                  </p:childTnLst>
                </p:cTn>
              </p:par>
            </p:tnLst>
          </p:tmpl>
        </p:tmplLst>
      </p:bldP>
      <p:bldP spid="64" grpId="0">
        <p:tmplLst>
          <p:tmpl>
            <p:tnLst>
              <p:par>
                <p:cTn presetID="10" presetClass="entr" presetSubtype="0" fill="hold" nodeType="withEffect">
                  <p:stCondLst>
                    <p:cond delay="1500"/>
                  </p:stCondLst>
                  <p:childTnLst>
                    <p:set>
                      <p:cBhvr>
                        <p:cTn dur="1" fill="hold">
                          <p:stCondLst>
                            <p:cond delay="0"/>
                          </p:stCondLst>
                        </p:cTn>
                        <p:tgtEl>
                          <p:spTgt spid="64"/>
                        </p:tgtEl>
                        <p:attrNameLst>
                          <p:attrName>style.visibility</p:attrName>
                        </p:attrNameLst>
                      </p:cBhvr>
                      <p:to>
                        <p:strVal val="visible"/>
                      </p:to>
                    </p:set>
                    <p:animEffect transition="in" filter="fade">
                      <p:cBhvr>
                        <p:cTn dur="250"/>
                        <p:tgtEl>
                          <p:spTgt spid="64"/>
                        </p:tgtEl>
                      </p:cBhvr>
                    </p:animEffect>
                  </p:childTnLst>
                </p:cTn>
              </p:par>
            </p:tnLst>
          </p:tmpl>
        </p:tmplLst>
      </p:bldP>
      <p:bldP spid="65" grpId="0">
        <p:tmplLst>
          <p:tmpl>
            <p:tnLst>
              <p:par>
                <p:cTn presetID="10" presetClass="entr" presetSubtype="0" fill="hold" nodeType="withEffect">
                  <p:stCondLst>
                    <p:cond delay="1400"/>
                  </p:stCondLst>
                  <p:childTnLst>
                    <p:set>
                      <p:cBhvr>
                        <p:cTn dur="1" fill="hold">
                          <p:stCondLst>
                            <p:cond delay="0"/>
                          </p:stCondLst>
                        </p:cTn>
                        <p:tgtEl>
                          <p:spTgt spid="65"/>
                        </p:tgtEl>
                        <p:attrNameLst>
                          <p:attrName>style.visibility</p:attrName>
                        </p:attrNameLst>
                      </p:cBhvr>
                      <p:to>
                        <p:strVal val="visible"/>
                      </p:to>
                    </p:set>
                    <p:animEffect transition="in" filter="fade">
                      <p:cBhvr>
                        <p:cTn dur="250"/>
                        <p:tgtEl>
                          <p:spTgt spid="65"/>
                        </p:tgtEl>
                      </p:cBhvr>
                    </p:animEffect>
                  </p:childTnLst>
                </p:cTn>
              </p:par>
            </p:tnLst>
          </p:tmpl>
        </p:tmplLst>
      </p:bldP>
      <p:bldP spid="66" grpId="0">
        <p:tmplLst>
          <p:tmpl>
            <p:tnLst>
              <p:par>
                <p:cTn presetID="10" presetClass="entr" presetSubtype="0" fill="hold" nodeType="withEffect">
                  <p:stCondLst>
                    <p:cond delay="1300"/>
                  </p:stCondLst>
                  <p:childTnLst>
                    <p:set>
                      <p:cBhvr>
                        <p:cTn dur="1" fill="hold">
                          <p:stCondLst>
                            <p:cond delay="0"/>
                          </p:stCondLst>
                        </p:cTn>
                        <p:tgtEl>
                          <p:spTgt spid="66"/>
                        </p:tgtEl>
                        <p:attrNameLst>
                          <p:attrName>style.visibility</p:attrName>
                        </p:attrNameLst>
                      </p:cBhvr>
                      <p:to>
                        <p:strVal val="visible"/>
                      </p:to>
                    </p:set>
                    <p:animEffect transition="in" filter="fade">
                      <p:cBhvr>
                        <p:cTn dur="250"/>
                        <p:tgtEl>
                          <p:spTgt spid="66"/>
                        </p:tgtEl>
                      </p:cBhvr>
                    </p:animEffect>
                  </p:childTnLst>
                </p:cTn>
              </p:par>
            </p:tnLst>
          </p:tmpl>
        </p:tmplLst>
      </p:bldP>
      <p:bldP spid="67" grpId="0">
        <p:tmplLst>
          <p:tmpl>
            <p:tnLst>
              <p:par>
                <p:cTn presetID="10" presetClass="entr" presetSubtype="0" fill="hold" nodeType="withEffect">
                  <p:stCondLst>
                    <p:cond delay="1200"/>
                  </p:stCondLst>
                  <p:childTnLst>
                    <p:set>
                      <p:cBhvr>
                        <p:cTn dur="1" fill="hold">
                          <p:stCondLst>
                            <p:cond delay="0"/>
                          </p:stCondLst>
                        </p:cTn>
                        <p:tgtEl>
                          <p:spTgt spid="67"/>
                        </p:tgtEl>
                        <p:attrNameLst>
                          <p:attrName>style.visibility</p:attrName>
                        </p:attrNameLst>
                      </p:cBhvr>
                      <p:to>
                        <p:strVal val="visible"/>
                      </p:to>
                    </p:set>
                    <p:animEffect transition="in" filter="fade">
                      <p:cBhvr>
                        <p:cTn dur="250"/>
                        <p:tgtEl>
                          <p:spTgt spid="67"/>
                        </p:tgtEl>
                      </p:cBhvr>
                    </p:animEffect>
                  </p:childTnLst>
                </p:cTn>
              </p:par>
            </p:tnLst>
          </p:tmpl>
        </p:tmplLst>
      </p:bldP>
      <p:bldP spid="68" grpId="0">
        <p:tmplLst>
          <p:tmpl>
            <p:tnLst>
              <p:par>
                <p:cTn presetID="10" presetClass="entr" presetSubtype="0" fill="hold" nodeType="withEffect">
                  <p:stCondLst>
                    <p:cond delay="1100"/>
                  </p:stCondLst>
                  <p:childTnLst>
                    <p:set>
                      <p:cBhvr>
                        <p:cTn dur="1" fill="hold">
                          <p:stCondLst>
                            <p:cond delay="0"/>
                          </p:stCondLst>
                        </p:cTn>
                        <p:tgtEl>
                          <p:spTgt spid="68"/>
                        </p:tgtEl>
                        <p:attrNameLst>
                          <p:attrName>style.visibility</p:attrName>
                        </p:attrNameLst>
                      </p:cBhvr>
                      <p:to>
                        <p:strVal val="visible"/>
                      </p:to>
                    </p:set>
                    <p:animEffect transition="in" filter="fade">
                      <p:cBhvr>
                        <p:cTn dur="250"/>
                        <p:tgtEl>
                          <p:spTgt spid="68"/>
                        </p:tgtEl>
                      </p:cBhvr>
                    </p:animEffect>
                  </p:childTnLst>
                </p:cTn>
              </p:par>
            </p:tnLst>
          </p:tmpl>
        </p:tmplLst>
      </p:bldP>
    </p:bld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HIghlights">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44" name="Freeform 13"/>
          <p:cNvSpPr>
            <a:spLocks noEditPoints="1"/>
          </p:cNvSpPr>
          <p:nvPr userDrawn="1"/>
        </p:nvSpPr>
        <p:spPr bwMode="auto">
          <a:xfrm rot="21197796">
            <a:off x="3634317" y="977902"/>
            <a:ext cx="4921251" cy="4904317"/>
          </a:xfrm>
          <a:custGeom>
            <a:avLst/>
            <a:gdLst>
              <a:gd name="T0" fmla="*/ 2825 w 3041"/>
              <a:gd name="T1" fmla="*/ 1515 h 3029"/>
              <a:gd name="T2" fmla="*/ 2999 w 3041"/>
              <a:gd name="T3" fmla="*/ 1056 h 3029"/>
              <a:gd name="T4" fmla="*/ 2998 w 3041"/>
              <a:gd name="T5" fmla="*/ 1054 h 3029"/>
              <a:gd name="T6" fmla="*/ 2891 w 3041"/>
              <a:gd name="T7" fmla="*/ 780 h 3029"/>
              <a:gd name="T8" fmla="*/ 2891 w 3041"/>
              <a:gd name="T9" fmla="*/ 778 h 3029"/>
              <a:gd name="T10" fmla="*/ 2430 w 3041"/>
              <a:gd name="T11" fmla="*/ 582 h 3029"/>
              <a:gd name="T12" fmla="*/ 2441 w 3041"/>
              <a:gd name="T13" fmla="*/ 294 h 3029"/>
              <a:gd name="T14" fmla="*/ 2173 w 3041"/>
              <a:gd name="T15" fmla="*/ 388 h 3029"/>
              <a:gd name="T16" fmla="*/ 1876 w 3041"/>
              <a:gd name="T17" fmla="*/ 25 h 3029"/>
              <a:gd name="T18" fmla="*/ 1527 w 3041"/>
              <a:gd name="T19" fmla="*/ 0 h 3029"/>
              <a:gd name="T20" fmla="*/ 1178 w 3041"/>
              <a:gd name="T21" fmla="*/ 264 h 3029"/>
              <a:gd name="T22" fmla="*/ 933 w 3041"/>
              <a:gd name="T23" fmla="*/ 111 h 3029"/>
              <a:gd name="T24" fmla="*/ 864 w 3041"/>
              <a:gd name="T25" fmla="*/ 399 h 3029"/>
              <a:gd name="T26" fmla="*/ 414 w 3041"/>
              <a:gd name="T27" fmla="*/ 467 h 3029"/>
              <a:gd name="T28" fmla="*/ 212 w 3041"/>
              <a:gd name="T29" fmla="*/ 743 h 3029"/>
              <a:gd name="T30" fmla="*/ 268 w 3041"/>
              <a:gd name="T31" fmla="*/ 1198 h 3029"/>
              <a:gd name="T32" fmla="*/ 14 w 3041"/>
              <a:gd name="T33" fmla="*/ 1332 h 3029"/>
              <a:gd name="T34" fmla="*/ 229 w 3041"/>
              <a:gd name="T35" fmla="*/ 1520 h 3029"/>
              <a:gd name="T36" fmla="*/ 61 w 3041"/>
              <a:gd name="T37" fmla="*/ 1959 h 3029"/>
              <a:gd name="T38" fmla="*/ 190 w 3041"/>
              <a:gd name="T39" fmla="*/ 2263 h 3029"/>
              <a:gd name="T40" fmla="*/ 621 w 3041"/>
              <a:gd name="T41" fmla="*/ 2444 h 3029"/>
              <a:gd name="T42" fmla="*/ 610 w 3041"/>
              <a:gd name="T43" fmla="*/ 2732 h 3029"/>
              <a:gd name="T44" fmla="*/ 886 w 3041"/>
              <a:gd name="T45" fmla="*/ 2644 h 3029"/>
              <a:gd name="T46" fmla="*/ 1176 w 3041"/>
              <a:gd name="T47" fmla="*/ 3002 h 3029"/>
              <a:gd name="T48" fmla="*/ 1527 w 3041"/>
              <a:gd name="T49" fmla="*/ 3029 h 3029"/>
              <a:gd name="T50" fmla="*/ 1527 w 3041"/>
              <a:gd name="T51" fmla="*/ 2813 h 3029"/>
              <a:gd name="T52" fmla="*/ 1986 w 3041"/>
              <a:gd name="T53" fmla="*/ 2986 h 3029"/>
              <a:gd name="T54" fmla="*/ 2262 w 3041"/>
              <a:gd name="T55" fmla="*/ 2879 h 3029"/>
              <a:gd name="T56" fmla="*/ 2459 w 3041"/>
              <a:gd name="T57" fmla="*/ 2418 h 3029"/>
              <a:gd name="T58" fmla="*/ 2747 w 3041"/>
              <a:gd name="T59" fmla="*/ 2430 h 3029"/>
              <a:gd name="T60" fmla="*/ 2653 w 3041"/>
              <a:gd name="T61" fmla="*/ 2161 h 3029"/>
              <a:gd name="T62" fmla="*/ 3017 w 3041"/>
              <a:gd name="T63" fmla="*/ 1865 h 3029"/>
              <a:gd name="T64" fmla="*/ 3041 w 3041"/>
              <a:gd name="T65" fmla="*/ 1516 h 3029"/>
              <a:gd name="T66" fmla="*/ 1962 w 3041"/>
              <a:gd name="T67" fmla="*/ 2545 h 3029"/>
              <a:gd name="T68" fmla="*/ 1092 w 3041"/>
              <a:gd name="T69" fmla="*/ 2545 h 3029"/>
              <a:gd name="T70" fmla="*/ 497 w 3041"/>
              <a:gd name="T71" fmla="*/ 1950 h 3029"/>
              <a:gd name="T72" fmla="*/ 497 w 3041"/>
              <a:gd name="T73" fmla="*/ 1080 h 3029"/>
              <a:gd name="T74" fmla="*/ 1092 w 3041"/>
              <a:gd name="T75" fmla="*/ 485 h 3029"/>
              <a:gd name="T76" fmla="*/ 1962 w 3041"/>
              <a:gd name="T77" fmla="*/ 485 h 3029"/>
              <a:gd name="T78" fmla="*/ 2557 w 3041"/>
              <a:gd name="T79" fmla="*/ 1080 h 3029"/>
              <a:gd name="T80" fmla="*/ 2557 w 3041"/>
              <a:gd name="T81" fmla="*/ 1950 h 3029"/>
              <a:gd name="T82" fmla="*/ 1962 w 3041"/>
              <a:gd name="T83" fmla="*/ 2545 h 3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1" h="3029">
                <a:moveTo>
                  <a:pt x="2825" y="1516"/>
                </a:moveTo>
                <a:cubicBezTo>
                  <a:pt x="2825" y="1515"/>
                  <a:pt x="2825" y="1515"/>
                  <a:pt x="2825" y="1515"/>
                </a:cubicBezTo>
                <a:cubicBezTo>
                  <a:pt x="2825" y="1394"/>
                  <a:pt x="2809" y="1277"/>
                  <a:pt x="2778" y="1167"/>
                </a:cubicBezTo>
                <a:cubicBezTo>
                  <a:pt x="2999" y="1056"/>
                  <a:pt x="2999" y="1056"/>
                  <a:pt x="2999" y="1056"/>
                </a:cubicBezTo>
                <a:cubicBezTo>
                  <a:pt x="2998" y="1054"/>
                  <a:pt x="2998" y="1054"/>
                  <a:pt x="2998" y="1054"/>
                </a:cubicBezTo>
                <a:cubicBezTo>
                  <a:pt x="2998" y="1054"/>
                  <a:pt x="2998" y="1054"/>
                  <a:pt x="2998" y="1054"/>
                </a:cubicBezTo>
                <a:cubicBezTo>
                  <a:pt x="2932" y="922"/>
                  <a:pt x="2932" y="922"/>
                  <a:pt x="2932" y="922"/>
                </a:cubicBezTo>
                <a:cubicBezTo>
                  <a:pt x="2891" y="780"/>
                  <a:pt x="2891" y="780"/>
                  <a:pt x="2891" y="780"/>
                </a:cubicBezTo>
                <a:cubicBezTo>
                  <a:pt x="2891" y="780"/>
                  <a:pt x="2891" y="780"/>
                  <a:pt x="2891" y="780"/>
                </a:cubicBezTo>
                <a:cubicBezTo>
                  <a:pt x="2891" y="778"/>
                  <a:pt x="2891" y="778"/>
                  <a:pt x="2891" y="778"/>
                </a:cubicBezTo>
                <a:cubicBezTo>
                  <a:pt x="2642" y="849"/>
                  <a:pt x="2642" y="849"/>
                  <a:pt x="2642" y="849"/>
                </a:cubicBezTo>
                <a:cubicBezTo>
                  <a:pt x="2583" y="751"/>
                  <a:pt x="2512" y="661"/>
                  <a:pt x="2430" y="582"/>
                </a:cubicBezTo>
                <a:cubicBezTo>
                  <a:pt x="2574" y="401"/>
                  <a:pt x="2574" y="401"/>
                  <a:pt x="2574" y="401"/>
                </a:cubicBezTo>
                <a:cubicBezTo>
                  <a:pt x="2441" y="294"/>
                  <a:pt x="2441" y="294"/>
                  <a:pt x="2441" y="294"/>
                </a:cubicBezTo>
                <a:cubicBezTo>
                  <a:pt x="2298" y="199"/>
                  <a:pt x="2298" y="199"/>
                  <a:pt x="2298" y="199"/>
                </a:cubicBezTo>
                <a:cubicBezTo>
                  <a:pt x="2173" y="388"/>
                  <a:pt x="2173" y="388"/>
                  <a:pt x="2173" y="388"/>
                </a:cubicBezTo>
                <a:cubicBezTo>
                  <a:pt x="2071" y="330"/>
                  <a:pt x="1960" y="285"/>
                  <a:pt x="1843" y="256"/>
                </a:cubicBezTo>
                <a:cubicBezTo>
                  <a:pt x="1876" y="25"/>
                  <a:pt x="1876" y="25"/>
                  <a:pt x="1876" y="25"/>
                </a:cubicBezTo>
                <a:cubicBezTo>
                  <a:pt x="1702" y="0"/>
                  <a:pt x="1702" y="0"/>
                  <a:pt x="1702" y="0"/>
                </a:cubicBezTo>
                <a:cubicBezTo>
                  <a:pt x="1527" y="0"/>
                  <a:pt x="1527" y="0"/>
                  <a:pt x="1527" y="0"/>
                </a:cubicBezTo>
                <a:cubicBezTo>
                  <a:pt x="1527" y="217"/>
                  <a:pt x="1527" y="217"/>
                  <a:pt x="1527" y="217"/>
                </a:cubicBezTo>
                <a:cubicBezTo>
                  <a:pt x="1406" y="217"/>
                  <a:pt x="1289" y="233"/>
                  <a:pt x="1178" y="264"/>
                </a:cubicBezTo>
                <a:cubicBezTo>
                  <a:pt x="1067" y="44"/>
                  <a:pt x="1067" y="44"/>
                  <a:pt x="1067" y="44"/>
                </a:cubicBezTo>
                <a:cubicBezTo>
                  <a:pt x="933" y="111"/>
                  <a:pt x="933" y="111"/>
                  <a:pt x="933" y="111"/>
                </a:cubicBezTo>
                <a:cubicBezTo>
                  <a:pt x="789" y="155"/>
                  <a:pt x="789" y="155"/>
                  <a:pt x="789" y="155"/>
                </a:cubicBezTo>
                <a:cubicBezTo>
                  <a:pt x="864" y="399"/>
                  <a:pt x="864" y="399"/>
                  <a:pt x="864" y="399"/>
                </a:cubicBezTo>
                <a:cubicBezTo>
                  <a:pt x="765" y="458"/>
                  <a:pt x="674" y="530"/>
                  <a:pt x="595" y="612"/>
                </a:cubicBezTo>
                <a:cubicBezTo>
                  <a:pt x="414" y="467"/>
                  <a:pt x="414" y="467"/>
                  <a:pt x="414" y="467"/>
                </a:cubicBezTo>
                <a:cubicBezTo>
                  <a:pt x="307" y="601"/>
                  <a:pt x="307" y="601"/>
                  <a:pt x="307" y="601"/>
                </a:cubicBezTo>
                <a:cubicBezTo>
                  <a:pt x="212" y="743"/>
                  <a:pt x="212" y="743"/>
                  <a:pt x="212" y="743"/>
                </a:cubicBezTo>
                <a:cubicBezTo>
                  <a:pt x="401" y="869"/>
                  <a:pt x="401" y="869"/>
                  <a:pt x="401" y="869"/>
                </a:cubicBezTo>
                <a:cubicBezTo>
                  <a:pt x="342" y="971"/>
                  <a:pt x="297" y="1081"/>
                  <a:pt x="268" y="1198"/>
                </a:cubicBezTo>
                <a:cubicBezTo>
                  <a:pt x="38" y="1165"/>
                  <a:pt x="38" y="1165"/>
                  <a:pt x="38" y="1165"/>
                </a:cubicBezTo>
                <a:cubicBezTo>
                  <a:pt x="14" y="1332"/>
                  <a:pt x="14" y="1332"/>
                  <a:pt x="14" y="1332"/>
                </a:cubicBezTo>
                <a:cubicBezTo>
                  <a:pt x="0" y="1501"/>
                  <a:pt x="0" y="1501"/>
                  <a:pt x="0" y="1501"/>
                </a:cubicBezTo>
                <a:cubicBezTo>
                  <a:pt x="229" y="1520"/>
                  <a:pt x="229" y="1520"/>
                  <a:pt x="229" y="1520"/>
                </a:cubicBezTo>
                <a:cubicBezTo>
                  <a:pt x="230" y="1641"/>
                  <a:pt x="247" y="1758"/>
                  <a:pt x="278" y="1869"/>
                </a:cubicBezTo>
                <a:cubicBezTo>
                  <a:pt x="61" y="1959"/>
                  <a:pt x="61" y="1959"/>
                  <a:pt x="61" y="1959"/>
                </a:cubicBezTo>
                <a:cubicBezTo>
                  <a:pt x="124" y="2111"/>
                  <a:pt x="124" y="2111"/>
                  <a:pt x="124" y="2111"/>
                </a:cubicBezTo>
                <a:cubicBezTo>
                  <a:pt x="190" y="2263"/>
                  <a:pt x="190" y="2263"/>
                  <a:pt x="190" y="2263"/>
                </a:cubicBezTo>
                <a:cubicBezTo>
                  <a:pt x="407" y="2170"/>
                  <a:pt x="407" y="2170"/>
                  <a:pt x="407" y="2170"/>
                </a:cubicBezTo>
                <a:cubicBezTo>
                  <a:pt x="466" y="2271"/>
                  <a:pt x="538" y="2363"/>
                  <a:pt x="621" y="2444"/>
                </a:cubicBezTo>
                <a:cubicBezTo>
                  <a:pt x="480" y="2638"/>
                  <a:pt x="480" y="2638"/>
                  <a:pt x="480" y="2638"/>
                </a:cubicBezTo>
                <a:cubicBezTo>
                  <a:pt x="610" y="2732"/>
                  <a:pt x="610" y="2732"/>
                  <a:pt x="610" y="2732"/>
                </a:cubicBezTo>
                <a:cubicBezTo>
                  <a:pt x="735" y="2833"/>
                  <a:pt x="735" y="2833"/>
                  <a:pt x="735" y="2833"/>
                </a:cubicBezTo>
                <a:cubicBezTo>
                  <a:pt x="886" y="2644"/>
                  <a:pt x="886" y="2644"/>
                  <a:pt x="886" y="2644"/>
                </a:cubicBezTo>
                <a:cubicBezTo>
                  <a:pt x="987" y="2701"/>
                  <a:pt x="1096" y="2745"/>
                  <a:pt x="1211" y="2774"/>
                </a:cubicBezTo>
                <a:cubicBezTo>
                  <a:pt x="1176" y="3002"/>
                  <a:pt x="1176" y="3002"/>
                  <a:pt x="1176" y="3002"/>
                </a:cubicBezTo>
                <a:cubicBezTo>
                  <a:pt x="1350" y="3029"/>
                  <a:pt x="1350" y="3029"/>
                  <a:pt x="1350" y="3029"/>
                </a:cubicBezTo>
                <a:cubicBezTo>
                  <a:pt x="1527" y="3029"/>
                  <a:pt x="1527" y="3029"/>
                  <a:pt x="1527" y="3029"/>
                </a:cubicBezTo>
                <a:cubicBezTo>
                  <a:pt x="1527" y="2813"/>
                  <a:pt x="1527" y="2813"/>
                  <a:pt x="1527" y="2813"/>
                </a:cubicBezTo>
                <a:cubicBezTo>
                  <a:pt x="1527" y="2813"/>
                  <a:pt x="1527" y="2813"/>
                  <a:pt x="1527" y="2813"/>
                </a:cubicBezTo>
                <a:cubicBezTo>
                  <a:pt x="1648" y="2813"/>
                  <a:pt x="1765" y="2796"/>
                  <a:pt x="1876" y="2765"/>
                </a:cubicBezTo>
                <a:cubicBezTo>
                  <a:pt x="1986" y="2986"/>
                  <a:pt x="1986" y="2986"/>
                  <a:pt x="1986" y="2986"/>
                </a:cubicBezTo>
                <a:cubicBezTo>
                  <a:pt x="2119" y="2920"/>
                  <a:pt x="2119" y="2920"/>
                  <a:pt x="2119" y="2920"/>
                </a:cubicBezTo>
                <a:cubicBezTo>
                  <a:pt x="2262" y="2879"/>
                  <a:pt x="2262" y="2879"/>
                  <a:pt x="2262" y="2879"/>
                </a:cubicBezTo>
                <a:cubicBezTo>
                  <a:pt x="2191" y="2630"/>
                  <a:pt x="2191" y="2630"/>
                  <a:pt x="2191" y="2630"/>
                </a:cubicBezTo>
                <a:cubicBezTo>
                  <a:pt x="2290" y="2571"/>
                  <a:pt x="2380" y="2500"/>
                  <a:pt x="2459" y="2418"/>
                </a:cubicBezTo>
                <a:cubicBezTo>
                  <a:pt x="2640" y="2563"/>
                  <a:pt x="2640" y="2563"/>
                  <a:pt x="2640" y="2563"/>
                </a:cubicBezTo>
                <a:cubicBezTo>
                  <a:pt x="2747" y="2430"/>
                  <a:pt x="2747" y="2430"/>
                  <a:pt x="2747" y="2430"/>
                </a:cubicBezTo>
                <a:cubicBezTo>
                  <a:pt x="2842" y="2287"/>
                  <a:pt x="2842" y="2287"/>
                  <a:pt x="2842" y="2287"/>
                </a:cubicBezTo>
                <a:cubicBezTo>
                  <a:pt x="2653" y="2161"/>
                  <a:pt x="2653" y="2161"/>
                  <a:pt x="2653" y="2161"/>
                </a:cubicBezTo>
                <a:cubicBezTo>
                  <a:pt x="2711" y="2060"/>
                  <a:pt x="2757" y="1949"/>
                  <a:pt x="2786" y="1832"/>
                </a:cubicBezTo>
                <a:cubicBezTo>
                  <a:pt x="3017" y="1865"/>
                  <a:pt x="3017" y="1865"/>
                  <a:pt x="3017" y="1865"/>
                </a:cubicBezTo>
                <a:cubicBezTo>
                  <a:pt x="3041" y="1691"/>
                  <a:pt x="3041" y="1691"/>
                  <a:pt x="3041" y="1691"/>
                </a:cubicBezTo>
                <a:cubicBezTo>
                  <a:pt x="3041" y="1516"/>
                  <a:pt x="3041" y="1516"/>
                  <a:pt x="3041" y="1516"/>
                </a:cubicBezTo>
                <a:lnTo>
                  <a:pt x="2825" y="1516"/>
                </a:lnTo>
                <a:close/>
                <a:moveTo>
                  <a:pt x="1962" y="2545"/>
                </a:moveTo>
                <a:cubicBezTo>
                  <a:pt x="1825" y="2603"/>
                  <a:pt x="1678" y="2633"/>
                  <a:pt x="1527" y="2633"/>
                </a:cubicBezTo>
                <a:cubicBezTo>
                  <a:pt x="1376" y="2633"/>
                  <a:pt x="1230" y="2603"/>
                  <a:pt x="1092" y="2545"/>
                </a:cubicBezTo>
                <a:cubicBezTo>
                  <a:pt x="959" y="2489"/>
                  <a:pt x="839" y="2408"/>
                  <a:pt x="737" y="2305"/>
                </a:cubicBezTo>
                <a:cubicBezTo>
                  <a:pt x="634" y="2203"/>
                  <a:pt x="553" y="2083"/>
                  <a:pt x="497" y="1950"/>
                </a:cubicBezTo>
                <a:cubicBezTo>
                  <a:pt x="439" y="1812"/>
                  <a:pt x="409" y="1666"/>
                  <a:pt x="409" y="1515"/>
                </a:cubicBezTo>
                <a:cubicBezTo>
                  <a:pt x="409" y="1364"/>
                  <a:pt x="439" y="1217"/>
                  <a:pt x="497" y="1080"/>
                </a:cubicBezTo>
                <a:cubicBezTo>
                  <a:pt x="553" y="947"/>
                  <a:pt x="634" y="827"/>
                  <a:pt x="737" y="724"/>
                </a:cubicBezTo>
                <a:cubicBezTo>
                  <a:pt x="839" y="621"/>
                  <a:pt x="959" y="541"/>
                  <a:pt x="1092" y="485"/>
                </a:cubicBezTo>
                <a:cubicBezTo>
                  <a:pt x="1230" y="426"/>
                  <a:pt x="1376" y="397"/>
                  <a:pt x="1527" y="397"/>
                </a:cubicBezTo>
                <a:cubicBezTo>
                  <a:pt x="1678" y="397"/>
                  <a:pt x="1825" y="426"/>
                  <a:pt x="1962" y="485"/>
                </a:cubicBezTo>
                <a:cubicBezTo>
                  <a:pt x="2095" y="541"/>
                  <a:pt x="2215" y="621"/>
                  <a:pt x="2318" y="724"/>
                </a:cubicBezTo>
                <a:cubicBezTo>
                  <a:pt x="2420" y="827"/>
                  <a:pt x="2501" y="947"/>
                  <a:pt x="2557" y="1080"/>
                </a:cubicBezTo>
                <a:cubicBezTo>
                  <a:pt x="2616" y="1217"/>
                  <a:pt x="2645" y="1364"/>
                  <a:pt x="2645" y="1515"/>
                </a:cubicBezTo>
                <a:cubicBezTo>
                  <a:pt x="2645" y="1666"/>
                  <a:pt x="2616" y="1812"/>
                  <a:pt x="2557" y="1950"/>
                </a:cubicBezTo>
                <a:cubicBezTo>
                  <a:pt x="2501" y="2083"/>
                  <a:pt x="2420" y="2203"/>
                  <a:pt x="2318" y="2305"/>
                </a:cubicBezTo>
                <a:cubicBezTo>
                  <a:pt x="2215" y="2408"/>
                  <a:pt x="2095" y="2489"/>
                  <a:pt x="1962" y="2545"/>
                </a:cubicBezTo>
                <a:close/>
              </a:path>
            </a:pathLst>
          </a:custGeom>
          <a:gradFill>
            <a:gsLst>
              <a:gs pos="0">
                <a:srgbClr val="032145">
                  <a:lumMod val="25000"/>
                  <a:lumOff val="75000"/>
                </a:srgbClr>
              </a:gs>
              <a:gs pos="100000">
                <a:srgbClr val="032145">
                  <a:alpha val="27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5" name="Freeform 17"/>
          <p:cNvSpPr>
            <a:spLocks noEditPoints="1"/>
          </p:cNvSpPr>
          <p:nvPr userDrawn="1"/>
        </p:nvSpPr>
        <p:spPr bwMode="auto">
          <a:xfrm rot="1144636">
            <a:off x="1274471" y="3042352"/>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6" name="Freeform 17"/>
          <p:cNvSpPr>
            <a:spLocks noEditPoints="1"/>
          </p:cNvSpPr>
          <p:nvPr userDrawn="1"/>
        </p:nvSpPr>
        <p:spPr bwMode="auto">
          <a:xfrm>
            <a:off x="8310319" y="1227001"/>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7" name="Freeform 38"/>
          <p:cNvSpPr>
            <a:spLocks noEditPoints="1"/>
          </p:cNvSpPr>
          <p:nvPr userDrawn="1"/>
        </p:nvSpPr>
        <p:spPr bwMode="auto">
          <a:xfrm>
            <a:off x="4529669" y="1939152"/>
            <a:ext cx="3096684" cy="2982384"/>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8" name="Freeform 39"/>
          <p:cNvSpPr>
            <a:spLocks noEditPoints="1"/>
          </p:cNvSpPr>
          <p:nvPr userDrawn="1"/>
        </p:nvSpPr>
        <p:spPr bwMode="auto">
          <a:xfrm>
            <a:off x="4891617" y="2241837"/>
            <a:ext cx="2372784" cy="237701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9" name="Freeform 40"/>
          <p:cNvSpPr>
            <a:spLocks noEditPoints="1"/>
          </p:cNvSpPr>
          <p:nvPr userDrawn="1"/>
        </p:nvSpPr>
        <p:spPr bwMode="auto">
          <a:xfrm>
            <a:off x="5164668" y="2521236"/>
            <a:ext cx="1820333" cy="1824567"/>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rgbClr val="3B3C40"/>
              </a:solidFill>
              <a:effectLst/>
              <a:uLnTx/>
              <a:uFillTx/>
            </a:endParaRPr>
          </a:p>
        </p:txBody>
      </p:sp>
      <p:sp>
        <p:nvSpPr>
          <p:cNvPr id="4" name="Rectangle 3"/>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2" name="Titre 1"/>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3" name="Espace réservé du numéro de diapositive 2"/>
          <p:cNvSpPr>
            <a:spLocks noGrp="1"/>
          </p:cNvSpPr>
          <p:nvPr>
            <p:ph type="sldNum" sz="quarter" idx="10"/>
          </p:nvPr>
        </p:nvSpPr>
        <p:spPr/>
        <p:txBody>
          <a:bodyPr/>
          <a:lstStyle/>
          <a:p>
            <a:fld id="{88A6B057-71F2-43BA-98BD-164F4E914A39}" type="slidenum">
              <a:rPr lang="en-GB" smtClean="0"/>
              <a:pPr/>
              <a:t>‹#›</a:t>
            </a:fld>
            <a:endParaRPr lang="en-GB" dirty="0"/>
          </a:p>
        </p:txBody>
      </p:sp>
      <p:pic>
        <p:nvPicPr>
          <p:cNvPr id="5" name="Imag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16" name="Espace réservé du texte 15"/>
          <p:cNvSpPr>
            <a:spLocks noGrp="1" noChangeAspect="1"/>
          </p:cNvSpPr>
          <p:nvPr userDrawn="1">
            <p:ph type="body" sz="quarter" idx="11" hasCustomPrompt="1"/>
          </p:nvPr>
        </p:nvSpPr>
        <p:spPr>
          <a:xfrm>
            <a:off x="6867211"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7" name="Espace réservé du texte 15"/>
          <p:cNvSpPr>
            <a:spLocks noGrp="1" noChangeAspect="1"/>
          </p:cNvSpPr>
          <p:nvPr userDrawn="1">
            <p:ph type="body" sz="quarter" idx="12" hasCustomPrompt="1"/>
          </p:nvPr>
        </p:nvSpPr>
        <p:spPr>
          <a:xfrm>
            <a:off x="7556960" y="3408859"/>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8" name="Espace réservé du texte 15"/>
          <p:cNvSpPr>
            <a:spLocks noGrp="1" noChangeAspect="1"/>
          </p:cNvSpPr>
          <p:nvPr userDrawn="1">
            <p:ph type="body" sz="quarter" idx="13" hasCustomPrompt="1"/>
          </p:nvPr>
        </p:nvSpPr>
        <p:spPr>
          <a:xfrm>
            <a:off x="5859164" y="4900176"/>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9" name="Espace réservé du texte 15"/>
          <p:cNvSpPr>
            <a:spLocks noGrp="1" noChangeAspect="1"/>
          </p:cNvSpPr>
          <p:nvPr userDrawn="1">
            <p:ph type="body" sz="quarter" idx="14" hasCustomPrompt="1"/>
          </p:nvPr>
        </p:nvSpPr>
        <p:spPr>
          <a:xfrm>
            <a:off x="4165600" y="3438381"/>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6" name="Espace réservé du texte 15"/>
          <p:cNvSpPr>
            <a:spLocks noGrp="1" noChangeAspect="1"/>
          </p:cNvSpPr>
          <p:nvPr userDrawn="1">
            <p:ph type="body" sz="quarter" idx="15" hasCustomPrompt="1"/>
          </p:nvPr>
        </p:nvSpPr>
        <p:spPr>
          <a:xfrm>
            <a:off x="4796367"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8" name="Espace réservé du texte 27"/>
          <p:cNvSpPr>
            <a:spLocks noGrp="1"/>
          </p:cNvSpPr>
          <p:nvPr userDrawn="1">
            <p:ph type="body" sz="quarter" idx="16"/>
          </p:nvPr>
        </p:nvSpPr>
        <p:spPr>
          <a:xfrm>
            <a:off x="1307448" y="1742617"/>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29" name="Espace réservé du texte 27"/>
          <p:cNvSpPr>
            <a:spLocks noGrp="1"/>
          </p:cNvSpPr>
          <p:nvPr userDrawn="1">
            <p:ph type="body" sz="quarter" idx="17"/>
          </p:nvPr>
        </p:nvSpPr>
        <p:spPr>
          <a:xfrm>
            <a:off x="701688" y="3307518"/>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0" name="Espace réservé du texte 27"/>
          <p:cNvSpPr>
            <a:spLocks noGrp="1"/>
          </p:cNvSpPr>
          <p:nvPr userDrawn="1">
            <p:ph type="body" sz="quarter" idx="18"/>
          </p:nvPr>
        </p:nvSpPr>
        <p:spPr>
          <a:xfrm>
            <a:off x="2370245" y="4781269"/>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1" name="Espace réservé du texte 27"/>
          <p:cNvSpPr>
            <a:spLocks noGrp="1"/>
          </p:cNvSpPr>
          <p:nvPr userDrawn="1">
            <p:ph type="body" sz="quarter" idx="19"/>
          </p:nvPr>
        </p:nvSpPr>
        <p:spPr>
          <a:xfrm>
            <a:off x="7454476" y="1742617"/>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2" name="Espace réservé du texte 27"/>
          <p:cNvSpPr>
            <a:spLocks noGrp="1"/>
          </p:cNvSpPr>
          <p:nvPr userDrawn="1">
            <p:ph type="body" sz="quarter" idx="20"/>
          </p:nvPr>
        </p:nvSpPr>
        <p:spPr>
          <a:xfrm>
            <a:off x="8113484" y="3277995"/>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6" name="Espace réservé du pied de page 5"/>
          <p:cNvSpPr>
            <a:spLocks noGrp="1"/>
          </p:cNvSpPr>
          <p:nvPr>
            <p:ph type="ftr" sz="quarter" idx="2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7076173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par>
                                <p:cTn id="14" presetID="8" presetClass="emph" presetSubtype="0" decel="62500" fill="hold" grpId="0" nodeType="withEffect">
                                  <p:stCondLst>
                                    <p:cond delay="0"/>
                                  </p:stCondLst>
                                  <p:childTnLst>
                                    <p:animRot by="21600000">
                                      <p:cBhvr>
                                        <p:cTn id="15" dur="4000" fill="hold"/>
                                        <p:tgtEl>
                                          <p:spTgt spid="45"/>
                                        </p:tgtEl>
                                        <p:attrNameLst>
                                          <p:attrName>r</p:attrName>
                                        </p:attrNameLst>
                                      </p:cBhvr>
                                    </p:animRot>
                                  </p:childTnLst>
                                </p:cTn>
                              </p:par>
                              <p:par>
                                <p:cTn id="16" presetID="8" presetClass="emph" presetSubtype="0" decel="62500" fill="hold" grpId="0" nodeType="withEffect">
                                  <p:stCondLst>
                                    <p:cond delay="0"/>
                                  </p:stCondLst>
                                  <p:childTnLst>
                                    <p:animRot by="-12660000">
                                      <p:cBhvr>
                                        <p:cTn id="17" dur="4000" fill="hold"/>
                                        <p:tgtEl>
                                          <p:spTgt spid="44"/>
                                        </p:tgtEl>
                                        <p:attrNameLst>
                                          <p:attrName>r</p:attrName>
                                        </p:attrNameLst>
                                      </p:cBhvr>
                                    </p:animRot>
                                  </p:childTnLst>
                                </p:cTn>
                              </p:par>
                              <p:par>
                                <p:cTn id="18" presetID="8" presetClass="emph" presetSubtype="0" decel="62500" fill="hold" grpId="0" nodeType="withEffect">
                                  <p:stCondLst>
                                    <p:cond delay="0"/>
                                  </p:stCondLst>
                                  <p:childTnLst>
                                    <p:animRot by="21600000">
                                      <p:cBhvr>
                                        <p:cTn id="19" dur="4000" fill="hold"/>
                                        <p:tgtEl>
                                          <p:spTgt spid="46"/>
                                        </p:tgtEl>
                                        <p:attrNameLst>
                                          <p:attrName>r</p:attrName>
                                        </p:attrNameLst>
                                      </p:cBhvr>
                                    </p:animRot>
                                  </p:childTnLst>
                                </p:cTn>
                              </p:par>
                              <p:par>
                                <p:cTn id="20" presetID="10" presetClass="entr" presetSubtype="0" fill="hold" grpId="1" nodeType="with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fade">
                                      <p:cBhvr>
                                        <p:cTn id="25" dur="500"/>
                                        <p:tgtEl>
                                          <p:spTgt spid="4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8" presetClass="emph" presetSubtype="0" fill="hold" grpId="0" nodeType="withEffect">
                                  <p:stCondLst>
                                    <p:cond delay="0"/>
                                  </p:stCondLst>
                                  <p:childTnLst>
                                    <p:animRot by="21600000">
                                      <p:cBhvr>
                                        <p:cTn id="30" dur="4000" fill="hold"/>
                                        <p:tgtEl>
                                          <p:spTgt spid="49"/>
                                        </p:tgtEl>
                                        <p:attrNameLst>
                                          <p:attrName>r</p:attrName>
                                        </p:attrNameLst>
                                      </p:cBhvr>
                                    </p:animRot>
                                  </p:childTnLst>
                                </p:cTn>
                              </p:par>
                              <p:par>
                                <p:cTn id="31" presetID="8" presetClass="emph" presetSubtype="0" fill="hold" grpId="0" nodeType="withEffect">
                                  <p:stCondLst>
                                    <p:cond delay="0"/>
                                  </p:stCondLst>
                                  <p:childTnLst>
                                    <p:animRot by="-21600000">
                                      <p:cBhvr>
                                        <p:cTn id="32" dur="4000" fill="hold"/>
                                        <p:tgtEl>
                                          <p:spTgt spid="48"/>
                                        </p:tgtEl>
                                        <p:attrNameLst>
                                          <p:attrName>r</p:attrName>
                                        </p:attrNameLst>
                                      </p:cBhvr>
                                    </p:animRot>
                                  </p:childTnLst>
                                </p:cTn>
                              </p:par>
                              <p:par>
                                <p:cTn id="33" presetID="8" presetClass="emph" presetSubtype="0" fill="hold" grpId="0" nodeType="withEffect">
                                  <p:stCondLst>
                                    <p:cond delay="0"/>
                                  </p:stCondLst>
                                  <p:childTnLst>
                                    <p:animRot by="21600000">
                                      <p:cBhvr>
                                        <p:cTn id="34" dur="4000" fill="hold"/>
                                        <p:tgtEl>
                                          <p:spTgt spid="47"/>
                                        </p:tgtEl>
                                        <p:attrNameLst>
                                          <p:attrName>r</p:attrName>
                                        </p:attrNameLst>
                                      </p:cBhvr>
                                    </p:animRot>
                                  </p:childTnLst>
                                </p:cTn>
                              </p:par>
                              <p:par>
                                <p:cTn id="35" presetID="10" presetClass="entr" presetSubtype="0" fill="hold" grpId="0" nodeType="withEffect" nodePh="1">
                                  <p:stCondLst>
                                    <p:cond delay="500"/>
                                  </p:stCondLst>
                                  <p:endCondLst>
                                    <p:cond evt="begin" delay="0">
                                      <p:tn val="35"/>
                                    </p:cond>
                                  </p:end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10" presetClass="entr" presetSubtype="0" fill="hold" grpId="0" nodeType="withEffect" nodePh="1">
                                  <p:stCondLst>
                                    <p:cond delay="1000"/>
                                  </p:stCondLst>
                                  <p:endCondLst>
                                    <p:cond evt="begin" delay="0">
                                      <p:tn val="38"/>
                                    </p:cond>
                                  </p:end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grpId="0" nodeType="withEffect" nodePh="1">
                                  <p:stCondLst>
                                    <p:cond delay="1500"/>
                                  </p:stCondLst>
                                  <p:endCondLst>
                                    <p:cond evt="begin" delay="0">
                                      <p:tn val="41"/>
                                    </p:cond>
                                  </p:endCondLst>
                                  <p:childTnLst>
                                    <p:set>
                                      <p:cBhvr>
                                        <p:cTn id="42" dur="1" fill="hold">
                                          <p:stCondLst>
                                            <p:cond delay="0"/>
                                          </p:stCondLst>
                                        </p:cTn>
                                        <p:tgtEl>
                                          <p:spTgt spid="30"/>
                                        </p:tgtEl>
                                        <p:attrNameLst>
                                          <p:attrName>style.visibility</p:attrName>
                                        </p:attrNameLst>
                                      </p:cBhvr>
                                      <p:to>
                                        <p:strVal val="visible"/>
                                      </p:to>
                                    </p:set>
                                    <p:animEffect transition="in" filter="fade">
                                      <p:cBhvr>
                                        <p:cTn id="43" dur="500"/>
                                        <p:tgtEl>
                                          <p:spTgt spid="30"/>
                                        </p:tgtEl>
                                      </p:cBhvr>
                                    </p:animEffect>
                                  </p:childTnLst>
                                </p:cTn>
                              </p:par>
                              <p:par>
                                <p:cTn id="44" presetID="10" presetClass="entr" presetSubtype="0" fill="hold" grpId="0" nodeType="withEffect" nodePh="1">
                                  <p:stCondLst>
                                    <p:cond delay="2000"/>
                                  </p:stCondLst>
                                  <p:endCondLst>
                                    <p:cond evt="begin" delay="0">
                                      <p:tn val="44"/>
                                    </p:cond>
                                  </p:end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nodePh="1">
                                  <p:stCondLst>
                                    <p:cond delay="2500"/>
                                  </p:stCondLst>
                                  <p:endCondLst>
                                    <p:cond evt="begin" delay="0">
                                      <p:tn val="47"/>
                                    </p:cond>
                                  </p:endCondLst>
                                  <p:childTnLst>
                                    <p:set>
                                      <p:cBhvr>
                                        <p:cTn id="48" dur="1" fill="hold">
                                          <p:stCondLst>
                                            <p:cond delay="0"/>
                                          </p:stCondLst>
                                        </p:cTn>
                                        <p:tgtEl>
                                          <p:spTgt spid="28"/>
                                        </p:tgtEl>
                                        <p:attrNameLst>
                                          <p:attrName>style.visibility</p:attrName>
                                        </p:attrNameLst>
                                      </p:cBhvr>
                                      <p:to>
                                        <p:strVal val="visible"/>
                                      </p:to>
                                    </p:set>
                                    <p:animEffect transition="in" filter="fade">
                                      <p:cBhvr>
                                        <p:cTn id="49" dur="500"/>
                                        <p:tgtEl>
                                          <p:spTgt spid="28"/>
                                        </p:tgtEl>
                                      </p:cBhvr>
                                    </p:animEffect>
                                  </p:childTnLst>
                                </p:cTn>
                              </p:par>
                              <p:par>
                                <p:cTn id="50" presetID="10" presetClass="entr" presetSubtype="0" fill="hold" grpId="0" nodeType="withEffect">
                                  <p:stCondLst>
                                    <p:cond delay="250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200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par>
                                <p:cTn id="62" presetID="10" presetClass="entr" presetSubtype="0" fill="hold" grpId="0" nodeType="withEffect">
                                  <p:stCondLst>
                                    <p:cond delay="150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16" grpId="0" animBg="1">
        <p:tmplLst>
          <p:tmpl>
            <p:tnLst>
              <p:par>
                <p:cTn presetID="10" presetClass="entr" presetSubtype="0" fill="hold" nodeType="withEffect">
                  <p:stCondLst>
                    <p:cond delay="5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animBg="1">
        <p:tmplLst>
          <p:tmpl>
            <p:tnLst>
              <p:par>
                <p:cTn presetID="10" presetClass="entr" presetSubtype="0" fill="hold" nodeType="withEffect">
                  <p:stCondLst>
                    <p:cond delay="100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animBg="1">
        <p:tmplLst>
          <p:tmpl>
            <p:tnLst>
              <p:par>
                <p:cTn presetID="10" presetClass="entr" presetSubtype="0" fill="hold" nodeType="withEffect">
                  <p:stCondLst>
                    <p:cond delay="150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9" grpId="0" animBg="1">
        <p:tmplLst>
          <p:tmpl>
            <p:tnLst>
              <p:par>
                <p:cTn presetID="10" presetClass="entr" presetSubtype="0" fill="hold" nodeType="withEffect">
                  <p:stCondLst>
                    <p:cond delay="200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6" grpId="0" animBg="1">
        <p:tmplLst>
          <p:tmpl>
            <p:tnLst>
              <p:par>
                <p:cTn presetID="10" presetClass="entr" presetSubtype="0" fill="hold" nodeType="withEffect">
                  <p:stCondLst>
                    <p:cond delay="250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P spid="28" grpId="0">
        <p:tmplLst>
          <p:tmpl>
            <p:tnLst>
              <p:par>
                <p:cTn presetID="10" presetClass="entr" presetSubtype="0" fill="hold" nodeType="withEffect" nodePh="1">
                  <p:stCondLst>
                    <p:cond delay="2500"/>
                  </p:stCondLst>
                  <p:endCondLst>
                    <p:cond delay="0"/>
                  </p:end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29" grpId="0">
        <p:tmplLst>
          <p:tmpl>
            <p:tnLst>
              <p:par>
                <p:cTn presetID="10" presetClass="entr" presetSubtype="0" fill="hold" nodeType="withEffect" nodePh="1">
                  <p:stCondLst>
                    <p:cond delay="2000"/>
                  </p:stCondLst>
                  <p:endCondLst>
                    <p:cond delay="0"/>
                  </p:end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childTnLst>
                </p:cTn>
              </p:par>
            </p:tnLst>
          </p:tmpl>
        </p:tmplLst>
      </p:bldP>
      <p:bldP spid="30" grpId="0">
        <p:tmplLst>
          <p:tmpl>
            <p:tnLst>
              <p:par>
                <p:cTn presetID="10" presetClass="entr" presetSubtype="0" fill="hold" nodeType="withEffect" nodePh="1">
                  <p:stCondLst>
                    <p:cond delay="1500"/>
                  </p:stCondLst>
                  <p:endCondLst>
                    <p:cond delay="0"/>
                  </p:endCondLst>
                  <p:childTnLst>
                    <p:set>
                      <p:cBhvr>
                        <p:cTn dur="1" fill="hold">
                          <p:stCondLst>
                            <p:cond delay="0"/>
                          </p:stCondLst>
                        </p:cTn>
                        <p:tgtEl>
                          <p:spTgt spid="30"/>
                        </p:tgtEl>
                        <p:attrNameLst>
                          <p:attrName>style.visibility</p:attrName>
                        </p:attrNameLst>
                      </p:cBhvr>
                      <p:to>
                        <p:strVal val="visible"/>
                      </p:to>
                    </p:set>
                    <p:animEffect transition="in" filter="fade">
                      <p:cBhvr>
                        <p:cTn dur="500"/>
                        <p:tgtEl>
                          <p:spTgt spid="30"/>
                        </p:tgtEl>
                      </p:cBhvr>
                    </p:animEffect>
                  </p:childTnLst>
                </p:cTn>
              </p:par>
            </p:tnLst>
          </p:tmpl>
        </p:tmplLst>
      </p:bldP>
      <p:bldP spid="31" grpId="0">
        <p:tmplLst>
          <p:tmpl>
            <p:tnLst>
              <p:par>
                <p:cTn presetID="10" presetClass="entr" presetSubtype="0" fill="hold" nodeType="withEffect" nodePh="1">
                  <p:stCondLst>
                    <p:cond delay="500"/>
                  </p:stCondLst>
                  <p:endCondLst>
                    <p:cond delay="0"/>
                  </p:end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2" grpId="0">
        <p:tmplLst>
          <p:tmpl>
            <p:tnLst>
              <p:par>
                <p:cTn presetID="10" presetClass="entr" presetSubtype="0" fill="hold" nodeType="withEffect" nodePh="1">
                  <p:stCondLst>
                    <p:cond delay="1000"/>
                  </p:stCondLst>
                  <p:endCondLst>
                    <p:cond delay="0"/>
                  </p:end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2"/>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179816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1_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57" name="Espace réservé pour une image  56"/>
          <p:cNvSpPr>
            <a:spLocks noGrp="1"/>
          </p:cNvSpPr>
          <p:nvPr>
            <p:ph type="pic" sz="quarter" idx="10"/>
          </p:nvPr>
        </p:nvSpPr>
        <p:spPr>
          <a:xfrm>
            <a:off x="1761067" y="1198443"/>
            <a:ext cx="8669867" cy="4346255"/>
          </a:xfrm>
          <a:custGeom>
            <a:avLst/>
            <a:gdLst>
              <a:gd name="connsiteX0" fmla="*/ 6107487 w 6502400"/>
              <a:gd name="connsiteY0" fmla="*/ 3159716 h 3259691"/>
              <a:gd name="connsiteX1" fmla="*/ 6160585 w 6502400"/>
              <a:gd name="connsiteY1" fmla="*/ 3170436 h 3259691"/>
              <a:gd name="connsiteX2" fmla="*/ 6107488 w 6502400"/>
              <a:gd name="connsiteY2" fmla="*/ 3159716 h 3259691"/>
              <a:gd name="connsiteX3" fmla="*/ 152362 w 6502400"/>
              <a:gd name="connsiteY3" fmla="*/ 2752632 h 3259691"/>
              <a:gd name="connsiteX4" fmla="*/ 140361 w 6502400"/>
              <a:gd name="connsiteY4" fmla="*/ 2760723 h 3259691"/>
              <a:gd name="connsiteX5" fmla="*/ 55105 w 6502400"/>
              <a:gd name="connsiteY5" fmla="*/ 2777935 h 3259691"/>
              <a:gd name="connsiteX6" fmla="*/ 55105 w 6502400"/>
              <a:gd name="connsiteY6" fmla="*/ 2777935 h 3259691"/>
              <a:gd name="connsiteX7" fmla="*/ 99246 w 6502400"/>
              <a:gd name="connsiteY7" fmla="*/ 2773485 h 3259691"/>
              <a:gd name="connsiteX8" fmla="*/ 192667 w 6502400"/>
              <a:gd name="connsiteY8" fmla="*/ 2725457 h 3259691"/>
              <a:gd name="connsiteX9" fmla="*/ 168679 w 6502400"/>
              <a:gd name="connsiteY9" fmla="*/ 2746225 h 3259691"/>
              <a:gd name="connsiteX10" fmla="*/ 152362 w 6502400"/>
              <a:gd name="connsiteY10" fmla="*/ 2752632 h 3259691"/>
              <a:gd name="connsiteX11" fmla="*/ 215354 w 6502400"/>
              <a:gd name="connsiteY11" fmla="*/ 2705816 h 3259691"/>
              <a:gd name="connsiteX12" fmla="*/ 209982 w 6502400"/>
              <a:gd name="connsiteY12" fmla="*/ 2713783 h 3259691"/>
              <a:gd name="connsiteX13" fmla="*/ 192667 w 6502400"/>
              <a:gd name="connsiteY13" fmla="*/ 2725457 h 3259691"/>
              <a:gd name="connsiteX14" fmla="*/ 227647 w 6502400"/>
              <a:gd name="connsiteY14" fmla="*/ 2687582 h 3259691"/>
              <a:gd name="connsiteX15" fmla="*/ 229221 w 6502400"/>
              <a:gd name="connsiteY15" fmla="*/ 2689333 h 3259691"/>
              <a:gd name="connsiteX16" fmla="*/ 224118 w 6502400"/>
              <a:gd name="connsiteY16" fmla="*/ 2698229 h 3259691"/>
              <a:gd name="connsiteX17" fmla="*/ 215354 w 6502400"/>
              <a:gd name="connsiteY17" fmla="*/ 2705816 h 3259691"/>
              <a:gd name="connsiteX18" fmla="*/ 473157 w 6502400"/>
              <a:gd name="connsiteY18" fmla="*/ 0 h 3259691"/>
              <a:gd name="connsiteX19" fmla="*/ 6029243 w 6502400"/>
              <a:gd name="connsiteY19" fmla="*/ 0 h 3259691"/>
              <a:gd name="connsiteX20" fmla="*/ 6502400 w 6502400"/>
              <a:gd name="connsiteY20" fmla="*/ 473157 h 3259691"/>
              <a:gd name="connsiteX21" fmla="*/ 6502400 w 6502400"/>
              <a:gd name="connsiteY21" fmla="*/ 2784153 h 3259691"/>
              <a:gd name="connsiteX22" fmla="*/ 6492787 w 6502400"/>
              <a:gd name="connsiteY22" fmla="*/ 2879511 h 3259691"/>
              <a:gd name="connsiteX23" fmla="*/ 6471027 w 6502400"/>
              <a:gd name="connsiteY23" fmla="*/ 2949612 h 3259691"/>
              <a:gd name="connsiteX24" fmla="*/ 6289795 w 6502400"/>
              <a:gd name="connsiteY24" fmla="*/ 2997917 h 3259691"/>
              <a:gd name="connsiteX25" fmla="*/ 6289716 w 6502400"/>
              <a:gd name="connsiteY25" fmla="*/ 2997951 h 3259691"/>
              <a:gd name="connsiteX26" fmla="*/ 6296998 w 6502400"/>
              <a:gd name="connsiteY26" fmla="*/ 3034023 h 3259691"/>
              <a:gd name="connsiteX27" fmla="*/ 6160585 w 6502400"/>
              <a:gd name="connsiteY27" fmla="*/ 2897610 h 3259691"/>
              <a:gd name="connsiteX28" fmla="*/ 6024172 w 6502400"/>
              <a:gd name="connsiteY28" fmla="*/ 3034023 h 3259691"/>
              <a:gd name="connsiteX29" fmla="*/ 6034892 w 6502400"/>
              <a:gd name="connsiteY29" fmla="*/ 3087121 h 3259691"/>
              <a:gd name="connsiteX30" fmla="*/ 6054023 w 6502400"/>
              <a:gd name="connsiteY30" fmla="*/ 3115496 h 3259691"/>
              <a:gd name="connsiteX31" fmla="*/ 6045354 w 6502400"/>
              <a:gd name="connsiteY31" fmla="*/ 3102639 h 3259691"/>
              <a:gd name="connsiteX32" fmla="*/ 6044375 w 6502400"/>
              <a:gd name="connsiteY32" fmla="*/ 3103058 h 3259691"/>
              <a:gd name="connsiteX33" fmla="*/ 5794026 w 6502400"/>
              <a:gd name="connsiteY33" fmla="*/ 3259691 h 3259691"/>
              <a:gd name="connsiteX34" fmla="*/ 739866 w 6502400"/>
              <a:gd name="connsiteY34" fmla="*/ 3257310 h 3259691"/>
              <a:gd name="connsiteX35" fmla="*/ 229221 w 6502400"/>
              <a:gd name="connsiteY35" fmla="*/ 2689333 h 3259691"/>
              <a:gd name="connsiteX36" fmla="*/ 260843 w 6502400"/>
              <a:gd name="connsiteY36" fmla="*/ 2634216 h 3259691"/>
              <a:gd name="connsiteX37" fmla="*/ 274133 w 6502400"/>
              <a:gd name="connsiteY37" fmla="*/ 2558906 h 3259691"/>
              <a:gd name="connsiteX38" fmla="*/ 55104 w 6502400"/>
              <a:gd name="connsiteY38" fmla="*/ 2339877 h 3259691"/>
              <a:gd name="connsiteX39" fmla="*/ 10962 w 6502400"/>
              <a:gd name="connsiteY39" fmla="*/ 2344327 h 3259691"/>
              <a:gd name="connsiteX40" fmla="*/ 0 w 6502400"/>
              <a:gd name="connsiteY40" fmla="*/ 2347730 h 3259691"/>
              <a:gd name="connsiteX41" fmla="*/ 0 w 6502400"/>
              <a:gd name="connsiteY41" fmla="*/ 473157 h 3259691"/>
              <a:gd name="connsiteX42" fmla="*/ 473157 w 6502400"/>
              <a:gd name="connsiteY42" fmla="*/ 0 h 325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02400" h="3259691">
                <a:moveTo>
                  <a:pt x="6107487" y="3159716"/>
                </a:moveTo>
                <a:lnTo>
                  <a:pt x="6160585" y="3170436"/>
                </a:lnTo>
                <a:cubicBezTo>
                  <a:pt x="6141751" y="3170436"/>
                  <a:pt x="6123808" y="3166619"/>
                  <a:pt x="6107488" y="3159716"/>
                </a:cubicBezTo>
                <a:close/>
                <a:moveTo>
                  <a:pt x="152362" y="2752632"/>
                </a:moveTo>
                <a:lnTo>
                  <a:pt x="140361" y="2760723"/>
                </a:lnTo>
                <a:cubicBezTo>
                  <a:pt x="114157" y="2771806"/>
                  <a:pt x="85347" y="2777935"/>
                  <a:pt x="55105" y="2777935"/>
                </a:cubicBezTo>
                <a:lnTo>
                  <a:pt x="55105" y="2777935"/>
                </a:lnTo>
                <a:lnTo>
                  <a:pt x="99246" y="2773485"/>
                </a:lnTo>
                <a:close/>
                <a:moveTo>
                  <a:pt x="192667" y="2725457"/>
                </a:moveTo>
                <a:lnTo>
                  <a:pt x="168679" y="2746225"/>
                </a:lnTo>
                <a:lnTo>
                  <a:pt x="152362" y="2752632"/>
                </a:lnTo>
                <a:close/>
                <a:moveTo>
                  <a:pt x="215354" y="2705816"/>
                </a:moveTo>
                <a:lnTo>
                  <a:pt x="209982" y="2713783"/>
                </a:lnTo>
                <a:lnTo>
                  <a:pt x="192667" y="2725457"/>
                </a:lnTo>
                <a:close/>
                <a:moveTo>
                  <a:pt x="227647" y="2687582"/>
                </a:moveTo>
                <a:lnTo>
                  <a:pt x="229221" y="2689333"/>
                </a:lnTo>
                <a:lnTo>
                  <a:pt x="224118" y="2698229"/>
                </a:lnTo>
                <a:lnTo>
                  <a:pt x="215354" y="2705816"/>
                </a:lnTo>
                <a:close/>
                <a:moveTo>
                  <a:pt x="473157" y="0"/>
                </a:moveTo>
                <a:lnTo>
                  <a:pt x="6029243" y="0"/>
                </a:lnTo>
                <a:cubicBezTo>
                  <a:pt x="6290560" y="0"/>
                  <a:pt x="6502400" y="211840"/>
                  <a:pt x="6502400" y="473157"/>
                </a:cubicBezTo>
                <a:lnTo>
                  <a:pt x="6502400" y="2784153"/>
                </a:lnTo>
                <a:cubicBezTo>
                  <a:pt x="6502400" y="2816818"/>
                  <a:pt x="6499090" y="2848709"/>
                  <a:pt x="6492787" y="2879511"/>
                </a:cubicBezTo>
                <a:lnTo>
                  <a:pt x="6471027" y="2949612"/>
                </a:lnTo>
                <a:lnTo>
                  <a:pt x="6289795" y="2997917"/>
                </a:lnTo>
                <a:lnTo>
                  <a:pt x="6289716" y="2997951"/>
                </a:lnTo>
                <a:lnTo>
                  <a:pt x="6296998" y="3034023"/>
                </a:lnTo>
                <a:cubicBezTo>
                  <a:pt x="6296998" y="2958684"/>
                  <a:pt x="6235924" y="2897610"/>
                  <a:pt x="6160585" y="2897610"/>
                </a:cubicBezTo>
                <a:cubicBezTo>
                  <a:pt x="6085246" y="2897610"/>
                  <a:pt x="6024172" y="2958684"/>
                  <a:pt x="6024172" y="3034023"/>
                </a:cubicBezTo>
                <a:cubicBezTo>
                  <a:pt x="6024172" y="3052858"/>
                  <a:pt x="6027989" y="3070801"/>
                  <a:pt x="6034892" y="3087121"/>
                </a:cubicBezTo>
                <a:lnTo>
                  <a:pt x="6054023" y="3115496"/>
                </a:lnTo>
                <a:lnTo>
                  <a:pt x="6045354" y="3102639"/>
                </a:lnTo>
                <a:lnTo>
                  <a:pt x="6044375" y="3103058"/>
                </a:lnTo>
                <a:lnTo>
                  <a:pt x="5794026" y="3259691"/>
                </a:lnTo>
                <a:lnTo>
                  <a:pt x="739866" y="3257310"/>
                </a:lnTo>
                <a:lnTo>
                  <a:pt x="229221" y="2689333"/>
                </a:lnTo>
                <a:lnTo>
                  <a:pt x="260843" y="2634216"/>
                </a:lnTo>
                <a:cubicBezTo>
                  <a:pt x="269441" y="2610733"/>
                  <a:pt x="274133" y="2585367"/>
                  <a:pt x="274133" y="2558906"/>
                </a:cubicBezTo>
                <a:cubicBezTo>
                  <a:pt x="274133" y="2437940"/>
                  <a:pt x="176070" y="2339877"/>
                  <a:pt x="55104" y="2339877"/>
                </a:cubicBezTo>
                <a:cubicBezTo>
                  <a:pt x="39984" y="2339877"/>
                  <a:pt x="25221" y="2341409"/>
                  <a:pt x="10962" y="2344327"/>
                </a:cubicBezTo>
                <a:lnTo>
                  <a:pt x="0" y="2347730"/>
                </a:lnTo>
                <a:lnTo>
                  <a:pt x="0" y="473157"/>
                </a:lnTo>
                <a:cubicBezTo>
                  <a:pt x="0" y="211840"/>
                  <a:pt x="211840" y="0"/>
                  <a:pt x="473157"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dirty="0"/>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pic>
        <p:nvPicPr>
          <p:cNvPr id="104" name="Image 103"/>
          <p:cNvPicPr>
            <a:picLocks noChangeAspect="1"/>
          </p:cNvPicPr>
          <p:nvPr userDrawn="1"/>
        </p:nvPicPr>
        <p:blipFill>
          <a:blip r:embed="rId4"/>
          <a:srcRect/>
          <a:stretch>
            <a:fillRect/>
          </a:stretch>
        </p:blipFill>
        <p:spPr>
          <a:xfrm>
            <a:off x="-467455" y="-397260"/>
            <a:ext cx="3194581" cy="3194581"/>
          </a:xfrm>
          <a:custGeom>
            <a:avLst/>
            <a:gdLst>
              <a:gd name="connsiteX0" fmla="*/ 0 w 2395936"/>
              <a:gd name="connsiteY0" fmla="*/ 0 h 2395936"/>
              <a:gd name="connsiteX1" fmla="*/ 2395936 w 2395936"/>
              <a:gd name="connsiteY1" fmla="*/ 0 h 2395936"/>
              <a:gd name="connsiteX2" fmla="*/ 2395936 w 2395936"/>
              <a:gd name="connsiteY2" fmla="*/ 1196777 h 2395936"/>
              <a:gd name="connsiteX3" fmla="*/ 2133017 w 2395936"/>
              <a:gd name="connsiteY3" fmla="*/ 1196777 h 2395936"/>
              <a:gd name="connsiteX4" fmla="*/ 1671391 w 2395936"/>
              <a:gd name="connsiteY4" fmla="*/ 1658403 h 2395936"/>
              <a:gd name="connsiteX5" fmla="*/ 1671391 w 2395936"/>
              <a:gd name="connsiteY5" fmla="*/ 2395936 h 2395936"/>
              <a:gd name="connsiteX6" fmla="*/ 0 w 2395936"/>
              <a:gd name="connsiteY6" fmla="*/ 2395936 h 239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936" h="2395936">
                <a:moveTo>
                  <a:pt x="0" y="0"/>
                </a:moveTo>
                <a:lnTo>
                  <a:pt x="2395936" y="0"/>
                </a:lnTo>
                <a:lnTo>
                  <a:pt x="2395936" y="1196777"/>
                </a:lnTo>
                <a:lnTo>
                  <a:pt x="2133017" y="1196777"/>
                </a:lnTo>
                <a:cubicBezTo>
                  <a:pt x="1878068" y="1196777"/>
                  <a:pt x="1671391" y="1403454"/>
                  <a:pt x="1671391" y="1658403"/>
                </a:cubicBezTo>
                <a:lnTo>
                  <a:pt x="1671391" y="2395936"/>
                </a:lnTo>
                <a:lnTo>
                  <a:pt x="0" y="2395936"/>
                </a:lnTo>
                <a:close/>
              </a:path>
            </a:pathLst>
          </a:custGeom>
        </p:spPr>
      </p:pic>
      <p:grpSp>
        <p:nvGrpSpPr>
          <p:cNvPr id="58" name="Groupe 57"/>
          <p:cNvGrpSpPr/>
          <p:nvPr userDrawn="1"/>
        </p:nvGrpSpPr>
        <p:grpSpPr>
          <a:xfrm>
            <a:off x="-278372" y="4318279"/>
            <a:ext cx="12653659" cy="1237084"/>
            <a:chOff x="-208779" y="3238709"/>
            <a:chExt cx="9490244" cy="927813"/>
          </a:xfrm>
        </p:grpSpPr>
        <p:grpSp>
          <p:nvGrpSpPr>
            <p:cNvPr id="59" name="Groupe 58"/>
            <p:cNvGrpSpPr/>
            <p:nvPr/>
          </p:nvGrpSpPr>
          <p:grpSpPr>
            <a:xfrm>
              <a:off x="-208779" y="3720857"/>
              <a:ext cx="366612" cy="366612"/>
              <a:chOff x="1611689" y="1398034"/>
              <a:chExt cx="2388572" cy="2388572"/>
            </a:xfrm>
          </p:grpSpPr>
          <p:sp>
            <p:nvSpPr>
              <p:cNvPr id="88" name="Ellipse 87"/>
              <p:cNvSpPr/>
              <p:nvPr/>
            </p:nvSpPr>
            <p:spPr>
              <a:xfrm>
                <a:off x="1611689" y="1398034"/>
                <a:ext cx="2388572" cy="238857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9"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90"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1"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2"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3"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4"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0" name="Groupe 59"/>
            <p:cNvGrpSpPr/>
            <p:nvPr/>
          </p:nvGrpSpPr>
          <p:grpSpPr>
            <a:xfrm>
              <a:off x="155575" y="3238709"/>
              <a:ext cx="9125890" cy="830559"/>
              <a:chOff x="155575" y="3238709"/>
              <a:chExt cx="9125890" cy="830559"/>
            </a:xfrm>
          </p:grpSpPr>
          <p:grpSp>
            <p:nvGrpSpPr>
              <p:cNvPr id="62" name="Groupe 61"/>
              <p:cNvGrpSpPr/>
              <p:nvPr/>
            </p:nvGrpSpPr>
            <p:grpSpPr>
              <a:xfrm>
                <a:off x="1156875" y="3238709"/>
                <a:ext cx="438058" cy="438058"/>
                <a:chOff x="1611689" y="1398034"/>
                <a:chExt cx="2388572" cy="2388572"/>
              </a:xfrm>
            </p:grpSpPr>
            <p:sp>
              <p:nvSpPr>
                <p:cNvPr id="81" name="Ellipse 80"/>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2"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83"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4"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5"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6"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7"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3" name="Groupe 62"/>
              <p:cNvGrpSpPr/>
              <p:nvPr/>
            </p:nvGrpSpPr>
            <p:grpSpPr>
              <a:xfrm>
                <a:off x="7344972" y="3796442"/>
                <a:ext cx="272826" cy="272826"/>
                <a:chOff x="1611689" y="1398034"/>
                <a:chExt cx="2388572" cy="2388572"/>
              </a:xfrm>
            </p:grpSpPr>
            <p:sp>
              <p:nvSpPr>
                <p:cNvPr id="74" name="Ellipse 73"/>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75"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76"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7"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8"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9"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0"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4" name="Groupe 63"/>
              <p:cNvGrpSpPr/>
              <p:nvPr/>
            </p:nvGrpSpPr>
            <p:grpSpPr>
              <a:xfrm>
                <a:off x="8850665" y="3296625"/>
                <a:ext cx="430800" cy="430800"/>
                <a:chOff x="1611689" y="1398034"/>
                <a:chExt cx="2388572" cy="2388572"/>
              </a:xfrm>
            </p:grpSpPr>
            <p:sp>
              <p:nvSpPr>
                <p:cNvPr id="67" name="Ellipse 66"/>
                <p:cNvSpPr/>
                <p:nvPr/>
              </p:nvSpPr>
              <p:spPr>
                <a:xfrm>
                  <a:off x="1611689" y="1398034"/>
                  <a:ext cx="2388572" cy="2388572"/>
                </a:xfrm>
                <a:prstGeom prst="ellipse">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68"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69"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0"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1"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2"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3"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cxnSp>
            <p:nvCxnSpPr>
              <p:cNvPr id="65" name="Connecteur droit 64"/>
              <p:cNvCxnSpPr/>
              <p:nvPr/>
            </p:nvCxnSpPr>
            <p:spPr>
              <a:xfrm flipV="1">
                <a:off x="155575" y="3524250"/>
                <a:ext cx="1009650" cy="339727"/>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6" name="Connecteur droit 65"/>
              <p:cNvCxnSpPr/>
              <p:nvPr/>
            </p:nvCxnSpPr>
            <p:spPr>
              <a:xfrm flipH="1">
                <a:off x="7616537" y="3562350"/>
                <a:ext cx="1241713" cy="349225"/>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61" name="Forme libre : forme 60"/>
            <p:cNvSpPr/>
            <p:nvPr/>
          </p:nvSpPr>
          <p:spPr>
            <a:xfrm>
              <a:off x="1549400" y="3588672"/>
              <a:ext cx="5816600" cy="577850"/>
            </a:xfrm>
            <a:custGeom>
              <a:avLst/>
              <a:gdLst>
                <a:gd name="connsiteX0" fmla="*/ 0 w 5816600"/>
                <a:gd name="connsiteY0" fmla="*/ 0 h 577850"/>
                <a:gd name="connsiteX1" fmla="*/ 520700 w 5816600"/>
                <a:gd name="connsiteY1" fmla="*/ 577850 h 577850"/>
                <a:gd name="connsiteX2" fmla="*/ 5556250 w 5816600"/>
                <a:gd name="connsiteY2" fmla="*/ 577850 h 577850"/>
                <a:gd name="connsiteX3" fmla="*/ 5816600 w 5816600"/>
                <a:gd name="connsiteY3" fmla="*/ 425450 h 577850"/>
              </a:gdLst>
              <a:ahLst/>
              <a:cxnLst>
                <a:cxn ang="0">
                  <a:pos x="connsiteX0" y="connsiteY0"/>
                </a:cxn>
                <a:cxn ang="0">
                  <a:pos x="connsiteX1" y="connsiteY1"/>
                </a:cxn>
                <a:cxn ang="0">
                  <a:pos x="connsiteX2" y="connsiteY2"/>
                </a:cxn>
                <a:cxn ang="0">
                  <a:pos x="connsiteX3" y="connsiteY3"/>
                </a:cxn>
              </a:cxnLst>
              <a:rect l="l" t="t" r="r" b="b"/>
              <a:pathLst>
                <a:path w="5816600" h="577850">
                  <a:moveTo>
                    <a:pt x="0" y="0"/>
                  </a:moveTo>
                  <a:lnTo>
                    <a:pt x="520700" y="577850"/>
                  </a:lnTo>
                  <a:lnTo>
                    <a:pt x="5556250" y="577850"/>
                  </a:lnTo>
                  <a:lnTo>
                    <a:pt x="5816600" y="425450"/>
                  </a:lnTo>
                </a:path>
              </a:pathLst>
            </a:cu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grpSp>
      <p:sp>
        <p:nvSpPr>
          <p:cNvPr id="5" name="Espace réservé du texte 4"/>
          <p:cNvSpPr>
            <a:spLocks noGrp="1"/>
          </p:cNvSpPr>
          <p:nvPr>
            <p:ph type="body" sz="quarter" idx="11" hasCustomPrompt="1"/>
          </p:nvPr>
        </p:nvSpPr>
        <p:spPr>
          <a:xfrm>
            <a:off x="2800216" y="5106329"/>
            <a:ext cx="6591600" cy="807879"/>
          </a:xfrm>
          <a:prstGeom prst="roundRect">
            <a:avLst>
              <a:gd name="adj" fmla="val 50000"/>
            </a:avLst>
          </a:prstGeom>
          <a:gradFill>
            <a:gsLst>
              <a:gs pos="53000">
                <a:schemeClr val="tx2">
                  <a:lumMod val="75000"/>
                  <a:lumOff val="25000"/>
                </a:schemeClr>
              </a:gs>
              <a:gs pos="100000">
                <a:schemeClr val="accent1"/>
              </a:gs>
              <a:gs pos="0">
                <a:srgbClr val="4891A0"/>
              </a:gs>
            </a:gsLst>
            <a:path path="circle">
              <a:fillToRect l="100000" t="100000"/>
            </a:path>
          </a:gradFill>
        </p:spPr>
        <p:txBody>
          <a:bodyPr wrap="none" lIns="72000" tIns="0" rIns="72000" bIns="0" anchor="ctr">
            <a:spAutoFit/>
          </a:bodyPr>
          <a:lstStyle>
            <a:lvl1pPr marL="0" indent="0" algn="ctr">
              <a:buNone/>
              <a:defRPr sz="3733" baseline="0">
                <a:solidFill>
                  <a:schemeClr val="bg1"/>
                </a:solidFill>
              </a:defRPr>
            </a:lvl1pPr>
            <a:lvl2pPr marL="133347" indent="0">
              <a:buFont typeface="Arial" panose="020B0604020202020204" pitchFamily="34" charset="0"/>
              <a:buNone/>
              <a:defRPr/>
            </a:lvl2pPr>
            <a:lvl3pPr marL="478355" indent="0">
              <a:buNone/>
              <a:defRPr/>
            </a:lvl3pPr>
            <a:lvl4pPr marL="831830" indent="0">
              <a:buNone/>
              <a:defRPr/>
            </a:lvl4pPr>
            <a:lvl5pPr marL="1195887" indent="0">
              <a:buNone/>
              <a:defRPr/>
            </a:lvl5pPr>
          </a:lstStyle>
          <a:p>
            <a:pPr lvl="0"/>
            <a:r>
              <a:rPr lang="fr-FR" dirty="0"/>
              <a:t>Click pour rajouter du texte</a:t>
            </a:r>
          </a:p>
        </p:txBody>
      </p:sp>
      <p:sp>
        <p:nvSpPr>
          <p:cNvPr id="3" name="Espace réservé du pied de page 2"/>
          <p:cNvSpPr>
            <a:spLocks noGrp="1"/>
          </p:cNvSpPr>
          <p:nvPr>
            <p:ph type="ftr" sz="quarter" idx="12"/>
          </p:nvPr>
        </p:nvSpPr>
        <p:spPr/>
        <p:txBody>
          <a:bodyPr/>
          <a:lstStyle/>
          <a:p>
            <a:r>
              <a:rPr lang="fr-FR"/>
              <a:t>| Titre de la présentation</a:t>
            </a:r>
            <a:endParaRPr lang="fr-FR" dirty="0"/>
          </a:p>
        </p:txBody>
      </p:sp>
    </p:spTree>
    <p:extLst>
      <p:ext uri="{BB962C8B-B14F-4D97-AF65-F5344CB8AC3E}">
        <p14:creationId xmlns:p14="http://schemas.microsoft.com/office/powerpoint/2010/main" val="33000453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7"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8"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9"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20" name="Rectangle 19"/>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1"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25652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465222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pic>
        <p:nvPicPr>
          <p:cNvPr id="4" name="Picture 3"/>
          <p:cNvPicPr>
            <a:picLocks noChangeAspect="1"/>
          </p:cNvPicPr>
          <p:nvPr userDrawn="1"/>
        </p:nvPicPr>
        <p:blipFill>
          <a:blip r:embed="rId2"/>
          <a:stretch>
            <a:fillRect/>
          </a:stretch>
        </p:blipFill>
        <p:spPr>
          <a:xfrm>
            <a:off x="0" y="-440012"/>
            <a:ext cx="12192000" cy="8132064"/>
          </a:xfrm>
          <a:prstGeom prst="rect">
            <a:avLst/>
          </a:prstGeom>
        </p:spPr>
      </p:pic>
    </p:spTree>
    <p:extLst>
      <p:ext uri="{BB962C8B-B14F-4D97-AF65-F5344CB8AC3E}">
        <p14:creationId xmlns:p14="http://schemas.microsoft.com/office/powerpoint/2010/main" val="34727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032693"/>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78370699"/>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Influencer - No Logos">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76013" y="381000"/>
            <a:ext cx="11175647" cy="609600"/>
          </a:xfrm>
          <a:prstGeom prst="rect">
            <a:avLst/>
          </a:prstGeom>
        </p:spPr>
        <p:txBody>
          <a:bodyPr vert="horz" lIns="91440" tIns="45720" rIns="91440" bIns="45720" rtlCol="0" anchor="ctr">
            <a:normAutofit/>
          </a:bodyPr>
          <a:lstStyle/>
          <a:p>
            <a:r>
              <a:rPr lang="en-US" dirty="0"/>
              <a:t>Click to edit Master title style</a:t>
            </a:r>
          </a:p>
        </p:txBody>
      </p:sp>
      <p:sp>
        <p:nvSpPr>
          <p:cNvPr id="18" name="Text Placeholder 15"/>
          <p:cNvSpPr>
            <a:spLocks noGrp="1"/>
          </p:cNvSpPr>
          <p:nvPr>
            <p:ph type="body" sz="quarter" idx="10"/>
          </p:nvPr>
        </p:nvSpPr>
        <p:spPr>
          <a:xfrm>
            <a:off x="3815935" y="990600"/>
            <a:ext cx="4495800" cy="381000"/>
          </a:xfrm>
          <a:prstGeom prst="rect">
            <a:avLst/>
          </a:prstGeom>
        </p:spPr>
        <p:txBody>
          <a:bodyPr/>
          <a:lstStyle>
            <a:lvl1pPr>
              <a:defRPr sz="2400">
                <a:solidFill>
                  <a:schemeClr val="bg1">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2376525938"/>
      </p:ext>
    </p:extLst>
  </p:cSld>
  <p:clrMapOvr>
    <a:masterClrMapping/>
  </p:clrMapOvr>
  <p:transition spd="slow">
    <p:wip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1"/>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29568382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60" y="1513"/>
            <a:ext cx="9965905" cy="1103387"/>
          </a:xfrm>
        </p:spPr>
        <p:txBody>
          <a:bodyPr/>
          <a:lstStyle/>
          <a:p>
            <a:r>
              <a:rPr lang="fr-FR" dirty="0" err="1"/>
              <a:t>titel</a:t>
            </a:r>
            <a:endParaRPr lang="fr-FR" dirty="0"/>
          </a:p>
        </p:txBody>
      </p:sp>
      <p:sp>
        <p:nvSpPr>
          <p:cNvPr id="3" name="Espace réservé du contenu 2"/>
          <p:cNvSpPr>
            <a:spLocks noGrp="1"/>
          </p:cNvSpPr>
          <p:nvPr>
            <p:ph idx="1"/>
          </p:nvPr>
        </p:nvSpPr>
        <p:spPr>
          <a:xfrm>
            <a:off x="345586" y="1612902"/>
            <a:ext cx="11404033" cy="4533748"/>
          </a:xfrm>
        </p:spPr>
        <p:txBody>
          <a:bodyPr/>
          <a:lstStyle/>
          <a:p>
            <a:pPr lvl="0"/>
            <a:r>
              <a:rPr lang="nl-NL"/>
              <a:t>Klik om de modelstijlen te bewerken</a:t>
            </a:r>
          </a:p>
          <a:p>
            <a:pPr lvl="1"/>
            <a:r>
              <a:rPr lang="nl-NL"/>
              <a:t>Tweede niveau</a:t>
            </a:r>
          </a:p>
          <a:p>
            <a:pPr lvl="2"/>
            <a:r>
              <a:rPr lang="nl-NL"/>
              <a:t>Derde niveau</a:t>
            </a:r>
          </a:p>
          <a:p>
            <a:pPr lvl="3"/>
            <a:r>
              <a:rPr lang="nl-NL"/>
              <a:t>Vierde niveau</a:t>
            </a:r>
          </a:p>
        </p:txBody>
      </p:sp>
    </p:spTree>
    <p:extLst>
      <p:ext uri="{BB962C8B-B14F-4D97-AF65-F5344CB8AC3E}">
        <p14:creationId xmlns:p14="http://schemas.microsoft.com/office/powerpoint/2010/main" val="308321654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2828428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1078974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obj" preserve="1">
  <p:cSld name="Code slide">
    <p:spTree>
      <p:nvGrpSpPr>
        <p:cNvPr id="1" name=""/>
        <p:cNvGrpSpPr/>
        <p:nvPr/>
      </p:nvGrpSpPr>
      <p:grpSpPr>
        <a:xfrm>
          <a:off x="0" y="0"/>
          <a:ext cx="0" cy="0"/>
          <a:chOff x="0" y="0"/>
          <a:chExt cx="0" cy="0"/>
        </a:xfrm>
      </p:grpSpPr>
      <p:sp>
        <p:nvSpPr>
          <p:cNvPr id="4" name="Rectangle 3"/>
          <p:cNvSpPr/>
          <p:nvPr userDrawn="1"/>
        </p:nvSpPr>
        <p:spPr>
          <a:xfrm>
            <a:off x="9476509" y="6043353"/>
            <a:ext cx="2715491" cy="814647"/>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1026" name="Picture 2" descr="C:\Users\wmmih\AppData\Local\Temp\SNAGHTML126d09d4.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6569" y="1825625"/>
            <a:ext cx="11975431" cy="5080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hasCustomPrompt="1"/>
          </p:nvPr>
        </p:nvSpPr>
        <p:spPr>
          <a:xfrm>
            <a:off x="838200" y="2019299"/>
            <a:ext cx="10515600" cy="4157663"/>
          </a:xfrm>
        </p:spPr>
        <p:txBody>
          <a:bodyPr/>
          <a:lstStyle>
            <a:lvl1pPr marL="0" indent="0">
              <a:buNone/>
              <a:defRPr/>
            </a:lvl1pPr>
          </a:lstStyle>
          <a:p>
            <a:r>
              <a:rPr lang="en-US" sz="2800" dirty="0">
                <a:solidFill>
                  <a:srgbClr val="0000FF"/>
                </a:solidFill>
                <a:latin typeface="Consolas" panose="020B0609020204030204" pitchFamily="49" charset="0"/>
              </a:rPr>
              <a:t>function</a:t>
            </a:r>
            <a:r>
              <a:rPr lang="en-US" sz="2800" dirty="0">
                <a:solidFill>
                  <a:srgbClr val="000000"/>
                </a:solidFill>
                <a:latin typeface="Consolas" panose="020B0609020204030204" pitchFamily="49" charset="0"/>
              </a:rPr>
              <a:t> foo(x) {</a:t>
            </a:r>
          </a:p>
          <a:p>
            <a:r>
              <a:rPr lang="en-US" sz="2800" dirty="0">
                <a:solidFill>
                  <a:srgbClr val="000000"/>
                </a:solidFill>
                <a:latin typeface="Consolas" panose="020B0609020204030204" pitchFamily="49" charset="0"/>
              </a:rPr>
              <a:t>    </a:t>
            </a:r>
            <a:r>
              <a:rPr lang="en-US" sz="2800" dirty="0">
                <a:solidFill>
                  <a:srgbClr val="0000FF"/>
                </a:solidFill>
                <a:latin typeface="Consolas" panose="020B0609020204030204" pitchFamily="49" charset="0"/>
              </a:rPr>
              <a:t>return</a:t>
            </a:r>
            <a:r>
              <a:rPr lang="en-US" sz="2800" dirty="0">
                <a:solidFill>
                  <a:srgbClr val="000000"/>
                </a:solidFill>
                <a:latin typeface="Consolas" panose="020B0609020204030204" pitchFamily="49" charset="0"/>
              </a:rPr>
              <a:t> ++x;</a:t>
            </a:r>
          </a:p>
          <a:p>
            <a:r>
              <a:rPr lang="en-US" sz="2800" dirty="0">
                <a:solidFill>
                  <a:srgbClr val="000000"/>
                </a:solidFill>
                <a:latin typeface="Consolas" panose="020B0609020204030204" pitchFamily="49" charset="0"/>
              </a:rPr>
              <a:t>}</a:t>
            </a:r>
            <a:endParaRPr lang="en-US" dirty="0"/>
          </a:p>
        </p:txBody>
      </p:sp>
    </p:spTree>
    <p:extLst>
      <p:ext uri="{BB962C8B-B14F-4D97-AF65-F5344CB8AC3E}">
        <p14:creationId xmlns:p14="http://schemas.microsoft.com/office/powerpoint/2010/main" val="29477994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Code slide fullpage">
    <p:spTree>
      <p:nvGrpSpPr>
        <p:cNvPr id="1" name=""/>
        <p:cNvGrpSpPr/>
        <p:nvPr/>
      </p:nvGrpSpPr>
      <p:grpSpPr>
        <a:xfrm>
          <a:off x="0" y="0"/>
          <a:ext cx="0" cy="0"/>
          <a:chOff x="0" y="0"/>
          <a:chExt cx="0" cy="0"/>
        </a:xfrm>
      </p:grpSpPr>
      <p:sp>
        <p:nvSpPr>
          <p:cNvPr id="4" name="Rectangle 3"/>
          <p:cNvSpPr/>
          <p:nvPr userDrawn="1"/>
        </p:nvSpPr>
        <p:spPr>
          <a:xfrm>
            <a:off x="9476509" y="6043353"/>
            <a:ext cx="2715491" cy="814647"/>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1026" name="Picture 2" descr="C:\Users\wmmih\AppData\Local\Temp\SNAGHTML126d09d4.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6569" y="114300"/>
            <a:ext cx="11975431" cy="6791325"/>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p:cNvSpPr>
            <a:spLocks noGrp="1"/>
          </p:cNvSpPr>
          <p:nvPr>
            <p:ph idx="1" hasCustomPrompt="1"/>
          </p:nvPr>
        </p:nvSpPr>
        <p:spPr>
          <a:xfrm>
            <a:off x="635000" y="457200"/>
            <a:ext cx="11290300" cy="6019799"/>
          </a:xfrm>
        </p:spPr>
        <p:txBody>
          <a:bodyPr/>
          <a:lstStyle>
            <a:lvl1pPr marL="0" indent="0">
              <a:buNone/>
              <a:defRPr/>
            </a:lvl1pPr>
          </a:lstStyle>
          <a:p>
            <a:r>
              <a:rPr lang="en-US" sz="2800" dirty="0">
                <a:solidFill>
                  <a:srgbClr val="0000FF"/>
                </a:solidFill>
                <a:latin typeface="Consolas" panose="020B0609020204030204" pitchFamily="49" charset="0"/>
              </a:rPr>
              <a:t>function</a:t>
            </a:r>
            <a:r>
              <a:rPr lang="en-US" sz="2800" dirty="0">
                <a:solidFill>
                  <a:srgbClr val="000000"/>
                </a:solidFill>
                <a:latin typeface="Consolas" panose="020B0609020204030204" pitchFamily="49" charset="0"/>
              </a:rPr>
              <a:t> foo(x) {</a:t>
            </a:r>
          </a:p>
          <a:p>
            <a:r>
              <a:rPr lang="en-US" sz="2800" dirty="0">
                <a:solidFill>
                  <a:srgbClr val="000000"/>
                </a:solidFill>
                <a:latin typeface="Consolas" panose="020B0609020204030204" pitchFamily="49" charset="0"/>
              </a:rPr>
              <a:t>    </a:t>
            </a:r>
            <a:r>
              <a:rPr lang="en-US" sz="2800" dirty="0">
                <a:solidFill>
                  <a:srgbClr val="0000FF"/>
                </a:solidFill>
                <a:latin typeface="Consolas" panose="020B0609020204030204" pitchFamily="49" charset="0"/>
              </a:rPr>
              <a:t>return</a:t>
            </a:r>
            <a:r>
              <a:rPr lang="en-US" sz="2800" dirty="0">
                <a:solidFill>
                  <a:srgbClr val="000000"/>
                </a:solidFill>
                <a:latin typeface="Consolas" panose="020B0609020204030204" pitchFamily="49" charset="0"/>
              </a:rPr>
              <a:t> ++x;</a:t>
            </a:r>
          </a:p>
          <a:p>
            <a:r>
              <a:rPr lang="en-US" sz="2800" dirty="0">
                <a:solidFill>
                  <a:srgbClr val="000000"/>
                </a:solidFill>
                <a:latin typeface="Consolas" panose="020B0609020204030204" pitchFamily="49" charset="0"/>
              </a:rPr>
              <a:t>}</a:t>
            </a:r>
            <a:endParaRPr lang="en-US" dirty="0"/>
          </a:p>
        </p:txBody>
      </p:sp>
    </p:spTree>
    <p:extLst>
      <p:ext uri="{BB962C8B-B14F-4D97-AF65-F5344CB8AC3E}">
        <p14:creationId xmlns:p14="http://schemas.microsoft.com/office/powerpoint/2010/main" val="422018206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136812837"/>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1495266"/>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7609940"/>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BA60C446-6CB1-44A3-A74E-6FB4AF0231F5}" type="datetimeFigureOut">
              <a:rPr lang="en-US" smtClean="0"/>
              <a:t>5/2/2019</a:t>
            </a:fld>
            <a:endParaRPr lang="en-US"/>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0D3A142A-D24A-413B-90C5-E160E7C05A0A}" type="slidenum">
              <a:rPr lang="en-US" smtClean="0"/>
              <a:t>‹#›</a:t>
            </a:fld>
            <a:endParaRPr lang="en-US"/>
          </a:p>
        </p:txBody>
      </p:sp>
    </p:spTree>
    <p:extLst>
      <p:ext uri="{BB962C8B-B14F-4D97-AF65-F5344CB8AC3E}">
        <p14:creationId xmlns:p14="http://schemas.microsoft.com/office/powerpoint/2010/main" val="1135980005"/>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11066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7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2"/>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75861646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139042924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341854957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6031100"/>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49941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prstClr val="white"/>
              </a:solidFill>
            </a:endParaRPr>
          </a:p>
        </p:txBody>
      </p:sp>
      <p:sp>
        <p:nvSpPr>
          <p:cNvPr id="6" name="Titre 5"/>
          <p:cNvSpPr>
            <a:spLocks noGrp="1"/>
          </p:cNvSpPr>
          <p:nvPr>
            <p:ph type="title"/>
          </p:nvPr>
        </p:nvSpPr>
        <p:spPr>
          <a:xfrm>
            <a:off x="838200" y="3653220"/>
            <a:ext cx="10515600" cy="1187457"/>
          </a:xfrm>
          <a:prstGeom prst="rect">
            <a:avLst/>
          </a:prstGeom>
        </p:spPr>
        <p:txBody>
          <a:bodyPr anchor="b">
            <a:normAutofit/>
          </a:bodyPr>
          <a:lstStyle>
            <a:lvl1pPr>
              <a:defRPr sz="3200">
                <a:solidFill>
                  <a:schemeClr val="accent1"/>
                </a:solidFill>
              </a:defRPr>
            </a:lvl1pPr>
          </a:lstStyle>
          <a:p>
            <a:r>
              <a:rPr lang="en-GB"/>
              <a:t>Modifiez le style du titre</a:t>
            </a:r>
          </a:p>
        </p:txBody>
      </p:sp>
      <p:sp>
        <p:nvSpPr>
          <p:cNvPr id="7" name="Rectangle 6"/>
          <p:cNvSpPr/>
          <p:nvPr userDrawn="1"/>
        </p:nvSpPr>
        <p:spPr>
          <a:xfrm>
            <a:off x="-2225" y="606634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3" name="Espace réservé du texte 2"/>
          <p:cNvSpPr>
            <a:spLocks noGrp="1"/>
          </p:cNvSpPr>
          <p:nvPr>
            <p:ph type="body" sz="quarter" idx="11"/>
          </p:nvPr>
        </p:nvSpPr>
        <p:spPr>
          <a:xfrm>
            <a:off x="838200" y="4813583"/>
            <a:ext cx="10543117" cy="983968"/>
          </a:xfrm>
        </p:spPr>
        <p:txBody>
          <a:bodyPr/>
          <a:lstStyle>
            <a:lvl1pPr marL="0" indent="0" algn="ctr">
              <a:buFontTx/>
              <a:buNone/>
              <a:defRPr sz="2400">
                <a:solidFill>
                  <a:schemeClr val="accent2"/>
                </a:solidFill>
              </a:defRPr>
            </a:lvl1pPr>
          </a:lstStyle>
          <a:p>
            <a:pPr lvl="0"/>
            <a:endParaRPr lang="en-GB"/>
          </a:p>
        </p:txBody>
      </p:sp>
      <p:grpSp>
        <p:nvGrpSpPr>
          <p:cNvPr id="19" name="Groupe 18" hidden="1"/>
          <p:cNvGrpSpPr/>
          <p:nvPr userDrawn="1"/>
        </p:nvGrpSpPr>
        <p:grpSpPr>
          <a:xfrm rot="20057793">
            <a:off x="-613277" y="1966879"/>
            <a:ext cx="1226557" cy="1226557"/>
            <a:chOff x="4580002" y="2570126"/>
            <a:chExt cx="439952" cy="439952"/>
          </a:xfrm>
        </p:grpSpPr>
        <p:sp>
          <p:nvSpPr>
            <p:cNvPr id="32" name="Ellipse 31"/>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33"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34"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5"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6"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7"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8"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
        <p:nvSpPr>
          <p:cNvPr id="111" name="Espace réservé pour une image  110"/>
          <p:cNvSpPr>
            <a:spLocks noGrp="1"/>
          </p:cNvSpPr>
          <p:nvPr>
            <p:ph type="pic" sz="quarter" idx="10"/>
          </p:nvPr>
        </p:nvSpPr>
        <p:spPr>
          <a:xfrm>
            <a:off x="0" y="2"/>
            <a:ext cx="12188317" cy="3343148"/>
          </a:xfrm>
          <a:custGeom>
            <a:avLst/>
            <a:gdLst>
              <a:gd name="connsiteX0" fmla="*/ 0 w 9141238"/>
              <a:gd name="connsiteY0" fmla="*/ 0 h 2507361"/>
              <a:gd name="connsiteX1" fmla="*/ 9141238 w 9141238"/>
              <a:gd name="connsiteY1" fmla="*/ 10160 h 2507361"/>
              <a:gd name="connsiteX2" fmla="*/ 9133840 w 9141238"/>
              <a:gd name="connsiteY2" fmla="*/ 2170430 h 2507361"/>
              <a:gd name="connsiteX3" fmla="*/ 2762782 w 9141238"/>
              <a:gd name="connsiteY3" fmla="*/ 2507361 h 2507361"/>
              <a:gd name="connsiteX4" fmla="*/ 2746139 w 9141238"/>
              <a:gd name="connsiteY4" fmla="*/ 2442020 h 2507361"/>
              <a:gd name="connsiteX5" fmla="*/ 2416736 w 9141238"/>
              <a:gd name="connsiteY5" fmla="*/ 2326687 h 2507361"/>
              <a:gd name="connsiteX6" fmla="*/ 2338592 w 9141238"/>
              <a:gd name="connsiteY6" fmla="*/ 2385825 h 2507361"/>
              <a:gd name="connsiteX7" fmla="*/ 2292338 w 9141238"/>
              <a:gd name="connsiteY7" fmla="*/ 2464954 h 2507361"/>
              <a:gd name="connsiteX8" fmla="*/ 454666 w 9141238"/>
              <a:gd name="connsiteY8" fmla="*/ 2041515 h 2507361"/>
              <a:gd name="connsiteX9" fmla="*/ 469157 w 9141238"/>
              <a:gd name="connsiteY9" fmla="*/ 1942001 h 2507361"/>
              <a:gd name="connsiteX10" fmla="*/ 424076 w 9141238"/>
              <a:gd name="connsiteY10" fmla="*/ 1765003 h 2507361"/>
              <a:gd name="connsiteX11" fmla="*/ 75929 w 9141238"/>
              <a:gd name="connsiteY11" fmla="*/ 1509291 h 2507361"/>
              <a:gd name="connsiteX12" fmla="*/ 0 w 9141238"/>
              <a:gd name="connsiteY12" fmla="*/ 1505592 h 2507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1238" h="2507361">
                <a:moveTo>
                  <a:pt x="0" y="0"/>
                </a:moveTo>
                <a:lnTo>
                  <a:pt x="9141238" y="10160"/>
                </a:lnTo>
                <a:lnTo>
                  <a:pt x="9133840" y="2170430"/>
                </a:lnTo>
                <a:lnTo>
                  <a:pt x="2762782" y="2507361"/>
                </a:lnTo>
                <a:lnTo>
                  <a:pt x="2746139" y="2442020"/>
                </a:lnTo>
                <a:cubicBezTo>
                  <a:pt x="2687025" y="2319210"/>
                  <a:pt x="2539547" y="2267574"/>
                  <a:pt x="2416736" y="2326687"/>
                </a:cubicBezTo>
                <a:cubicBezTo>
                  <a:pt x="2386034" y="2341466"/>
                  <a:pt x="2359780" y="2361767"/>
                  <a:pt x="2338592" y="2385825"/>
                </a:cubicBezTo>
                <a:lnTo>
                  <a:pt x="2292338" y="2464954"/>
                </a:lnTo>
                <a:lnTo>
                  <a:pt x="454666" y="2041515"/>
                </a:lnTo>
                <a:lnTo>
                  <a:pt x="469157" y="1942001"/>
                </a:lnTo>
                <a:cubicBezTo>
                  <a:pt x="466262" y="1882322"/>
                  <a:pt x="451619" y="1822226"/>
                  <a:pt x="424076" y="1765003"/>
                </a:cubicBezTo>
                <a:cubicBezTo>
                  <a:pt x="355216" y="1621945"/>
                  <a:pt x="222023" y="1530705"/>
                  <a:pt x="75929" y="1509291"/>
                </a:cubicBezTo>
                <a:lnTo>
                  <a:pt x="0" y="1505592"/>
                </a:lnTo>
                <a:close/>
              </a:path>
            </a:pathLst>
          </a:custGeom>
          <a:solidFill>
            <a:schemeClr val="bg1">
              <a:lumMod val="95000"/>
            </a:schemeClr>
          </a:solidFill>
        </p:spPr>
        <p:txBody>
          <a:bodyPr wrap="square">
            <a:noAutofit/>
          </a:bodyPr>
          <a:lstStyle>
            <a:lvl1pPr>
              <a:defRPr>
                <a:noFill/>
              </a:defRPr>
            </a:lvl1pPr>
          </a:lstStyle>
          <a:p>
            <a:endParaRPr lang="en-GB"/>
          </a:p>
        </p:txBody>
      </p:sp>
      <p:grpSp>
        <p:nvGrpSpPr>
          <p:cNvPr id="94" name="Groupe 93"/>
          <p:cNvGrpSpPr/>
          <p:nvPr userDrawn="1"/>
        </p:nvGrpSpPr>
        <p:grpSpPr>
          <a:xfrm rot="20057793">
            <a:off x="3035980" y="3068823"/>
            <a:ext cx="658099" cy="658099"/>
            <a:chOff x="4580002" y="2570126"/>
            <a:chExt cx="439952" cy="439952"/>
          </a:xfrm>
        </p:grpSpPr>
        <p:sp>
          <p:nvSpPr>
            <p:cNvPr id="95" name="Ellipse 94"/>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96"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97"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8"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9"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0"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1"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102" name="Groupe 101"/>
          <p:cNvGrpSpPr/>
          <p:nvPr userDrawn="1"/>
        </p:nvGrpSpPr>
        <p:grpSpPr>
          <a:xfrm rot="20057793">
            <a:off x="-600439" y="2005178"/>
            <a:ext cx="1226557" cy="1226557"/>
            <a:chOff x="4580002" y="2570126"/>
            <a:chExt cx="439952" cy="439952"/>
          </a:xfrm>
        </p:grpSpPr>
        <p:sp>
          <p:nvSpPr>
            <p:cNvPr id="103" name="Ellipse 102"/>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104"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105"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6"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7"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8"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9"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pic>
        <p:nvPicPr>
          <p:cNvPr id="44" name="Image 6" descr="Log_AXIANS_CRVB.jpg">
            <a:extLst>
              <a:ext uri="{FF2B5EF4-FFF2-40B4-BE49-F238E27FC236}">
                <a16:creationId xmlns:a16="http://schemas.microsoft.com/office/drawing/2014/main" id="{FCC66C4E-ED9E-46A4-8FEA-72EC6EDBE1CA}"/>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3662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3"/>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3"/>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629911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4"/>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4"/>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41599940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5"/>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5"/>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4570046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2"/>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5753484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6"/>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6"/>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16838132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err="1"/>
              <a:t>titel</a:t>
            </a:r>
            <a:endParaRPr lang="fr-FR"/>
          </a:p>
        </p:txBody>
      </p:sp>
      <p:sp>
        <p:nvSpPr>
          <p:cNvPr id="3" name="Espace réservé du contenu 2"/>
          <p:cNvSpPr>
            <a:spLocks noGrp="1"/>
          </p:cNvSpPr>
          <p:nvPr>
            <p:ph idx="1"/>
          </p:nvPr>
        </p:nvSpPr>
        <p:spPr>
          <a:xfrm>
            <a:off x="345585" y="1612901"/>
            <a:ext cx="11404033" cy="4533748"/>
          </a:xfrm>
        </p:spPr>
        <p:txBody>
          <a:bodyPr/>
          <a:lstStyle/>
          <a:p>
            <a:pPr lvl="0"/>
            <a:r>
              <a:rPr lang="nl-NL"/>
              <a:t>Klik om de modelstijlen te bewerken</a:t>
            </a:r>
          </a:p>
          <a:p>
            <a:pPr lvl="1"/>
            <a:r>
              <a:rPr lang="nl-NL"/>
              <a:t>Tweede niveau</a:t>
            </a:r>
          </a:p>
          <a:p>
            <a:pPr lvl="2"/>
            <a:r>
              <a:rPr lang="nl-NL"/>
              <a:t>Derde niveau</a:t>
            </a:r>
          </a:p>
          <a:p>
            <a:pPr lvl="3"/>
            <a:r>
              <a:rPr lang="nl-NL"/>
              <a:t>Vierde niveau</a:t>
            </a:r>
          </a:p>
        </p:txBody>
      </p:sp>
    </p:spTree>
    <p:extLst>
      <p:ext uri="{BB962C8B-B14F-4D97-AF65-F5344CB8AC3E}">
        <p14:creationId xmlns:p14="http://schemas.microsoft.com/office/powerpoint/2010/main" val="194313592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err="1"/>
              <a:t>titel</a:t>
            </a:r>
            <a:endParaRPr lang="fr-FR"/>
          </a:p>
        </p:txBody>
      </p:sp>
      <p:sp>
        <p:nvSpPr>
          <p:cNvPr id="9" name="Espace réservé du graphique 8"/>
          <p:cNvSpPr>
            <a:spLocks noGrp="1"/>
          </p:cNvSpPr>
          <p:nvPr>
            <p:ph type="chart" sz="quarter" idx="12"/>
          </p:nvPr>
        </p:nvSpPr>
        <p:spPr>
          <a:xfrm>
            <a:off x="342900" y="1611440"/>
            <a:ext cx="11406717" cy="4704593"/>
          </a:xfrm>
        </p:spPr>
        <p:txBody>
          <a:bodyPr>
            <a:normAutofit/>
          </a:bodyPr>
          <a:lstStyle>
            <a:lvl1pPr>
              <a:defRPr sz="2133"/>
            </a:lvl1pPr>
          </a:lstStyle>
          <a:p>
            <a:r>
              <a:rPr lang="nl-NL"/>
              <a:t>Klik op het pictogram als u een grafiek wilt toevoegen</a:t>
            </a:r>
            <a:endParaRPr lang="fr-FR"/>
          </a:p>
        </p:txBody>
      </p:sp>
    </p:spTree>
    <p:extLst>
      <p:ext uri="{BB962C8B-B14F-4D97-AF65-F5344CB8AC3E}">
        <p14:creationId xmlns:p14="http://schemas.microsoft.com/office/powerpoint/2010/main" val="29581899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e et 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lvl1pPr>
              <a:defRPr/>
            </a:lvl1pPr>
          </a:lstStyle>
          <a:p>
            <a:r>
              <a:rPr lang="fr-FR" err="1"/>
              <a:t>titel</a:t>
            </a:r>
            <a:endParaRPr lang="fr-FR"/>
          </a:p>
        </p:txBody>
      </p:sp>
      <p:sp>
        <p:nvSpPr>
          <p:cNvPr id="4" name="Espace réservé du contenu 3"/>
          <p:cNvSpPr>
            <a:spLocks noGrp="1"/>
          </p:cNvSpPr>
          <p:nvPr>
            <p:ph sz="half" idx="2"/>
          </p:nvPr>
        </p:nvSpPr>
        <p:spPr>
          <a:xfrm>
            <a:off x="343859" y="1612900"/>
            <a:ext cx="11405760" cy="548672"/>
          </a:xfrm>
        </p:spPr>
        <p:txBody>
          <a:bodyPr>
            <a:noAutofit/>
          </a:bodyPr>
          <a:lstStyle>
            <a:lvl1pPr>
              <a:defRPr sz="2133"/>
            </a:lvl1pPr>
            <a:lvl2pPr>
              <a:defRPr sz="1867"/>
            </a:lvl2pPr>
            <a:lvl3pPr>
              <a:defRPr sz="1600"/>
            </a:lvl3pPr>
            <a:lvl4pPr>
              <a:defRPr sz="1467"/>
            </a:lvl4pPr>
            <a:lvl5pPr>
              <a:defRPr sz="1467"/>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11" name="Espace réservé du graphique 10"/>
          <p:cNvSpPr>
            <a:spLocks noGrp="1"/>
          </p:cNvSpPr>
          <p:nvPr>
            <p:ph type="chart" sz="quarter" idx="13"/>
          </p:nvPr>
        </p:nvSpPr>
        <p:spPr>
          <a:xfrm>
            <a:off x="342902" y="2178172"/>
            <a:ext cx="11406716" cy="3889253"/>
          </a:xfrm>
        </p:spPr>
        <p:txBody>
          <a:bodyPr/>
          <a:lstStyle/>
          <a:p>
            <a:r>
              <a:rPr lang="nl-NL"/>
              <a:t>Klik op het pictogram als u een grafiek wilt toevoegen</a:t>
            </a:r>
            <a:endParaRPr lang="fr-FR"/>
          </a:p>
        </p:txBody>
      </p:sp>
    </p:spTree>
    <p:extLst>
      <p:ext uri="{BB962C8B-B14F-4D97-AF65-F5344CB8AC3E}">
        <p14:creationId xmlns:p14="http://schemas.microsoft.com/office/powerpoint/2010/main" val="11947490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ableau">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fr-FR" err="1"/>
              <a:t>titel</a:t>
            </a:r>
            <a:endParaRPr lang="fr-FR"/>
          </a:p>
        </p:txBody>
      </p:sp>
      <p:sp>
        <p:nvSpPr>
          <p:cNvPr id="4" name="Espace réservé du tableau 3"/>
          <p:cNvSpPr>
            <a:spLocks noGrp="1"/>
          </p:cNvSpPr>
          <p:nvPr>
            <p:ph type="tbl" sz="quarter" idx="12"/>
          </p:nvPr>
        </p:nvSpPr>
        <p:spPr>
          <a:xfrm>
            <a:off x="342900" y="1612900"/>
            <a:ext cx="11406717" cy="4659087"/>
          </a:xfrm>
        </p:spPr>
        <p:txBody>
          <a:bodyPr/>
          <a:lstStyle/>
          <a:p>
            <a:r>
              <a:rPr lang="nl-NL"/>
              <a:t>Klik op het pictogram als u een tabel wilt toevoegen</a:t>
            </a:r>
            <a:endParaRPr lang="fr-FR"/>
          </a:p>
        </p:txBody>
      </p:sp>
    </p:spTree>
    <p:extLst>
      <p:ext uri="{BB962C8B-B14F-4D97-AF65-F5344CB8AC3E}">
        <p14:creationId xmlns:p14="http://schemas.microsoft.com/office/powerpoint/2010/main" val="260309700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e et Imag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err="1"/>
              <a:t>titel</a:t>
            </a:r>
            <a:endParaRPr lang="fr-FR"/>
          </a:p>
        </p:txBody>
      </p:sp>
      <p:sp>
        <p:nvSpPr>
          <p:cNvPr id="4" name="Espace réservé du contenu 3"/>
          <p:cNvSpPr>
            <a:spLocks noGrp="1"/>
          </p:cNvSpPr>
          <p:nvPr>
            <p:ph sz="half" idx="2"/>
          </p:nvPr>
        </p:nvSpPr>
        <p:spPr>
          <a:xfrm>
            <a:off x="343858" y="1612900"/>
            <a:ext cx="5875609" cy="4548717"/>
          </a:xfrm>
        </p:spPr>
        <p:txBody>
          <a:bodyPr>
            <a:noAutofit/>
          </a:bodyPr>
          <a:lstStyle>
            <a:lvl1pPr>
              <a:lnSpc>
                <a:spcPct val="90000"/>
              </a:lnSpc>
              <a:defRPr sz="2133"/>
            </a:lvl1pPr>
            <a:lvl2pPr>
              <a:lnSpc>
                <a:spcPct val="90000"/>
              </a:lnSpc>
              <a:defRPr sz="1867"/>
            </a:lvl2pPr>
            <a:lvl3pPr>
              <a:lnSpc>
                <a:spcPct val="90000"/>
              </a:lnSpc>
              <a:defRPr sz="1600"/>
            </a:lvl3pPr>
            <a:lvl4pPr>
              <a:lnSpc>
                <a:spcPct val="90000"/>
              </a:lnSpc>
              <a:defRPr sz="1467"/>
            </a:lvl4pPr>
            <a:lvl5pPr>
              <a:lnSpc>
                <a:spcPct val="90000"/>
              </a:lnSpc>
              <a:defRPr sz="1600"/>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6" name="Espace réservé pour une image  5"/>
          <p:cNvSpPr>
            <a:spLocks noGrp="1" noChangeAspect="1"/>
          </p:cNvSpPr>
          <p:nvPr>
            <p:ph type="pic" sz="quarter" idx="12"/>
          </p:nvPr>
        </p:nvSpPr>
        <p:spPr>
          <a:xfrm>
            <a:off x="6416163" y="1612900"/>
            <a:ext cx="5329221" cy="4548717"/>
          </a:xfrm>
        </p:spPr>
        <p:txBody>
          <a:bodyPr/>
          <a:lstStyle/>
          <a:p>
            <a:r>
              <a:rPr lang="nl-NL"/>
              <a:t>Klik op het pictogram als u een afbeelding wilt toevoegen</a:t>
            </a:r>
            <a:endParaRPr lang="fr-FR"/>
          </a:p>
        </p:txBody>
      </p:sp>
    </p:spTree>
    <p:extLst>
      <p:ext uri="{BB962C8B-B14F-4D97-AF65-F5344CB8AC3E}">
        <p14:creationId xmlns:p14="http://schemas.microsoft.com/office/powerpoint/2010/main" val="33532760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2"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3"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4"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5" name="Rectangle 14"/>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16"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Espace réservé du contenu 2"/>
          <p:cNvSpPr>
            <a:spLocks noGrp="1"/>
          </p:cNvSpPr>
          <p:nvPr>
            <p:ph idx="1" hasCustomPrompt="1"/>
          </p:nvPr>
        </p:nvSpPr>
        <p:spPr/>
        <p:txBody>
          <a:body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p:txBody>
      </p:sp>
      <p:sp>
        <p:nvSpPr>
          <p:cNvPr id="4" name="Titre 3"/>
          <p:cNvSpPr>
            <a:spLocks noGrp="1"/>
          </p:cNvSpPr>
          <p:nvPr>
            <p:ph type="title"/>
          </p:nvPr>
        </p:nvSpPr>
        <p:spPr/>
        <p:txBody>
          <a:bodyPr/>
          <a:lstStyle>
            <a:lvl1pPr>
              <a:defRPr>
                <a:solidFill>
                  <a:schemeClr val="accent1"/>
                </a:solidFill>
              </a:defRPr>
            </a:lvl1pPr>
          </a:lstStyle>
          <a:p>
            <a:r>
              <a:rPr lang="en-GB"/>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1" name="Image 6" descr="Log_AXIANS_CRVB.jpg">
            <a:extLst>
              <a:ext uri="{FF2B5EF4-FFF2-40B4-BE49-F238E27FC236}">
                <a16:creationId xmlns:a16="http://schemas.microsoft.com/office/drawing/2014/main" id="{817EA76E-BD62-42B7-BE2E-2B8DA50FD0C9}"/>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2099150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4000" fill="hold"/>
                                        <p:tgtEl>
                                          <p:spTgt spid="14"/>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4000" fill="hold"/>
                                        <p:tgtEl>
                                          <p:spTgt spid="12"/>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4000" fill="hold"/>
                                        <p:tgtEl>
                                          <p:spTgt spid="1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6" grpId="0" animBg="1"/>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image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err="1"/>
              <a:t>titel</a:t>
            </a:r>
            <a:endParaRPr lang="fr-FR"/>
          </a:p>
        </p:txBody>
      </p:sp>
      <p:sp>
        <p:nvSpPr>
          <p:cNvPr id="6" name="Espace réservé pour une image  5"/>
          <p:cNvSpPr>
            <a:spLocks noGrp="1" noChangeAspect="1"/>
          </p:cNvSpPr>
          <p:nvPr>
            <p:ph type="pic" sz="quarter" idx="12"/>
          </p:nvPr>
        </p:nvSpPr>
        <p:spPr>
          <a:xfrm>
            <a:off x="6553202" y="1621367"/>
            <a:ext cx="5192183" cy="4540251"/>
          </a:xfrm>
        </p:spPr>
        <p:txBody>
          <a:bodyPr/>
          <a:lstStyle/>
          <a:p>
            <a:r>
              <a:rPr lang="nl-NL"/>
              <a:t>Klik op het pictogram als u een afbeelding wilt toevoegen</a:t>
            </a:r>
            <a:endParaRPr lang="fr-FR"/>
          </a:p>
        </p:txBody>
      </p:sp>
      <p:sp>
        <p:nvSpPr>
          <p:cNvPr id="7" name="Espace réservé pour une image  5"/>
          <p:cNvSpPr>
            <a:spLocks noGrp="1" noChangeAspect="1"/>
          </p:cNvSpPr>
          <p:nvPr>
            <p:ph type="pic" sz="quarter" idx="13"/>
          </p:nvPr>
        </p:nvSpPr>
        <p:spPr>
          <a:xfrm>
            <a:off x="467784" y="1621367"/>
            <a:ext cx="5907616" cy="1781696"/>
          </a:xfrm>
        </p:spPr>
        <p:txBody>
          <a:bodyPr/>
          <a:lstStyle/>
          <a:p>
            <a:r>
              <a:rPr lang="nl-NL"/>
              <a:t>Klik op het pictogram als u een afbeelding wilt toevoegen</a:t>
            </a:r>
            <a:endParaRPr lang="fr-FR"/>
          </a:p>
        </p:txBody>
      </p:sp>
      <p:sp>
        <p:nvSpPr>
          <p:cNvPr id="9" name="Espace réservé pour une image  5"/>
          <p:cNvSpPr>
            <a:spLocks noGrp="1" noChangeAspect="1"/>
          </p:cNvSpPr>
          <p:nvPr>
            <p:ph type="pic" sz="quarter" idx="14"/>
          </p:nvPr>
        </p:nvSpPr>
        <p:spPr>
          <a:xfrm>
            <a:off x="467784" y="3577366"/>
            <a:ext cx="5907616" cy="2584252"/>
          </a:xfrm>
        </p:spPr>
        <p:txBody>
          <a:bodyPr/>
          <a:lstStyle/>
          <a:p>
            <a:r>
              <a:rPr lang="nl-NL"/>
              <a:t>Klik op het pictogram als u een afbeelding wilt toevoegen</a:t>
            </a:r>
            <a:endParaRPr lang="fr-FR"/>
          </a:p>
        </p:txBody>
      </p:sp>
    </p:spTree>
    <p:extLst>
      <p:ext uri="{BB962C8B-B14F-4D97-AF65-F5344CB8AC3E}">
        <p14:creationId xmlns:p14="http://schemas.microsoft.com/office/powerpoint/2010/main" val="72693878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rnière page">
    <p:spTree>
      <p:nvGrpSpPr>
        <p:cNvPr id="1" name=""/>
        <p:cNvGrpSpPr/>
        <p:nvPr/>
      </p:nvGrpSpPr>
      <p:grpSpPr>
        <a:xfrm>
          <a:off x="0" y="0"/>
          <a:ext cx="0" cy="0"/>
          <a:chOff x="0" y="0"/>
          <a:chExt cx="0" cy="0"/>
        </a:xfrm>
      </p:grpSpPr>
      <p:sp>
        <p:nvSpPr>
          <p:cNvPr id="5" name="Rectangle 4"/>
          <p:cNvSpPr/>
          <p:nvPr userDrawn="1"/>
        </p:nvSpPr>
        <p:spPr bwMode="auto">
          <a:xfrm>
            <a:off x="-1" y="-31161"/>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1" y="4837535"/>
            <a:ext cx="9081348" cy="202860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 name="connsiteX0" fmla="*/ 234 w 10653"/>
              <a:gd name="connsiteY0" fmla="*/ 3 h 10018"/>
              <a:gd name="connsiteX1" fmla="*/ 605 w 10653"/>
              <a:gd name="connsiteY1" fmla="*/ 0 h 10018"/>
              <a:gd name="connsiteX2" fmla="*/ 934 w 10653"/>
              <a:gd name="connsiteY2" fmla="*/ 36 h 10018"/>
              <a:gd name="connsiteX3" fmla="*/ 1261 w 10653"/>
              <a:gd name="connsiteY3" fmla="*/ 77 h 10018"/>
              <a:gd name="connsiteX4" fmla="*/ 1546 w 10653"/>
              <a:gd name="connsiteY4" fmla="*/ 129 h 10018"/>
              <a:gd name="connsiteX5" fmla="*/ 1821 w 10653"/>
              <a:gd name="connsiteY5" fmla="*/ 172 h 10018"/>
              <a:gd name="connsiteX6" fmla="*/ 2136 w 10653"/>
              <a:gd name="connsiteY6" fmla="*/ 262 h 10018"/>
              <a:gd name="connsiteX7" fmla="*/ 2435 w 10653"/>
              <a:gd name="connsiteY7" fmla="*/ 337 h 10018"/>
              <a:gd name="connsiteX8" fmla="*/ 2866 w 10653"/>
              <a:gd name="connsiteY8" fmla="*/ 472 h 10018"/>
              <a:gd name="connsiteX9" fmla="*/ 3304 w 10653"/>
              <a:gd name="connsiteY9" fmla="*/ 648 h 10018"/>
              <a:gd name="connsiteX10" fmla="*/ 3835 w 10653"/>
              <a:gd name="connsiteY10" fmla="*/ 875 h 10018"/>
              <a:gd name="connsiteX11" fmla="*/ 4191 w 10653"/>
              <a:gd name="connsiteY11" fmla="*/ 1051 h 10018"/>
              <a:gd name="connsiteX12" fmla="*/ 4658 w 10653"/>
              <a:gd name="connsiteY12" fmla="*/ 1316 h 10018"/>
              <a:gd name="connsiteX13" fmla="*/ 5278 w 10653"/>
              <a:gd name="connsiteY13" fmla="*/ 1713 h 10018"/>
              <a:gd name="connsiteX14" fmla="*/ 5798 w 10653"/>
              <a:gd name="connsiteY14" fmla="*/ 2098 h 10018"/>
              <a:gd name="connsiteX15" fmla="*/ 6199 w 10653"/>
              <a:gd name="connsiteY15" fmla="*/ 2403 h 10018"/>
              <a:gd name="connsiteX16" fmla="*/ 6389 w 10653"/>
              <a:gd name="connsiteY16" fmla="*/ 2566 h 10018"/>
              <a:gd name="connsiteX17" fmla="*/ 6587 w 10653"/>
              <a:gd name="connsiteY17" fmla="*/ 2751 h 10018"/>
              <a:gd name="connsiteX18" fmla="*/ 6852 w 10653"/>
              <a:gd name="connsiteY18" fmla="*/ 2992 h 10018"/>
              <a:gd name="connsiteX19" fmla="*/ 7420 w 10653"/>
              <a:gd name="connsiteY19" fmla="*/ 3548 h 10018"/>
              <a:gd name="connsiteX20" fmla="*/ 7951 w 10653"/>
              <a:gd name="connsiteY20" fmla="*/ 4142 h 10018"/>
              <a:gd name="connsiteX21" fmla="*/ 8564 w 10653"/>
              <a:gd name="connsiteY21" fmla="*/ 4923 h 10018"/>
              <a:gd name="connsiteX22" fmla="*/ 9082 w 10653"/>
              <a:gd name="connsiteY22" fmla="*/ 5637 h 10018"/>
              <a:gd name="connsiteX23" fmla="*/ 9617 w 10653"/>
              <a:gd name="connsiteY23" fmla="*/ 6484 h 10018"/>
              <a:gd name="connsiteX24" fmla="*/ 10000 w 10653"/>
              <a:gd name="connsiteY24" fmla="*/ 10003 h 10018"/>
              <a:gd name="connsiteX25" fmla="*/ 2 w 10653"/>
              <a:gd name="connsiteY25" fmla="*/ 10018 h 10018"/>
              <a:gd name="connsiteX26" fmla="*/ 0 w 10653"/>
              <a:gd name="connsiteY26" fmla="*/ 8 h 10018"/>
              <a:gd name="connsiteX27" fmla="*/ 234 w 10653"/>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617 w 10000"/>
              <a:gd name="connsiteY23" fmla="*/ 648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7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16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600 w 10000"/>
              <a:gd name="connsiteY1" fmla="*/ 60 h 10015"/>
              <a:gd name="connsiteX2" fmla="*/ 629 w 10000"/>
              <a:gd name="connsiteY2" fmla="*/ 82 h 10015"/>
              <a:gd name="connsiteX3" fmla="*/ 934 w 10000"/>
              <a:gd name="connsiteY3" fmla="*/ 111 h 10015"/>
              <a:gd name="connsiteX4" fmla="*/ 1256 w 10000"/>
              <a:gd name="connsiteY4" fmla="*/ 168 h 10015"/>
              <a:gd name="connsiteX5" fmla="*/ 1523 w 10000"/>
              <a:gd name="connsiteY5" fmla="*/ 251 h 10015"/>
              <a:gd name="connsiteX6" fmla="*/ 1793 w 10000"/>
              <a:gd name="connsiteY6" fmla="*/ 341 h 10015"/>
              <a:gd name="connsiteX7" fmla="*/ 2089 w 10000"/>
              <a:gd name="connsiteY7" fmla="*/ 447 h 10015"/>
              <a:gd name="connsiteX8" fmla="*/ 2379 w 10000"/>
              <a:gd name="connsiteY8" fmla="*/ 553 h 10015"/>
              <a:gd name="connsiteX9" fmla="*/ 2791 w 10000"/>
              <a:gd name="connsiteY9" fmla="*/ 735 h 10015"/>
              <a:gd name="connsiteX10" fmla="*/ 3192 w 10000"/>
              <a:gd name="connsiteY10" fmla="*/ 927 h 10015"/>
              <a:gd name="connsiteX11" fmla="*/ 3639 w 10000"/>
              <a:gd name="connsiteY11" fmla="*/ 1201 h 10015"/>
              <a:gd name="connsiteX12" fmla="*/ 4158 w 10000"/>
              <a:gd name="connsiteY12" fmla="*/ 1534 h 10015"/>
              <a:gd name="connsiteX13" fmla="*/ 4555 w 10000"/>
              <a:gd name="connsiteY13" fmla="*/ 1830 h 10015"/>
              <a:gd name="connsiteX14" fmla="*/ 5092 w 10000"/>
              <a:gd name="connsiteY14" fmla="*/ 2258 h 10015"/>
              <a:gd name="connsiteX15" fmla="*/ 5546 w 10000"/>
              <a:gd name="connsiteY15" fmla="*/ 2706 h 10015"/>
              <a:gd name="connsiteX16" fmla="*/ 5882 w 10000"/>
              <a:gd name="connsiteY16" fmla="*/ 3043 h 10015"/>
              <a:gd name="connsiteX17" fmla="*/ 6165 w 10000"/>
              <a:gd name="connsiteY17" fmla="*/ 3331 h 10015"/>
              <a:gd name="connsiteX18" fmla="*/ 6498 w 10000"/>
              <a:gd name="connsiteY18" fmla="*/ 3751 h 10015"/>
              <a:gd name="connsiteX19" fmla="*/ 6796 w 10000"/>
              <a:gd name="connsiteY19" fmla="*/ 4101 h 10015"/>
              <a:gd name="connsiteX20" fmla="*/ 7299 w 10000"/>
              <a:gd name="connsiteY20" fmla="*/ 4814 h 10015"/>
              <a:gd name="connsiteX21" fmla="*/ 7862 w 10000"/>
              <a:gd name="connsiteY21" fmla="*/ 5661 h 10015"/>
              <a:gd name="connsiteX22" fmla="*/ 8298 w 10000"/>
              <a:gd name="connsiteY22" fmla="*/ 6431 h 10015"/>
              <a:gd name="connsiteX23" fmla="*/ 8926 w 10000"/>
              <a:gd name="connsiteY23" fmla="*/ 7643 h 10015"/>
              <a:gd name="connsiteX24" fmla="*/ 9486 w 10000"/>
              <a:gd name="connsiteY24" fmla="*/ 8851 h 10015"/>
              <a:gd name="connsiteX25" fmla="*/ 10000 w 10000"/>
              <a:gd name="connsiteY25" fmla="*/ 10000 h 10015"/>
              <a:gd name="connsiteX26" fmla="*/ 2 w 10000"/>
              <a:gd name="connsiteY26" fmla="*/ 10015 h 10015"/>
              <a:gd name="connsiteX27" fmla="*/ 0 w 10000"/>
              <a:gd name="connsiteY27" fmla="*/ 5 h 10015"/>
              <a:gd name="connsiteX28" fmla="*/ 234 w 10000"/>
              <a:gd name="connsiteY28" fmla="*/ 0 h 10015"/>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29 w 10000"/>
              <a:gd name="connsiteY0" fmla="*/ 26 h 10010"/>
              <a:gd name="connsiteX1" fmla="*/ 586 w 10000"/>
              <a:gd name="connsiteY1" fmla="*/ 55 h 10010"/>
              <a:gd name="connsiteX2" fmla="*/ 934 w 10000"/>
              <a:gd name="connsiteY2" fmla="*/ 106 h 10010"/>
              <a:gd name="connsiteX3" fmla="*/ 1256 w 10000"/>
              <a:gd name="connsiteY3" fmla="*/ 163 h 10010"/>
              <a:gd name="connsiteX4" fmla="*/ 1523 w 10000"/>
              <a:gd name="connsiteY4" fmla="*/ 246 h 10010"/>
              <a:gd name="connsiteX5" fmla="*/ 1793 w 10000"/>
              <a:gd name="connsiteY5" fmla="*/ 336 h 10010"/>
              <a:gd name="connsiteX6" fmla="*/ 2089 w 10000"/>
              <a:gd name="connsiteY6" fmla="*/ 442 h 10010"/>
              <a:gd name="connsiteX7" fmla="*/ 2379 w 10000"/>
              <a:gd name="connsiteY7" fmla="*/ 548 h 10010"/>
              <a:gd name="connsiteX8" fmla="*/ 2791 w 10000"/>
              <a:gd name="connsiteY8" fmla="*/ 730 h 10010"/>
              <a:gd name="connsiteX9" fmla="*/ 3192 w 10000"/>
              <a:gd name="connsiteY9" fmla="*/ 922 h 10010"/>
              <a:gd name="connsiteX10" fmla="*/ 3639 w 10000"/>
              <a:gd name="connsiteY10" fmla="*/ 1196 h 10010"/>
              <a:gd name="connsiteX11" fmla="*/ 4158 w 10000"/>
              <a:gd name="connsiteY11" fmla="*/ 1529 h 10010"/>
              <a:gd name="connsiteX12" fmla="*/ 4555 w 10000"/>
              <a:gd name="connsiteY12" fmla="*/ 1825 h 10010"/>
              <a:gd name="connsiteX13" fmla="*/ 5092 w 10000"/>
              <a:gd name="connsiteY13" fmla="*/ 2253 h 10010"/>
              <a:gd name="connsiteX14" fmla="*/ 5546 w 10000"/>
              <a:gd name="connsiteY14" fmla="*/ 2701 h 10010"/>
              <a:gd name="connsiteX15" fmla="*/ 5882 w 10000"/>
              <a:gd name="connsiteY15" fmla="*/ 3038 h 10010"/>
              <a:gd name="connsiteX16" fmla="*/ 6165 w 10000"/>
              <a:gd name="connsiteY16" fmla="*/ 3326 h 10010"/>
              <a:gd name="connsiteX17" fmla="*/ 6498 w 10000"/>
              <a:gd name="connsiteY17" fmla="*/ 3746 h 10010"/>
              <a:gd name="connsiteX18" fmla="*/ 6796 w 10000"/>
              <a:gd name="connsiteY18" fmla="*/ 4096 h 10010"/>
              <a:gd name="connsiteX19" fmla="*/ 7299 w 10000"/>
              <a:gd name="connsiteY19" fmla="*/ 4809 h 10010"/>
              <a:gd name="connsiteX20" fmla="*/ 7862 w 10000"/>
              <a:gd name="connsiteY20" fmla="*/ 5656 h 10010"/>
              <a:gd name="connsiteX21" fmla="*/ 8298 w 10000"/>
              <a:gd name="connsiteY21" fmla="*/ 6426 h 10010"/>
              <a:gd name="connsiteX22" fmla="*/ 8926 w 10000"/>
              <a:gd name="connsiteY22" fmla="*/ 7638 h 10010"/>
              <a:gd name="connsiteX23" fmla="*/ 9486 w 10000"/>
              <a:gd name="connsiteY23" fmla="*/ 8846 h 10010"/>
              <a:gd name="connsiteX24" fmla="*/ 10000 w 10000"/>
              <a:gd name="connsiteY24" fmla="*/ 9995 h 10010"/>
              <a:gd name="connsiteX25" fmla="*/ 2 w 10000"/>
              <a:gd name="connsiteY25" fmla="*/ 10010 h 10010"/>
              <a:gd name="connsiteX26" fmla="*/ 0 w 10000"/>
              <a:gd name="connsiteY26" fmla="*/ 0 h 10010"/>
              <a:gd name="connsiteX27" fmla="*/ 229 w 10000"/>
              <a:gd name="connsiteY27" fmla="*/ 26 h 1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000" h="10010">
                <a:moveTo>
                  <a:pt x="229" y="26"/>
                </a:moveTo>
                <a:cubicBezTo>
                  <a:pt x="353" y="44"/>
                  <a:pt x="469" y="42"/>
                  <a:pt x="586" y="55"/>
                </a:cubicBezTo>
                <a:cubicBezTo>
                  <a:pt x="703" y="68"/>
                  <a:pt x="818" y="89"/>
                  <a:pt x="934" y="106"/>
                </a:cubicBezTo>
                <a:cubicBezTo>
                  <a:pt x="1046" y="124"/>
                  <a:pt x="1149" y="144"/>
                  <a:pt x="1256" y="163"/>
                </a:cubicBezTo>
                <a:lnTo>
                  <a:pt x="1523" y="246"/>
                </a:lnTo>
                <a:lnTo>
                  <a:pt x="1793" y="336"/>
                </a:lnTo>
                <a:lnTo>
                  <a:pt x="2089" y="442"/>
                </a:lnTo>
                <a:cubicBezTo>
                  <a:pt x="2187" y="477"/>
                  <a:pt x="2262" y="500"/>
                  <a:pt x="2379" y="548"/>
                </a:cubicBezTo>
                <a:cubicBezTo>
                  <a:pt x="2496" y="596"/>
                  <a:pt x="2654" y="669"/>
                  <a:pt x="2791" y="730"/>
                </a:cubicBezTo>
                <a:cubicBezTo>
                  <a:pt x="2927" y="792"/>
                  <a:pt x="3051" y="844"/>
                  <a:pt x="3192" y="922"/>
                </a:cubicBezTo>
                <a:cubicBezTo>
                  <a:pt x="3333" y="1000"/>
                  <a:pt x="3490" y="1105"/>
                  <a:pt x="3639" y="1196"/>
                </a:cubicBezTo>
                <a:cubicBezTo>
                  <a:pt x="3800" y="1297"/>
                  <a:pt x="4005" y="1424"/>
                  <a:pt x="4158" y="1529"/>
                </a:cubicBezTo>
                <a:cubicBezTo>
                  <a:pt x="4311" y="1634"/>
                  <a:pt x="4399" y="1704"/>
                  <a:pt x="4555" y="1825"/>
                </a:cubicBezTo>
                <a:cubicBezTo>
                  <a:pt x="4711" y="1946"/>
                  <a:pt x="4913" y="2110"/>
                  <a:pt x="5092" y="2253"/>
                </a:cubicBezTo>
                <a:cubicBezTo>
                  <a:pt x="5257" y="2399"/>
                  <a:pt x="5395" y="2552"/>
                  <a:pt x="5546" y="2701"/>
                </a:cubicBezTo>
                <a:cubicBezTo>
                  <a:pt x="5678" y="2832"/>
                  <a:pt x="5770" y="2926"/>
                  <a:pt x="5882" y="3038"/>
                </a:cubicBezTo>
                <a:cubicBezTo>
                  <a:pt x="5985" y="3142"/>
                  <a:pt x="6062" y="3208"/>
                  <a:pt x="6165" y="3326"/>
                </a:cubicBezTo>
                <a:cubicBezTo>
                  <a:pt x="6268" y="3444"/>
                  <a:pt x="6387" y="3606"/>
                  <a:pt x="6498" y="3746"/>
                </a:cubicBezTo>
                <a:cubicBezTo>
                  <a:pt x="6603" y="3874"/>
                  <a:pt x="6697" y="3979"/>
                  <a:pt x="6796" y="4096"/>
                </a:cubicBezTo>
                <a:cubicBezTo>
                  <a:pt x="6930" y="4273"/>
                  <a:pt x="7131" y="4571"/>
                  <a:pt x="7299" y="4809"/>
                </a:cubicBezTo>
                <a:cubicBezTo>
                  <a:pt x="7477" y="5069"/>
                  <a:pt x="7696" y="5387"/>
                  <a:pt x="7862" y="5656"/>
                </a:cubicBezTo>
                <a:cubicBezTo>
                  <a:pt x="8028" y="5925"/>
                  <a:pt x="8121" y="6096"/>
                  <a:pt x="8298" y="6426"/>
                </a:cubicBezTo>
                <a:cubicBezTo>
                  <a:pt x="8475" y="6756"/>
                  <a:pt x="8728" y="7235"/>
                  <a:pt x="8926" y="7638"/>
                </a:cubicBezTo>
                <a:cubicBezTo>
                  <a:pt x="9124" y="8041"/>
                  <a:pt x="9299" y="8443"/>
                  <a:pt x="9486" y="8846"/>
                </a:cubicBezTo>
                <a:cubicBezTo>
                  <a:pt x="9665" y="9239"/>
                  <a:pt x="9829" y="9612"/>
                  <a:pt x="10000" y="9995"/>
                </a:cubicBezTo>
                <a:lnTo>
                  <a:pt x="2" y="10010"/>
                </a:lnTo>
                <a:cubicBezTo>
                  <a:pt x="1" y="6673"/>
                  <a:pt x="1" y="3337"/>
                  <a:pt x="0" y="0"/>
                </a:cubicBezTo>
                <a:lnTo>
                  <a:pt x="229" y="26"/>
                </a:lnTo>
                <a:close/>
              </a:path>
            </a:pathLst>
          </a:custGeom>
          <a:solidFill>
            <a:srgbClr val="005EB8"/>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16" name="Forme libre 9"/>
          <p:cNvSpPr>
            <a:spLocks/>
          </p:cNvSpPr>
          <p:nvPr userDrawn="1"/>
        </p:nvSpPr>
        <p:spPr bwMode="auto">
          <a:xfrm rot="10800000">
            <a:off x="6631118" y="3710519"/>
            <a:ext cx="5594919" cy="317102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944 w 9996"/>
              <a:gd name="connsiteY43" fmla="*/ 9282 h 10000"/>
              <a:gd name="connsiteX44" fmla="*/ 3363 w 9996"/>
              <a:gd name="connsiteY44" fmla="*/ 9466 h 10000"/>
              <a:gd name="connsiteX45" fmla="*/ 2656 w 9996"/>
              <a:gd name="connsiteY45" fmla="*/ 9645 h 10000"/>
              <a:gd name="connsiteX46" fmla="*/ 2282 w 9996"/>
              <a:gd name="connsiteY46" fmla="*/ 9724 h 10000"/>
              <a:gd name="connsiteX47" fmla="*/ 1523 w 9996"/>
              <a:gd name="connsiteY47" fmla="*/ 9852 h 10000"/>
              <a:gd name="connsiteX48" fmla="*/ 1016 w 9996"/>
              <a:gd name="connsiteY48" fmla="*/ 9920 h 10000"/>
              <a:gd name="connsiteX49" fmla="*/ 559 w 9996"/>
              <a:gd name="connsiteY49" fmla="*/ 9972 h 10000"/>
              <a:gd name="connsiteX50" fmla="*/ 183 w 9996"/>
              <a:gd name="connsiteY50" fmla="*/ 10000 h 10000"/>
              <a:gd name="connsiteX51" fmla="*/ 16 w 9996"/>
              <a:gd name="connsiteY51" fmla="*/ 9999 h 10000"/>
              <a:gd name="connsiteX52" fmla="*/ 8 w 9996"/>
              <a:gd name="connsiteY52" fmla="*/ 9201 h 10000"/>
              <a:gd name="connsiteX53" fmla="*/ 8 w 9996"/>
              <a:gd name="connsiteY53" fmla="*/ 8650 h 10000"/>
              <a:gd name="connsiteX54" fmla="*/ 8 w 9996"/>
              <a:gd name="connsiteY54" fmla="*/ 6881 h 10000"/>
              <a:gd name="connsiteX55" fmla="*/ 0 w 9996"/>
              <a:gd name="connsiteY55" fmla="*/ 3 h 10000"/>
              <a:gd name="connsiteX56" fmla="*/ 234 w 9996"/>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273 w 10000"/>
              <a:gd name="connsiteY22" fmla="*/ 4256 h 10000"/>
              <a:gd name="connsiteX23" fmla="*/ 9502 w 10000"/>
              <a:gd name="connsiteY23" fmla="*/ 4494 h 10000"/>
              <a:gd name="connsiteX24" fmla="*/ 9803 w 10000"/>
              <a:gd name="connsiteY24" fmla="*/ 4800 h 10000"/>
              <a:gd name="connsiteX25" fmla="*/ 10000 w 10000"/>
              <a:gd name="connsiteY25" fmla="*/ 4997 h 10000"/>
              <a:gd name="connsiteX26" fmla="*/ 9849 w 10000"/>
              <a:gd name="connsiteY26" fmla="*/ 5173 h 10000"/>
              <a:gd name="connsiteX27" fmla="*/ 9634 w 10000"/>
              <a:gd name="connsiteY27" fmla="*/ 5400 h 10000"/>
              <a:gd name="connsiteX28" fmla="*/ 9428 w 10000"/>
              <a:gd name="connsiteY28" fmla="*/ 5610 h 10000"/>
              <a:gd name="connsiteX29" fmla="*/ 9170 w 10000"/>
              <a:gd name="connsiteY29" fmla="*/ 5866 h 10000"/>
              <a:gd name="connsiteX30" fmla="*/ 8840 w 10000"/>
              <a:gd name="connsiteY30" fmla="*/ 6164 h 10000"/>
              <a:gd name="connsiteX31" fmla="*/ 8671 w 10000"/>
              <a:gd name="connsiteY31" fmla="*/ 6318 h 10000"/>
              <a:gd name="connsiteX32" fmla="*/ 8416 w 10000"/>
              <a:gd name="connsiteY32" fmla="*/ 6540 h 10000"/>
              <a:gd name="connsiteX33" fmla="*/ 8192 w 10000"/>
              <a:gd name="connsiteY33" fmla="*/ 6735 h 10000"/>
              <a:gd name="connsiteX34" fmla="*/ 7942 w 10000"/>
              <a:gd name="connsiteY34" fmla="*/ 6933 h 10000"/>
              <a:gd name="connsiteX35" fmla="*/ 7587 w 10000"/>
              <a:gd name="connsiteY35" fmla="*/ 7208 h 10000"/>
              <a:gd name="connsiteX36" fmla="*/ 7210 w 10000"/>
              <a:gd name="connsiteY36" fmla="*/ 7493 h 10000"/>
              <a:gd name="connsiteX37" fmla="*/ 6833 w 10000"/>
              <a:gd name="connsiteY37" fmla="*/ 7759 h 10000"/>
              <a:gd name="connsiteX38" fmla="*/ 6464 w 10000"/>
              <a:gd name="connsiteY38" fmla="*/ 8005 h 10000"/>
              <a:gd name="connsiteX39" fmla="*/ 5967 w 10000"/>
              <a:gd name="connsiteY39" fmla="*/ 8319 h 10000"/>
              <a:gd name="connsiteX40" fmla="*/ 5537 w 10000"/>
              <a:gd name="connsiteY40" fmla="*/ 8575 h 10000"/>
              <a:gd name="connsiteX41" fmla="*/ 5181 w 10000"/>
              <a:gd name="connsiteY41" fmla="*/ 8761 h 10000"/>
              <a:gd name="connsiteX42" fmla="*/ 4786 w 10000"/>
              <a:gd name="connsiteY42" fmla="*/ 8948 h 10000"/>
              <a:gd name="connsiteX43" fmla="*/ 4370 w 10000"/>
              <a:gd name="connsiteY43" fmla="*/ 9125 h 10000"/>
              <a:gd name="connsiteX44" fmla="*/ 3946 w 10000"/>
              <a:gd name="connsiteY44" fmla="*/ 9282 h 10000"/>
              <a:gd name="connsiteX45" fmla="*/ 3364 w 10000"/>
              <a:gd name="connsiteY45" fmla="*/ 9466 h 10000"/>
              <a:gd name="connsiteX46" fmla="*/ 2657 w 10000"/>
              <a:gd name="connsiteY46" fmla="*/ 9645 h 10000"/>
              <a:gd name="connsiteX47" fmla="*/ 2283 w 10000"/>
              <a:gd name="connsiteY47" fmla="*/ 9724 h 10000"/>
              <a:gd name="connsiteX48" fmla="*/ 1524 w 10000"/>
              <a:gd name="connsiteY48" fmla="*/ 9852 h 10000"/>
              <a:gd name="connsiteX49" fmla="*/ 1016 w 10000"/>
              <a:gd name="connsiteY49" fmla="*/ 9920 h 10000"/>
              <a:gd name="connsiteX50" fmla="*/ 559 w 10000"/>
              <a:gd name="connsiteY50" fmla="*/ 9972 h 10000"/>
              <a:gd name="connsiteX51" fmla="*/ 183 w 10000"/>
              <a:gd name="connsiteY51" fmla="*/ 10000 h 10000"/>
              <a:gd name="connsiteX52" fmla="*/ 16 w 10000"/>
              <a:gd name="connsiteY52" fmla="*/ 9999 h 10000"/>
              <a:gd name="connsiteX53" fmla="*/ 8 w 10000"/>
              <a:gd name="connsiteY53" fmla="*/ 9201 h 10000"/>
              <a:gd name="connsiteX54" fmla="*/ 8 w 10000"/>
              <a:gd name="connsiteY54" fmla="*/ 8650 h 10000"/>
              <a:gd name="connsiteX55" fmla="*/ 8 w 10000"/>
              <a:gd name="connsiteY55" fmla="*/ 6881 h 10000"/>
              <a:gd name="connsiteX56" fmla="*/ 0 w 10000"/>
              <a:gd name="connsiteY56" fmla="*/ 3 h 10000"/>
              <a:gd name="connsiteX57" fmla="*/ 234 w 10000"/>
              <a:gd name="connsiteY5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809 w 10000"/>
              <a:gd name="connsiteY20" fmla="*/ 3826 h 10000"/>
              <a:gd name="connsiteX21" fmla="*/ 9273 w 10000"/>
              <a:gd name="connsiteY21" fmla="*/ 4256 h 10000"/>
              <a:gd name="connsiteX22" fmla="*/ 9502 w 10000"/>
              <a:gd name="connsiteY22" fmla="*/ 4494 h 10000"/>
              <a:gd name="connsiteX23" fmla="*/ 9803 w 10000"/>
              <a:gd name="connsiteY23" fmla="*/ 4800 h 10000"/>
              <a:gd name="connsiteX24" fmla="*/ 10000 w 10000"/>
              <a:gd name="connsiteY24" fmla="*/ 4997 h 10000"/>
              <a:gd name="connsiteX25" fmla="*/ 9849 w 10000"/>
              <a:gd name="connsiteY25" fmla="*/ 5173 h 10000"/>
              <a:gd name="connsiteX26" fmla="*/ 9634 w 10000"/>
              <a:gd name="connsiteY26" fmla="*/ 5400 h 10000"/>
              <a:gd name="connsiteX27" fmla="*/ 9428 w 10000"/>
              <a:gd name="connsiteY27" fmla="*/ 5610 h 10000"/>
              <a:gd name="connsiteX28" fmla="*/ 9170 w 10000"/>
              <a:gd name="connsiteY28" fmla="*/ 5866 h 10000"/>
              <a:gd name="connsiteX29" fmla="*/ 8840 w 10000"/>
              <a:gd name="connsiteY29" fmla="*/ 6164 h 10000"/>
              <a:gd name="connsiteX30" fmla="*/ 8671 w 10000"/>
              <a:gd name="connsiteY30" fmla="*/ 6318 h 10000"/>
              <a:gd name="connsiteX31" fmla="*/ 8416 w 10000"/>
              <a:gd name="connsiteY31" fmla="*/ 6540 h 10000"/>
              <a:gd name="connsiteX32" fmla="*/ 8192 w 10000"/>
              <a:gd name="connsiteY32" fmla="*/ 6735 h 10000"/>
              <a:gd name="connsiteX33" fmla="*/ 7942 w 10000"/>
              <a:gd name="connsiteY33" fmla="*/ 6933 h 10000"/>
              <a:gd name="connsiteX34" fmla="*/ 7587 w 10000"/>
              <a:gd name="connsiteY34" fmla="*/ 7208 h 10000"/>
              <a:gd name="connsiteX35" fmla="*/ 7210 w 10000"/>
              <a:gd name="connsiteY35" fmla="*/ 7493 h 10000"/>
              <a:gd name="connsiteX36" fmla="*/ 6833 w 10000"/>
              <a:gd name="connsiteY36" fmla="*/ 7759 h 10000"/>
              <a:gd name="connsiteX37" fmla="*/ 6464 w 10000"/>
              <a:gd name="connsiteY37" fmla="*/ 8005 h 10000"/>
              <a:gd name="connsiteX38" fmla="*/ 5967 w 10000"/>
              <a:gd name="connsiteY38" fmla="*/ 8319 h 10000"/>
              <a:gd name="connsiteX39" fmla="*/ 5537 w 10000"/>
              <a:gd name="connsiteY39" fmla="*/ 8575 h 10000"/>
              <a:gd name="connsiteX40" fmla="*/ 5181 w 10000"/>
              <a:gd name="connsiteY40" fmla="*/ 8761 h 10000"/>
              <a:gd name="connsiteX41" fmla="*/ 4786 w 10000"/>
              <a:gd name="connsiteY41" fmla="*/ 8948 h 10000"/>
              <a:gd name="connsiteX42" fmla="*/ 4370 w 10000"/>
              <a:gd name="connsiteY42" fmla="*/ 9125 h 10000"/>
              <a:gd name="connsiteX43" fmla="*/ 3946 w 10000"/>
              <a:gd name="connsiteY43" fmla="*/ 9282 h 10000"/>
              <a:gd name="connsiteX44" fmla="*/ 3364 w 10000"/>
              <a:gd name="connsiteY44" fmla="*/ 9466 h 10000"/>
              <a:gd name="connsiteX45" fmla="*/ 2657 w 10000"/>
              <a:gd name="connsiteY45" fmla="*/ 9645 h 10000"/>
              <a:gd name="connsiteX46" fmla="*/ 2283 w 10000"/>
              <a:gd name="connsiteY46" fmla="*/ 9724 h 10000"/>
              <a:gd name="connsiteX47" fmla="*/ 1524 w 10000"/>
              <a:gd name="connsiteY47" fmla="*/ 9852 h 10000"/>
              <a:gd name="connsiteX48" fmla="*/ 1016 w 10000"/>
              <a:gd name="connsiteY48" fmla="*/ 9920 h 10000"/>
              <a:gd name="connsiteX49" fmla="*/ 559 w 10000"/>
              <a:gd name="connsiteY49" fmla="*/ 9972 h 10000"/>
              <a:gd name="connsiteX50" fmla="*/ 183 w 10000"/>
              <a:gd name="connsiteY50" fmla="*/ 10000 h 10000"/>
              <a:gd name="connsiteX51" fmla="*/ 16 w 10000"/>
              <a:gd name="connsiteY51" fmla="*/ 9999 h 10000"/>
              <a:gd name="connsiteX52" fmla="*/ 8 w 10000"/>
              <a:gd name="connsiteY52" fmla="*/ 9201 h 10000"/>
              <a:gd name="connsiteX53" fmla="*/ 8 w 10000"/>
              <a:gd name="connsiteY53" fmla="*/ 8650 h 10000"/>
              <a:gd name="connsiteX54" fmla="*/ 8 w 10000"/>
              <a:gd name="connsiteY54" fmla="*/ 6881 h 10000"/>
              <a:gd name="connsiteX55" fmla="*/ 0 w 10000"/>
              <a:gd name="connsiteY55" fmla="*/ 3 h 10000"/>
              <a:gd name="connsiteX56" fmla="*/ 234 w 10000"/>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8809 w 10000"/>
              <a:gd name="connsiteY19" fmla="*/ 3826 h 10000"/>
              <a:gd name="connsiteX20" fmla="*/ 9273 w 10000"/>
              <a:gd name="connsiteY20" fmla="*/ 4256 h 10000"/>
              <a:gd name="connsiteX21" fmla="*/ 9502 w 10000"/>
              <a:gd name="connsiteY21" fmla="*/ 4494 h 10000"/>
              <a:gd name="connsiteX22" fmla="*/ 9803 w 10000"/>
              <a:gd name="connsiteY22" fmla="*/ 4800 h 10000"/>
              <a:gd name="connsiteX23" fmla="*/ 10000 w 10000"/>
              <a:gd name="connsiteY23" fmla="*/ 4997 h 10000"/>
              <a:gd name="connsiteX24" fmla="*/ 9849 w 10000"/>
              <a:gd name="connsiteY24" fmla="*/ 5173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946 w 10000"/>
              <a:gd name="connsiteY42" fmla="*/ 9282 h 10000"/>
              <a:gd name="connsiteX43" fmla="*/ 3364 w 10000"/>
              <a:gd name="connsiteY43" fmla="*/ 9466 h 10000"/>
              <a:gd name="connsiteX44" fmla="*/ 2657 w 10000"/>
              <a:gd name="connsiteY44" fmla="*/ 9645 h 10000"/>
              <a:gd name="connsiteX45" fmla="*/ 2283 w 10000"/>
              <a:gd name="connsiteY45" fmla="*/ 9724 h 10000"/>
              <a:gd name="connsiteX46" fmla="*/ 1524 w 10000"/>
              <a:gd name="connsiteY46" fmla="*/ 9852 h 10000"/>
              <a:gd name="connsiteX47" fmla="*/ 1016 w 10000"/>
              <a:gd name="connsiteY47" fmla="*/ 9920 h 10000"/>
              <a:gd name="connsiteX48" fmla="*/ 559 w 10000"/>
              <a:gd name="connsiteY48" fmla="*/ 9972 h 10000"/>
              <a:gd name="connsiteX49" fmla="*/ 183 w 10000"/>
              <a:gd name="connsiteY49" fmla="*/ 10000 h 10000"/>
              <a:gd name="connsiteX50" fmla="*/ 16 w 10000"/>
              <a:gd name="connsiteY50" fmla="*/ 9999 h 10000"/>
              <a:gd name="connsiteX51" fmla="*/ 8 w 10000"/>
              <a:gd name="connsiteY51" fmla="*/ 9201 h 10000"/>
              <a:gd name="connsiteX52" fmla="*/ 8 w 10000"/>
              <a:gd name="connsiteY52" fmla="*/ 8650 h 10000"/>
              <a:gd name="connsiteX53" fmla="*/ 8 w 10000"/>
              <a:gd name="connsiteY53" fmla="*/ 6881 h 10000"/>
              <a:gd name="connsiteX54" fmla="*/ 0 w 10000"/>
              <a:gd name="connsiteY54" fmla="*/ 3 h 10000"/>
              <a:gd name="connsiteX55" fmla="*/ 234 w 10000"/>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8823 w 10014"/>
              <a:gd name="connsiteY19" fmla="*/ 3826 h 10000"/>
              <a:gd name="connsiteX20" fmla="*/ 9287 w 10014"/>
              <a:gd name="connsiteY20" fmla="*/ 4256 h 10000"/>
              <a:gd name="connsiteX21" fmla="*/ 9516 w 10014"/>
              <a:gd name="connsiteY21" fmla="*/ 4494 h 10000"/>
              <a:gd name="connsiteX22" fmla="*/ 9817 w 10014"/>
              <a:gd name="connsiteY22" fmla="*/ 4800 h 10000"/>
              <a:gd name="connsiteX23" fmla="*/ 10014 w 10014"/>
              <a:gd name="connsiteY23" fmla="*/ 4997 h 10000"/>
              <a:gd name="connsiteX24" fmla="*/ 9863 w 10014"/>
              <a:gd name="connsiteY24" fmla="*/ 5173 h 10000"/>
              <a:gd name="connsiteX25" fmla="*/ 9648 w 10014"/>
              <a:gd name="connsiteY25" fmla="*/ 5400 h 10000"/>
              <a:gd name="connsiteX26" fmla="*/ 9442 w 10014"/>
              <a:gd name="connsiteY26" fmla="*/ 5610 h 10000"/>
              <a:gd name="connsiteX27" fmla="*/ 9184 w 10014"/>
              <a:gd name="connsiteY27" fmla="*/ 5866 h 10000"/>
              <a:gd name="connsiteX28" fmla="*/ 8854 w 10014"/>
              <a:gd name="connsiteY28" fmla="*/ 6164 h 10000"/>
              <a:gd name="connsiteX29" fmla="*/ 8685 w 10014"/>
              <a:gd name="connsiteY29" fmla="*/ 6318 h 10000"/>
              <a:gd name="connsiteX30" fmla="*/ 8430 w 10014"/>
              <a:gd name="connsiteY30" fmla="*/ 6540 h 10000"/>
              <a:gd name="connsiteX31" fmla="*/ 8206 w 10014"/>
              <a:gd name="connsiteY31" fmla="*/ 6735 h 10000"/>
              <a:gd name="connsiteX32" fmla="*/ 7956 w 10014"/>
              <a:gd name="connsiteY32" fmla="*/ 6933 h 10000"/>
              <a:gd name="connsiteX33" fmla="*/ 7601 w 10014"/>
              <a:gd name="connsiteY33" fmla="*/ 7208 h 10000"/>
              <a:gd name="connsiteX34" fmla="*/ 7224 w 10014"/>
              <a:gd name="connsiteY34" fmla="*/ 7493 h 10000"/>
              <a:gd name="connsiteX35" fmla="*/ 6847 w 10014"/>
              <a:gd name="connsiteY35" fmla="*/ 7759 h 10000"/>
              <a:gd name="connsiteX36" fmla="*/ 6478 w 10014"/>
              <a:gd name="connsiteY36" fmla="*/ 8005 h 10000"/>
              <a:gd name="connsiteX37" fmla="*/ 5981 w 10014"/>
              <a:gd name="connsiteY37" fmla="*/ 8319 h 10000"/>
              <a:gd name="connsiteX38" fmla="*/ 5551 w 10014"/>
              <a:gd name="connsiteY38" fmla="*/ 8575 h 10000"/>
              <a:gd name="connsiteX39" fmla="*/ 5195 w 10014"/>
              <a:gd name="connsiteY39" fmla="*/ 8761 h 10000"/>
              <a:gd name="connsiteX40" fmla="*/ 4800 w 10014"/>
              <a:gd name="connsiteY40" fmla="*/ 8948 h 10000"/>
              <a:gd name="connsiteX41" fmla="*/ 4384 w 10014"/>
              <a:gd name="connsiteY41" fmla="*/ 9125 h 10000"/>
              <a:gd name="connsiteX42" fmla="*/ 3960 w 10014"/>
              <a:gd name="connsiteY42" fmla="*/ 9282 h 10000"/>
              <a:gd name="connsiteX43" fmla="*/ 3378 w 10014"/>
              <a:gd name="connsiteY43" fmla="*/ 9466 h 10000"/>
              <a:gd name="connsiteX44" fmla="*/ 2671 w 10014"/>
              <a:gd name="connsiteY44" fmla="*/ 9645 h 10000"/>
              <a:gd name="connsiteX45" fmla="*/ 2297 w 10014"/>
              <a:gd name="connsiteY45" fmla="*/ 9724 h 10000"/>
              <a:gd name="connsiteX46" fmla="*/ 1538 w 10014"/>
              <a:gd name="connsiteY46" fmla="*/ 9852 h 10000"/>
              <a:gd name="connsiteX47" fmla="*/ 1030 w 10014"/>
              <a:gd name="connsiteY47" fmla="*/ 9920 h 10000"/>
              <a:gd name="connsiteX48" fmla="*/ 573 w 10014"/>
              <a:gd name="connsiteY48" fmla="*/ 9972 h 10000"/>
              <a:gd name="connsiteX49" fmla="*/ 197 w 10014"/>
              <a:gd name="connsiteY49" fmla="*/ 10000 h 10000"/>
              <a:gd name="connsiteX50" fmla="*/ 30 w 10014"/>
              <a:gd name="connsiteY50" fmla="*/ 9999 h 10000"/>
              <a:gd name="connsiteX51" fmla="*/ 22 w 10014"/>
              <a:gd name="connsiteY51" fmla="*/ 9201 h 10000"/>
              <a:gd name="connsiteX52" fmla="*/ 22 w 10014"/>
              <a:gd name="connsiteY52" fmla="*/ 8650 h 10000"/>
              <a:gd name="connsiteX53" fmla="*/ 22 w 10014"/>
              <a:gd name="connsiteY53" fmla="*/ 6881 h 10000"/>
              <a:gd name="connsiteX54" fmla="*/ 21 w 10014"/>
              <a:gd name="connsiteY54" fmla="*/ 4264 h 10000"/>
              <a:gd name="connsiteX55" fmla="*/ 14 w 10014"/>
              <a:gd name="connsiteY55" fmla="*/ 3 h 10000"/>
              <a:gd name="connsiteX56" fmla="*/ 248 w 10014"/>
              <a:gd name="connsiteY5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9287 w 10014"/>
              <a:gd name="connsiteY19" fmla="*/ 4256 h 10000"/>
              <a:gd name="connsiteX20" fmla="*/ 9516 w 10014"/>
              <a:gd name="connsiteY20" fmla="*/ 4494 h 10000"/>
              <a:gd name="connsiteX21" fmla="*/ 9817 w 10014"/>
              <a:gd name="connsiteY21" fmla="*/ 4800 h 10000"/>
              <a:gd name="connsiteX22" fmla="*/ 10014 w 10014"/>
              <a:gd name="connsiteY22" fmla="*/ 4997 h 10000"/>
              <a:gd name="connsiteX23" fmla="*/ 9863 w 10014"/>
              <a:gd name="connsiteY23" fmla="*/ 5173 h 10000"/>
              <a:gd name="connsiteX24" fmla="*/ 9648 w 10014"/>
              <a:gd name="connsiteY24" fmla="*/ 5400 h 10000"/>
              <a:gd name="connsiteX25" fmla="*/ 9442 w 10014"/>
              <a:gd name="connsiteY25" fmla="*/ 5610 h 10000"/>
              <a:gd name="connsiteX26" fmla="*/ 9184 w 10014"/>
              <a:gd name="connsiteY26" fmla="*/ 5866 h 10000"/>
              <a:gd name="connsiteX27" fmla="*/ 8854 w 10014"/>
              <a:gd name="connsiteY27" fmla="*/ 6164 h 10000"/>
              <a:gd name="connsiteX28" fmla="*/ 8685 w 10014"/>
              <a:gd name="connsiteY28" fmla="*/ 6318 h 10000"/>
              <a:gd name="connsiteX29" fmla="*/ 8430 w 10014"/>
              <a:gd name="connsiteY29" fmla="*/ 6540 h 10000"/>
              <a:gd name="connsiteX30" fmla="*/ 8206 w 10014"/>
              <a:gd name="connsiteY30" fmla="*/ 6735 h 10000"/>
              <a:gd name="connsiteX31" fmla="*/ 7956 w 10014"/>
              <a:gd name="connsiteY31" fmla="*/ 6933 h 10000"/>
              <a:gd name="connsiteX32" fmla="*/ 7601 w 10014"/>
              <a:gd name="connsiteY32" fmla="*/ 7208 h 10000"/>
              <a:gd name="connsiteX33" fmla="*/ 7224 w 10014"/>
              <a:gd name="connsiteY33" fmla="*/ 7493 h 10000"/>
              <a:gd name="connsiteX34" fmla="*/ 6847 w 10014"/>
              <a:gd name="connsiteY34" fmla="*/ 7759 h 10000"/>
              <a:gd name="connsiteX35" fmla="*/ 6478 w 10014"/>
              <a:gd name="connsiteY35" fmla="*/ 8005 h 10000"/>
              <a:gd name="connsiteX36" fmla="*/ 5981 w 10014"/>
              <a:gd name="connsiteY36" fmla="*/ 8319 h 10000"/>
              <a:gd name="connsiteX37" fmla="*/ 5551 w 10014"/>
              <a:gd name="connsiteY37" fmla="*/ 8575 h 10000"/>
              <a:gd name="connsiteX38" fmla="*/ 5195 w 10014"/>
              <a:gd name="connsiteY38" fmla="*/ 8761 h 10000"/>
              <a:gd name="connsiteX39" fmla="*/ 4800 w 10014"/>
              <a:gd name="connsiteY39" fmla="*/ 8948 h 10000"/>
              <a:gd name="connsiteX40" fmla="*/ 4384 w 10014"/>
              <a:gd name="connsiteY40" fmla="*/ 9125 h 10000"/>
              <a:gd name="connsiteX41" fmla="*/ 3960 w 10014"/>
              <a:gd name="connsiteY41" fmla="*/ 9282 h 10000"/>
              <a:gd name="connsiteX42" fmla="*/ 3378 w 10014"/>
              <a:gd name="connsiteY42" fmla="*/ 9466 h 10000"/>
              <a:gd name="connsiteX43" fmla="*/ 2671 w 10014"/>
              <a:gd name="connsiteY43" fmla="*/ 9645 h 10000"/>
              <a:gd name="connsiteX44" fmla="*/ 2297 w 10014"/>
              <a:gd name="connsiteY44" fmla="*/ 9724 h 10000"/>
              <a:gd name="connsiteX45" fmla="*/ 1538 w 10014"/>
              <a:gd name="connsiteY45" fmla="*/ 9852 h 10000"/>
              <a:gd name="connsiteX46" fmla="*/ 1030 w 10014"/>
              <a:gd name="connsiteY46" fmla="*/ 9920 h 10000"/>
              <a:gd name="connsiteX47" fmla="*/ 573 w 10014"/>
              <a:gd name="connsiteY47" fmla="*/ 9972 h 10000"/>
              <a:gd name="connsiteX48" fmla="*/ 197 w 10014"/>
              <a:gd name="connsiteY48" fmla="*/ 10000 h 10000"/>
              <a:gd name="connsiteX49" fmla="*/ 30 w 10014"/>
              <a:gd name="connsiteY49" fmla="*/ 9999 h 10000"/>
              <a:gd name="connsiteX50" fmla="*/ 22 w 10014"/>
              <a:gd name="connsiteY50" fmla="*/ 9201 h 10000"/>
              <a:gd name="connsiteX51" fmla="*/ 22 w 10014"/>
              <a:gd name="connsiteY51" fmla="*/ 8650 h 10000"/>
              <a:gd name="connsiteX52" fmla="*/ 22 w 10014"/>
              <a:gd name="connsiteY52" fmla="*/ 6881 h 10000"/>
              <a:gd name="connsiteX53" fmla="*/ 21 w 10014"/>
              <a:gd name="connsiteY53" fmla="*/ 4264 h 10000"/>
              <a:gd name="connsiteX54" fmla="*/ 14 w 10014"/>
              <a:gd name="connsiteY54" fmla="*/ 3 h 10000"/>
              <a:gd name="connsiteX55" fmla="*/ 248 w 10014"/>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9287 w 10014"/>
              <a:gd name="connsiteY18" fmla="*/ 4256 h 10000"/>
              <a:gd name="connsiteX19" fmla="*/ 9516 w 10014"/>
              <a:gd name="connsiteY19" fmla="*/ 4494 h 10000"/>
              <a:gd name="connsiteX20" fmla="*/ 9817 w 10014"/>
              <a:gd name="connsiteY20" fmla="*/ 4800 h 10000"/>
              <a:gd name="connsiteX21" fmla="*/ 10014 w 10014"/>
              <a:gd name="connsiteY21" fmla="*/ 4997 h 10000"/>
              <a:gd name="connsiteX22" fmla="*/ 9863 w 10014"/>
              <a:gd name="connsiteY22" fmla="*/ 5173 h 10000"/>
              <a:gd name="connsiteX23" fmla="*/ 9648 w 10014"/>
              <a:gd name="connsiteY23" fmla="*/ 5400 h 10000"/>
              <a:gd name="connsiteX24" fmla="*/ 9442 w 10014"/>
              <a:gd name="connsiteY24" fmla="*/ 5610 h 10000"/>
              <a:gd name="connsiteX25" fmla="*/ 9184 w 10014"/>
              <a:gd name="connsiteY25" fmla="*/ 5866 h 10000"/>
              <a:gd name="connsiteX26" fmla="*/ 8854 w 10014"/>
              <a:gd name="connsiteY26" fmla="*/ 6164 h 10000"/>
              <a:gd name="connsiteX27" fmla="*/ 8685 w 10014"/>
              <a:gd name="connsiteY27" fmla="*/ 6318 h 10000"/>
              <a:gd name="connsiteX28" fmla="*/ 8430 w 10014"/>
              <a:gd name="connsiteY28" fmla="*/ 6540 h 10000"/>
              <a:gd name="connsiteX29" fmla="*/ 8206 w 10014"/>
              <a:gd name="connsiteY29" fmla="*/ 6735 h 10000"/>
              <a:gd name="connsiteX30" fmla="*/ 7956 w 10014"/>
              <a:gd name="connsiteY30" fmla="*/ 6933 h 10000"/>
              <a:gd name="connsiteX31" fmla="*/ 7601 w 10014"/>
              <a:gd name="connsiteY31" fmla="*/ 7208 h 10000"/>
              <a:gd name="connsiteX32" fmla="*/ 7224 w 10014"/>
              <a:gd name="connsiteY32" fmla="*/ 7493 h 10000"/>
              <a:gd name="connsiteX33" fmla="*/ 6847 w 10014"/>
              <a:gd name="connsiteY33" fmla="*/ 7759 h 10000"/>
              <a:gd name="connsiteX34" fmla="*/ 6478 w 10014"/>
              <a:gd name="connsiteY34" fmla="*/ 8005 h 10000"/>
              <a:gd name="connsiteX35" fmla="*/ 5981 w 10014"/>
              <a:gd name="connsiteY35" fmla="*/ 8319 h 10000"/>
              <a:gd name="connsiteX36" fmla="*/ 5551 w 10014"/>
              <a:gd name="connsiteY36" fmla="*/ 8575 h 10000"/>
              <a:gd name="connsiteX37" fmla="*/ 5195 w 10014"/>
              <a:gd name="connsiteY37" fmla="*/ 8761 h 10000"/>
              <a:gd name="connsiteX38" fmla="*/ 4800 w 10014"/>
              <a:gd name="connsiteY38" fmla="*/ 8948 h 10000"/>
              <a:gd name="connsiteX39" fmla="*/ 4384 w 10014"/>
              <a:gd name="connsiteY39" fmla="*/ 9125 h 10000"/>
              <a:gd name="connsiteX40" fmla="*/ 3960 w 10014"/>
              <a:gd name="connsiteY40" fmla="*/ 9282 h 10000"/>
              <a:gd name="connsiteX41" fmla="*/ 3378 w 10014"/>
              <a:gd name="connsiteY41" fmla="*/ 9466 h 10000"/>
              <a:gd name="connsiteX42" fmla="*/ 2671 w 10014"/>
              <a:gd name="connsiteY42" fmla="*/ 9645 h 10000"/>
              <a:gd name="connsiteX43" fmla="*/ 2297 w 10014"/>
              <a:gd name="connsiteY43" fmla="*/ 9724 h 10000"/>
              <a:gd name="connsiteX44" fmla="*/ 1538 w 10014"/>
              <a:gd name="connsiteY44" fmla="*/ 9852 h 10000"/>
              <a:gd name="connsiteX45" fmla="*/ 1030 w 10014"/>
              <a:gd name="connsiteY45" fmla="*/ 9920 h 10000"/>
              <a:gd name="connsiteX46" fmla="*/ 573 w 10014"/>
              <a:gd name="connsiteY46" fmla="*/ 9972 h 10000"/>
              <a:gd name="connsiteX47" fmla="*/ 197 w 10014"/>
              <a:gd name="connsiteY47" fmla="*/ 10000 h 10000"/>
              <a:gd name="connsiteX48" fmla="*/ 30 w 10014"/>
              <a:gd name="connsiteY48" fmla="*/ 9999 h 10000"/>
              <a:gd name="connsiteX49" fmla="*/ 22 w 10014"/>
              <a:gd name="connsiteY49" fmla="*/ 9201 h 10000"/>
              <a:gd name="connsiteX50" fmla="*/ 22 w 10014"/>
              <a:gd name="connsiteY50" fmla="*/ 8650 h 10000"/>
              <a:gd name="connsiteX51" fmla="*/ 22 w 10014"/>
              <a:gd name="connsiteY51" fmla="*/ 6881 h 10000"/>
              <a:gd name="connsiteX52" fmla="*/ 21 w 10014"/>
              <a:gd name="connsiteY52" fmla="*/ 4264 h 10000"/>
              <a:gd name="connsiteX53" fmla="*/ 14 w 10014"/>
              <a:gd name="connsiteY53" fmla="*/ 3 h 10000"/>
              <a:gd name="connsiteX54" fmla="*/ 248 w 10014"/>
              <a:gd name="connsiteY54"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9287 w 10014"/>
              <a:gd name="connsiteY17" fmla="*/ 4256 h 10000"/>
              <a:gd name="connsiteX18" fmla="*/ 9516 w 10014"/>
              <a:gd name="connsiteY18" fmla="*/ 4494 h 10000"/>
              <a:gd name="connsiteX19" fmla="*/ 9817 w 10014"/>
              <a:gd name="connsiteY19" fmla="*/ 4800 h 10000"/>
              <a:gd name="connsiteX20" fmla="*/ 10014 w 10014"/>
              <a:gd name="connsiteY20" fmla="*/ 4997 h 10000"/>
              <a:gd name="connsiteX21" fmla="*/ 9863 w 10014"/>
              <a:gd name="connsiteY21" fmla="*/ 5173 h 10000"/>
              <a:gd name="connsiteX22" fmla="*/ 9648 w 10014"/>
              <a:gd name="connsiteY22" fmla="*/ 5400 h 10000"/>
              <a:gd name="connsiteX23" fmla="*/ 9442 w 10014"/>
              <a:gd name="connsiteY23" fmla="*/ 5610 h 10000"/>
              <a:gd name="connsiteX24" fmla="*/ 9184 w 10014"/>
              <a:gd name="connsiteY24" fmla="*/ 5866 h 10000"/>
              <a:gd name="connsiteX25" fmla="*/ 8854 w 10014"/>
              <a:gd name="connsiteY25" fmla="*/ 6164 h 10000"/>
              <a:gd name="connsiteX26" fmla="*/ 8685 w 10014"/>
              <a:gd name="connsiteY26" fmla="*/ 6318 h 10000"/>
              <a:gd name="connsiteX27" fmla="*/ 8430 w 10014"/>
              <a:gd name="connsiteY27" fmla="*/ 6540 h 10000"/>
              <a:gd name="connsiteX28" fmla="*/ 8206 w 10014"/>
              <a:gd name="connsiteY28" fmla="*/ 6735 h 10000"/>
              <a:gd name="connsiteX29" fmla="*/ 7956 w 10014"/>
              <a:gd name="connsiteY29" fmla="*/ 6933 h 10000"/>
              <a:gd name="connsiteX30" fmla="*/ 7601 w 10014"/>
              <a:gd name="connsiteY30" fmla="*/ 7208 h 10000"/>
              <a:gd name="connsiteX31" fmla="*/ 7224 w 10014"/>
              <a:gd name="connsiteY31" fmla="*/ 7493 h 10000"/>
              <a:gd name="connsiteX32" fmla="*/ 6847 w 10014"/>
              <a:gd name="connsiteY32" fmla="*/ 7759 h 10000"/>
              <a:gd name="connsiteX33" fmla="*/ 6478 w 10014"/>
              <a:gd name="connsiteY33" fmla="*/ 8005 h 10000"/>
              <a:gd name="connsiteX34" fmla="*/ 5981 w 10014"/>
              <a:gd name="connsiteY34" fmla="*/ 8319 h 10000"/>
              <a:gd name="connsiteX35" fmla="*/ 5551 w 10014"/>
              <a:gd name="connsiteY35" fmla="*/ 8575 h 10000"/>
              <a:gd name="connsiteX36" fmla="*/ 5195 w 10014"/>
              <a:gd name="connsiteY36" fmla="*/ 8761 h 10000"/>
              <a:gd name="connsiteX37" fmla="*/ 4800 w 10014"/>
              <a:gd name="connsiteY37" fmla="*/ 8948 h 10000"/>
              <a:gd name="connsiteX38" fmla="*/ 4384 w 10014"/>
              <a:gd name="connsiteY38" fmla="*/ 9125 h 10000"/>
              <a:gd name="connsiteX39" fmla="*/ 3960 w 10014"/>
              <a:gd name="connsiteY39" fmla="*/ 9282 h 10000"/>
              <a:gd name="connsiteX40" fmla="*/ 3378 w 10014"/>
              <a:gd name="connsiteY40" fmla="*/ 9466 h 10000"/>
              <a:gd name="connsiteX41" fmla="*/ 2671 w 10014"/>
              <a:gd name="connsiteY41" fmla="*/ 9645 h 10000"/>
              <a:gd name="connsiteX42" fmla="*/ 2297 w 10014"/>
              <a:gd name="connsiteY42" fmla="*/ 9724 h 10000"/>
              <a:gd name="connsiteX43" fmla="*/ 1538 w 10014"/>
              <a:gd name="connsiteY43" fmla="*/ 9852 h 10000"/>
              <a:gd name="connsiteX44" fmla="*/ 1030 w 10014"/>
              <a:gd name="connsiteY44" fmla="*/ 9920 h 10000"/>
              <a:gd name="connsiteX45" fmla="*/ 573 w 10014"/>
              <a:gd name="connsiteY45" fmla="*/ 9972 h 10000"/>
              <a:gd name="connsiteX46" fmla="*/ 197 w 10014"/>
              <a:gd name="connsiteY46" fmla="*/ 10000 h 10000"/>
              <a:gd name="connsiteX47" fmla="*/ 30 w 10014"/>
              <a:gd name="connsiteY47" fmla="*/ 9999 h 10000"/>
              <a:gd name="connsiteX48" fmla="*/ 22 w 10014"/>
              <a:gd name="connsiteY48" fmla="*/ 9201 h 10000"/>
              <a:gd name="connsiteX49" fmla="*/ 22 w 10014"/>
              <a:gd name="connsiteY49" fmla="*/ 8650 h 10000"/>
              <a:gd name="connsiteX50" fmla="*/ 22 w 10014"/>
              <a:gd name="connsiteY50" fmla="*/ 6881 h 10000"/>
              <a:gd name="connsiteX51" fmla="*/ 21 w 10014"/>
              <a:gd name="connsiteY51" fmla="*/ 4264 h 10000"/>
              <a:gd name="connsiteX52" fmla="*/ 14 w 10014"/>
              <a:gd name="connsiteY52" fmla="*/ 3 h 10000"/>
              <a:gd name="connsiteX53" fmla="*/ 248 w 10014"/>
              <a:gd name="connsiteY53"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9287 w 10014"/>
              <a:gd name="connsiteY16" fmla="*/ 4256 h 10000"/>
              <a:gd name="connsiteX17" fmla="*/ 9516 w 10014"/>
              <a:gd name="connsiteY17" fmla="*/ 4494 h 10000"/>
              <a:gd name="connsiteX18" fmla="*/ 9817 w 10014"/>
              <a:gd name="connsiteY18" fmla="*/ 4800 h 10000"/>
              <a:gd name="connsiteX19" fmla="*/ 10014 w 10014"/>
              <a:gd name="connsiteY19" fmla="*/ 4997 h 10000"/>
              <a:gd name="connsiteX20" fmla="*/ 9863 w 10014"/>
              <a:gd name="connsiteY20" fmla="*/ 5173 h 10000"/>
              <a:gd name="connsiteX21" fmla="*/ 9648 w 10014"/>
              <a:gd name="connsiteY21" fmla="*/ 5400 h 10000"/>
              <a:gd name="connsiteX22" fmla="*/ 9442 w 10014"/>
              <a:gd name="connsiteY22" fmla="*/ 5610 h 10000"/>
              <a:gd name="connsiteX23" fmla="*/ 9184 w 10014"/>
              <a:gd name="connsiteY23" fmla="*/ 5866 h 10000"/>
              <a:gd name="connsiteX24" fmla="*/ 8854 w 10014"/>
              <a:gd name="connsiteY24" fmla="*/ 6164 h 10000"/>
              <a:gd name="connsiteX25" fmla="*/ 8685 w 10014"/>
              <a:gd name="connsiteY25" fmla="*/ 6318 h 10000"/>
              <a:gd name="connsiteX26" fmla="*/ 8430 w 10014"/>
              <a:gd name="connsiteY26" fmla="*/ 6540 h 10000"/>
              <a:gd name="connsiteX27" fmla="*/ 8206 w 10014"/>
              <a:gd name="connsiteY27" fmla="*/ 6735 h 10000"/>
              <a:gd name="connsiteX28" fmla="*/ 7956 w 10014"/>
              <a:gd name="connsiteY28" fmla="*/ 6933 h 10000"/>
              <a:gd name="connsiteX29" fmla="*/ 7601 w 10014"/>
              <a:gd name="connsiteY29" fmla="*/ 7208 h 10000"/>
              <a:gd name="connsiteX30" fmla="*/ 7224 w 10014"/>
              <a:gd name="connsiteY30" fmla="*/ 7493 h 10000"/>
              <a:gd name="connsiteX31" fmla="*/ 6847 w 10014"/>
              <a:gd name="connsiteY31" fmla="*/ 7759 h 10000"/>
              <a:gd name="connsiteX32" fmla="*/ 6478 w 10014"/>
              <a:gd name="connsiteY32" fmla="*/ 8005 h 10000"/>
              <a:gd name="connsiteX33" fmla="*/ 5981 w 10014"/>
              <a:gd name="connsiteY33" fmla="*/ 8319 h 10000"/>
              <a:gd name="connsiteX34" fmla="*/ 5551 w 10014"/>
              <a:gd name="connsiteY34" fmla="*/ 8575 h 10000"/>
              <a:gd name="connsiteX35" fmla="*/ 5195 w 10014"/>
              <a:gd name="connsiteY35" fmla="*/ 8761 h 10000"/>
              <a:gd name="connsiteX36" fmla="*/ 4800 w 10014"/>
              <a:gd name="connsiteY36" fmla="*/ 8948 h 10000"/>
              <a:gd name="connsiteX37" fmla="*/ 4384 w 10014"/>
              <a:gd name="connsiteY37" fmla="*/ 9125 h 10000"/>
              <a:gd name="connsiteX38" fmla="*/ 3960 w 10014"/>
              <a:gd name="connsiteY38" fmla="*/ 9282 h 10000"/>
              <a:gd name="connsiteX39" fmla="*/ 3378 w 10014"/>
              <a:gd name="connsiteY39" fmla="*/ 9466 h 10000"/>
              <a:gd name="connsiteX40" fmla="*/ 2671 w 10014"/>
              <a:gd name="connsiteY40" fmla="*/ 9645 h 10000"/>
              <a:gd name="connsiteX41" fmla="*/ 2297 w 10014"/>
              <a:gd name="connsiteY41" fmla="*/ 9724 h 10000"/>
              <a:gd name="connsiteX42" fmla="*/ 1538 w 10014"/>
              <a:gd name="connsiteY42" fmla="*/ 9852 h 10000"/>
              <a:gd name="connsiteX43" fmla="*/ 1030 w 10014"/>
              <a:gd name="connsiteY43" fmla="*/ 9920 h 10000"/>
              <a:gd name="connsiteX44" fmla="*/ 573 w 10014"/>
              <a:gd name="connsiteY44" fmla="*/ 9972 h 10000"/>
              <a:gd name="connsiteX45" fmla="*/ 197 w 10014"/>
              <a:gd name="connsiteY45" fmla="*/ 10000 h 10000"/>
              <a:gd name="connsiteX46" fmla="*/ 30 w 10014"/>
              <a:gd name="connsiteY46" fmla="*/ 9999 h 10000"/>
              <a:gd name="connsiteX47" fmla="*/ 22 w 10014"/>
              <a:gd name="connsiteY47" fmla="*/ 9201 h 10000"/>
              <a:gd name="connsiteX48" fmla="*/ 22 w 10014"/>
              <a:gd name="connsiteY48" fmla="*/ 8650 h 10000"/>
              <a:gd name="connsiteX49" fmla="*/ 22 w 10014"/>
              <a:gd name="connsiteY49" fmla="*/ 6881 h 10000"/>
              <a:gd name="connsiteX50" fmla="*/ 21 w 10014"/>
              <a:gd name="connsiteY50" fmla="*/ 4264 h 10000"/>
              <a:gd name="connsiteX51" fmla="*/ 14 w 10014"/>
              <a:gd name="connsiteY51" fmla="*/ 3 h 10000"/>
              <a:gd name="connsiteX52" fmla="*/ 248 w 10014"/>
              <a:gd name="connsiteY52"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9287 w 10014"/>
              <a:gd name="connsiteY15" fmla="*/ 4256 h 10000"/>
              <a:gd name="connsiteX16" fmla="*/ 9516 w 10014"/>
              <a:gd name="connsiteY16" fmla="*/ 4494 h 10000"/>
              <a:gd name="connsiteX17" fmla="*/ 9817 w 10014"/>
              <a:gd name="connsiteY17" fmla="*/ 4800 h 10000"/>
              <a:gd name="connsiteX18" fmla="*/ 10014 w 10014"/>
              <a:gd name="connsiteY18" fmla="*/ 4997 h 10000"/>
              <a:gd name="connsiteX19" fmla="*/ 9863 w 10014"/>
              <a:gd name="connsiteY19" fmla="*/ 5173 h 10000"/>
              <a:gd name="connsiteX20" fmla="*/ 9648 w 10014"/>
              <a:gd name="connsiteY20" fmla="*/ 5400 h 10000"/>
              <a:gd name="connsiteX21" fmla="*/ 9442 w 10014"/>
              <a:gd name="connsiteY21" fmla="*/ 5610 h 10000"/>
              <a:gd name="connsiteX22" fmla="*/ 9184 w 10014"/>
              <a:gd name="connsiteY22" fmla="*/ 5866 h 10000"/>
              <a:gd name="connsiteX23" fmla="*/ 8854 w 10014"/>
              <a:gd name="connsiteY23" fmla="*/ 6164 h 10000"/>
              <a:gd name="connsiteX24" fmla="*/ 8685 w 10014"/>
              <a:gd name="connsiteY24" fmla="*/ 6318 h 10000"/>
              <a:gd name="connsiteX25" fmla="*/ 8430 w 10014"/>
              <a:gd name="connsiteY25" fmla="*/ 6540 h 10000"/>
              <a:gd name="connsiteX26" fmla="*/ 8206 w 10014"/>
              <a:gd name="connsiteY26" fmla="*/ 6735 h 10000"/>
              <a:gd name="connsiteX27" fmla="*/ 7956 w 10014"/>
              <a:gd name="connsiteY27" fmla="*/ 6933 h 10000"/>
              <a:gd name="connsiteX28" fmla="*/ 7601 w 10014"/>
              <a:gd name="connsiteY28" fmla="*/ 7208 h 10000"/>
              <a:gd name="connsiteX29" fmla="*/ 7224 w 10014"/>
              <a:gd name="connsiteY29" fmla="*/ 7493 h 10000"/>
              <a:gd name="connsiteX30" fmla="*/ 6847 w 10014"/>
              <a:gd name="connsiteY30" fmla="*/ 7759 h 10000"/>
              <a:gd name="connsiteX31" fmla="*/ 6478 w 10014"/>
              <a:gd name="connsiteY31" fmla="*/ 8005 h 10000"/>
              <a:gd name="connsiteX32" fmla="*/ 5981 w 10014"/>
              <a:gd name="connsiteY32" fmla="*/ 8319 h 10000"/>
              <a:gd name="connsiteX33" fmla="*/ 5551 w 10014"/>
              <a:gd name="connsiteY33" fmla="*/ 8575 h 10000"/>
              <a:gd name="connsiteX34" fmla="*/ 5195 w 10014"/>
              <a:gd name="connsiteY34" fmla="*/ 8761 h 10000"/>
              <a:gd name="connsiteX35" fmla="*/ 4800 w 10014"/>
              <a:gd name="connsiteY35" fmla="*/ 8948 h 10000"/>
              <a:gd name="connsiteX36" fmla="*/ 4384 w 10014"/>
              <a:gd name="connsiteY36" fmla="*/ 9125 h 10000"/>
              <a:gd name="connsiteX37" fmla="*/ 3960 w 10014"/>
              <a:gd name="connsiteY37" fmla="*/ 9282 h 10000"/>
              <a:gd name="connsiteX38" fmla="*/ 3378 w 10014"/>
              <a:gd name="connsiteY38" fmla="*/ 9466 h 10000"/>
              <a:gd name="connsiteX39" fmla="*/ 2671 w 10014"/>
              <a:gd name="connsiteY39" fmla="*/ 9645 h 10000"/>
              <a:gd name="connsiteX40" fmla="*/ 2297 w 10014"/>
              <a:gd name="connsiteY40" fmla="*/ 9724 h 10000"/>
              <a:gd name="connsiteX41" fmla="*/ 1538 w 10014"/>
              <a:gd name="connsiteY41" fmla="*/ 9852 h 10000"/>
              <a:gd name="connsiteX42" fmla="*/ 1030 w 10014"/>
              <a:gd name="connsiteY42" fmla="*/ 9920 h 10000"/>
              <a:gd name="connsiteX43" fmla="*/ 573 w 10014"/>
              <a:gd name="connsiteY43" fmla="*/ 9972 h 10000"/>
              <a:gd name="connsiteX44" fmla="*/ 197 w 10014"/>
              <a:gd name="connsiteY44" fmla="*/ 10000 h 10000"/>
              <a:gd name="connsiteX45" fmla="*/ 30 w 10014"/>
              <a:gd name="connsiteY45" fmla="*/ 9999 h 10000"/>
              <a:gd name="connsiteX46" fmla="*/ 22 w 10014"/>
              <a:gd name="connsiteY46" fmla="*/ 9201 h 10000"/>
              <a:gd name="connsiteX47" fmla="*/ 22 w 10014"/>
              <a:gd name="connsiteY47" fmla="*/ 8650 h 10000"/>
              <a:gd name="connsiteX48" fmla="*/ 22 w 10014"/>
              <a:gd name="connsiteY48" fmla="*/ 6881 h 10000"/>
              <a:gd name="connsiteX49" fmla="*/ 21 w 10014"/>
              <a:gd name="connsiteY49" fmla="*/ 4264 h 10000"/>
              <a:gd name="connsiteX50" fmla="*/ 14 w 10014"/>
              <a:gd name="connsiteY50" fmla="*/ 3 h 10000"/>
              <a:gd name="connsiteX51" fmla="*/ 248 w 10014"/>
              <a:gd name="connsiteY5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9287 w 10014"/>
              <a:gd name="connsiteY13" fmla="*/ 4256 h 10000"/>
              <a:gd name="connsiteX14" fmla="*/ 9516 w 10014"/>
              <a:gd name="connsiteY14" fmla="*/ 4494 h 10000"/>
              <a:gd name="connsiteX15" fmla="*/ 9817 w 10014"/>
              <a:gd name="connsiteY15" fmla="*/ 4800 h 10000"/>
              <a:gd name="connsiteX16" fmla="*/ 10014 w 10014"/>
              <a:gd name="connsiteY16" fmla="*/ 4997 h 10000"/>
              <a:gd name="connsiteX17" fmla="*/ 9863 w 10014"/>
              <a:gd name="connsiteY17" fmla="*/ 5173 h 10000"/>
              <a:gd name="connsiteX18" fmla="*/ 9648 w 10014"/>
              <a:gd name="connsiteY18" fmla="*/ 5400 h 10000"/>
              <a:gd name="connsiteX19" fmla="*/ 9442 w 10014"/>
              <a:gd name="connsiteY19" fmla="*/ 5610 h 10000"/>
              <a:gd name="connsiteX20" fmla="*/ 9184 w 10014"/>
              <a:gd name="connsiteY20" fmla="*/ 5866 h 10000"/>
              <a:gd name="connsiteX21" fmla="*/ 8854 w 10014"/>
              <a:gd name="connsiteY21" fmla="*/ 6164 h 10000"/>
              <a:gd name="connsiteX22" fmla="*/ 8685 w 10014"/>
              <a:gd name="connsiteY22" fmla="*/ 6318 h 10000"/>
              <a:gd name="connsiteX23" fmla="*/ 8430 w 10014"/>
              <a:gd name="connsiteY23" fmla="*/ 6540 h 10000"/>
              <a:gd name="connsiteX24" fmla="*/ 8206 w 10014"/>
              <a:gd name="connsiteY24" fmla="*/ 6735 h 10000"/>
              <a:gd name="connsiteX25" fmla="*/ 7956 w 10014"/>
              <a:gd name="connsiteY25" fmla="*/ 6933 h 10000"/>
              <a:gd name="connsiteX26" fmla="*/ 7601 w 10014"/>
              <a:gd name="connsiteY26" fmla="*/ 7208 h 10000"/>
              <a:gd name="connsiteX27" fmla="*/ 7224 w 10014"/>
              <a:gd name="connsiteY27" fmla="*/ 7493 h 10000"/>
              <a:gd name="connsiteX28" fmla="*/ 6847 w 10014"/>
              <a:gd name="connsiteY28" fmla="*/ 7759 h 10000"/>
              <a:gd name="connsiteX29" fmla="*/ 6478 w 10014"/>
              <a:gd name="connsiteY29" fmla="*/ 8005 h 10000"/>
              <a:gd name="connsiteX30" fmla="*/ 5981 w 10014"/>
              <a:gd name="connsiteY30" fmla="*/ 8319 h 10000"/>
              <a:gd name="connsiteX31" fmla="*/ 5551 w 10014"/>
              <a:gd name="connsiteY31" fmla="*/ 8575 h 10000"/>
              <a:gd name="connsiteX32" fmla="*/ 5195 w 10014"/>
              <a:gd name="connsiteY32" fmla="*/ 8761 h 10000"/>
              <a:gd name="connsiteX33" fmla="*/ 4800 w 10014"/>
              <a:gd name="connsiteY33" fmla="*/ 8948 h 10000"/>
              <a:gd name="connsiteX34" fmla="*/ 4384 w 10014"/>
              <a:gd name="connsiteY34" fmla="*/ 9125 h 10000"/>
              <a:gd name="connsiteX35" fmla="*/ 3960 w 10014"/>
              <a:gd name="connsiteY35" fmla="*/ 9282 h 10000"/>
              <a:gd name="connsiteX36" fmla="*/ 3378 w 10014"/>
              <a:gd name="connsiteY36" fmla="*/ 9466 h 10000"/>
              <a:gd name="connsiteX37" fmla="*/ 2671 w 10014"/>
              <a:gd name="connsiteY37" fmla="*/ 9645 h 10000"/>
              <a:gd name="connsiteX38" fmla="*/ 2297 w 10014"/>
              <a:gd name="connsiteY38" fmla="*/ 9724 h 10000"/>
              <a:gd name="connsiteX39" fmla="*/ 1538 w 10014"/>
              <a:gd name="connsiteY39" fmla="*/ 9852 h 10000"/>
              <a:gd name="connsiteX40" fmla="*/ 1030 w 10014"/>
              <a:gd name="connsiteY40" fmla="*/ 9920 h 10000"/>
              <a:gd name="connsiteX41" fmla="*/ 573 w 10014"/>
              <a:gd name="connsiteY41" fmla="*/ 9972 h 10000"/>
              <a:gd name="connsiteX42" fmla="*/ 197 w 10014"/>
              <a:gd name="connsiteY42" fmla="*/ 10000 h 10000"/>
              <a:gd name="connsiteX43" fmla="*/ 30 w 10014"/>
              <a:gd name="connsiteY43" fmla="*/ 9999 h 10000"/>
              <a:gd name="connsiteX44" fmla="*/ 22 w 10014"/>
              <a:gd name="connsiteY44" fmla="*/ 9201 h 10000"/>
              <a:gd name="connsiteX45" fmla="*/ 22 w 10014"/>
              <a:gd name="connsiteY45" fmla="*/ 8650 h 10000"/>
              <a:gd name="connsiteX46" fmla="*/ 22 w 10014"/>
              <a:gd name="connsiteY46" fmla="*/ 6881 h 10000"/>
              <a:gd name="connsiteX47" fmla="*/ 21 w 10014"/>
              <a:gd name="connsiteY47" fmla="*/ 4264 h 10000"/>
              <a:gd name="connsiteX48" fmla="*/ 14 w 10014"/>
              <a:gd name="connsiteY48" fmla="*/ 3 h 10000"/>
              <a:gd name="connsiteX49" fmla="*/ 248 w 10014"/>
              <a:gd name="connsiteY49"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9287 w 10014"/>
              <a:gd name="connsiteY12" fmla="*/ 4256 h 10000"/>
              <a:gd name="connsiteX13" fmla="*/ 9516 w 10014"/>
              <a:gd name="connsiteY13" fmla="*/ 4494 h 10000"/>
              <a:gd name="connsiteX14" fmla="*/ 9817 w 10014"/>
              <a:gd name="connsiteY14" fmla="*/ 4800 h 10000"/>
              <a:gd name="connsiteX15" fmla="*/ 10014 w 10014"/>
              <a:gd name="connsiteY15" fmla="*/ 4997 h 10000"/>
              <a:gd name="connsiteX16" fmla="*/ 9863 w 10014"/>
              <a:gd name="connsiteY16" fmla="*/ 5173 h 10000"/>
              <a:gd name="connsiteX17" fmla="*/ 9648 w 10014"/>
              <a:gd name="connsiteY17" fmla="*/ 5400 h 10000"/>
              <a:gd name="connsiteX18" fmla="*/ 9442 w 10014"/>
              <a:gd name="connsiteY18" fmla="*/ 5610 h 10000"/>
              <a:gd name="connsiteX19" fmla="*/ 9184 w 10014"/>
              <a:gd name="connsiteY19" fmla="*/ 5866 h 10000"/>
              <a:gd name="connsiteX20" fmla="*/ 8854 w 10014"/>
              <a:gd name="connsiteY20" fmla="*/ 6164 h 10000"/>
              <a:gd name="connsiteX21" fmla="*/ 8685 w 10014"/>
              <a:gd name="connsiteY21" fmla="*/ 6318 h 10000"/>
              <a:gd name="connsiteX22" fmla="*/ 8430 w 10014"/>
              <a:gd name="connsiteY22" fmla="*/ 6540 h 10000"/>
              <a:gd name="connsiteX23" fmla="*/ 8206 w 10014"/>
              <a:gd name="connsiteY23" fmla="*/ 6735 h 10000"/>
              <a:gd name="connsiteX24" fmla="*/ 7956 w 10014"/>
              <a:gd name="connsiteY24" fmla="*/ 6933 h 10000"/>
              <a:gd name="connsiteX25" fmla="*/ 7601 w 10014"/>
              <a:gd name="connsiteY25" fmla="*/ 7208 h 10000"/>
              <a:gd name="connsiteX26" fmla="*/ 7224 w 10014"/>
              <a:gd name="connsiteY26" fmla="*/ 7493 h 10000"/>
              <a:gd name="connsiteX27" fmla="*/ 6847 w 10014"/>
              <a:gd name="connsiteY27" fmla="*/ 7759 h 10000"/>
              <a:gd name="connsiteX28" fmla="*/ 6478 w 10014"/>
              <a:gd name="connsiteY28" fmla="*/ 8005 h 10000"/>
              <a:gd name="connsiteX29" fmla="*/ 5981 w 10014"/>
              <a:gd name="connsiteY29" fmla="*/ 8319 h 10000"/>
              <a:gd name="connsiteX30" fmla="*/ 5551 w 10014"/>
              <a:gd name="connsiteY30" fmla="*/ 8575 h 10000"/>
              <a:gd name="connsiteX31" fmla="*/ 5195 w 10014"/>
              <a:gd name="connsiteY31" fmla="*/ 8761 h 10000"/>
              <a:gd name="connsiteX32" fmla="*/ 4800 w 10014"/>
              <a:gd name="connsiteY32" fmla="*/ 8948 h 10000"/>
              <a:gd name="connsiteX33" fmla="*/ 4384 w 10014"/>
              <a:gd name="connsiteY33" fmla="*/ 9125 h 10000"/>
              <a:gd name="connsiteX34" fmla="*/ 3960 w 10014"/>
              <a:gd name="connsiteY34" fmla="*/ 9282 h 10000"/>
              <a:gd name="connsiteX35" fmla="*/ 3378 w 10014"/>
              <a:gd name="connsiteY35" fmla="*/ 9466 h 10000"/>
              <a:gd name="connsiteX36" fmla="*/ 2671 w 10014"/>
              <a:gd name="connsiteY36" fmla="*/ 9645 h 10000"/>
              <a:gd name="connsiteX37" fmla="*/ 2297 w 10014"/>
              <a:gd name="connsiteY37" fmla="*/ 9724 h 10000"/>
              <a:gd name="connsiteX38" fmla="*/ 1538 w 10014"/>
              <a:gd name="connsiteY38" fmla="*/ 9852 h 10000"/>
              <a:gd name="connsiteX39" fmla="*/ 1030 w 10014"/>
              <a:gd name="connsiteY39" fmla="*/ 9920 h 10000"/>
              <a:gd name="connsiteX40" fmla="*/ 573 w 10014"/>
              <a:gd name="connsiteY40" fmla="*/ 9972 h 10000"/>
              <a:gd name="connsiteX41" fmla="*/ 197 w 10014"/>
              <a:gd name="connsiteY41" fmla="*/ 10000 h 10000"/>
              <a:gd name="connsiteX42" fmla="*/ 30 w 10014"/>
              <a:gd name="connsiteY42" fmla="*/ 9999 h 10000"/>
              <a:gd name="connsiteX43" fmla="*/ 22 w 10014"/>
              <a:gd name="connsiteY43" fmla="*/ 9201 h 10000"/>
              <a:gd name="connsiteX44" fmla="*/ 22 w 10014"/>
              <a:gd name="connsiteY44" fmla="*/ 8650 h 10000"/>
              <a:gd name="connsiteX45" fmla="*/ 22 w 10014"/>
              <a:gd name="connsiteY45" fmla="*/ 6881 h 10000"/>
              <a:gd name="connsiteX46" fmla="*/ 21 w 10014"/>
              <a:gd name="connsiteY46" fmla="*/ 4264 h 10000"/>
              <a:gd name="connsiteX47" fmla="*/ 14 w 10014"/>
              <a:gd name="connsiteY47" fmla="*/ 3 h 10000"/>
              <a:gd name="connsiteX48" fmla="*/ 248 w 10014"/>
              <a:gd name="connsiteY48"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9287 w 10014"/>
              <a:gd name="connsiteY11" fmla="*/ 4256 h 10000"/>
              <a:gd name="connsiteX12" fmla="*/ 9516 w 10014"/>
              <a:gd name="connsiteY12" fmla="*/ 4494 h 10000"/>
              <a:gd name="connsiteX13" fmla="*/ 9817 w 10014"/>
              <a:gd name="connsiteY13" fmla="*/ 4800 h 10000"/>
              <a:gd name="connsiteX14" fmla="*/ 10014 w 10014"/>
              <a:gd name="connsiteY14" fmla="*/ 4997 h 10000"/>
              <a:gd name="connsiteX15" fmla="*/ 9863 w 10014"/>
              <a:gd name="connsiteY15" fmla="*/ 5173 h 10000"/>
              <a:gd name="connsiteX16" fmla="*/ 9648 w 10014"/>
              <a:gd name="connsiteY16" fmla="*/ 5400 h 10000"/>
              <a:gd name="connsiteX17" fmla="*/ 9442 w 10014"/>
              <a:gd name="connsiteY17" fmla="*/ 5610 h 10000"/>
              <a:gd name="connsiteX18" fmla="*/ 9184 w 10014"/>
              <a:gd name="connsiteY18" fmla="*/ 5866 h 10000"/>
              <a:gd name="connsiteX19" fmla="*/ 8854 w 10014"/>
              <a:gd name="connsiteY19" fmla="*/ 6164 h 10000"/>
              <a:gd name="connsiteX20" fmla="*/ 8685 w 10014"/>
              <a:gd name="connsiteY20" fmla="*/ 6318 h 10000"/>
              <a:gd name="connsiteX21" fmla="*/ 8430 w 10014"/>
              <a:gd name="connsiteY21" fmla="*/ 6540 h 10000"/>
              <a:gd name="connsiteX22" fmla="*/ 8206 w 10014"/>
              <a:gd name="connsiteY22" fmla="*/ 6735 h 10000"/>
              <a:gd name="connsiteX23" fmla="*/ 7956 w 10014"/>
              <a:gd name="connsiteY23" fmla="*/ 6933 h 10000"/>
              <a:gd name="connsiteX24" fmla="*/ 7601 w 10014"/>
              <a:gd name="connsiteY24" fmla="*/ 7208 h 10000"/>
              <a:gd name="connsiteX25" fmla="*/ 7224 w 10014"/>
              <a:gd name="connsiteY25" fmla="*/ 7493 h 10000"/>
              <a:gd name="connsiteX26" fmla="*/ 6847 w 10014"/>
              <a:gd name="connsiteY26" fmla="*/ 7759 h 10000"/>
              <a:gd name="connsiteX27" fmla="*/ 6478 w 10014"/>
              <a:gd name="connsiteY27" fmla="*/ 8005 h 10000"/>
              <a:gd name="connsiteX28" fmla="*/ 5981 w 10014"/>
              <a:gd name="connsiteY28" fmla="*/ 8319 h 10000"/>
              <a:gd name="connsiteX29" fmla="*/ 5551 w 10014"/>
              <a:gd name="connsiteY29" fmla="*/ 8575 h 10000"/>
              <a:gd name="connsiteX30" fmla="*/ 5195 w 10014"/>
              <a:gd name="connsiteY30" fmla="*/ 8761 h 10000"/>
              <a:gd name="connsiteX31" fmla="*/ 4800 w 10014"/>
              <a:gd name="connsiteY31" fmla="*/ 8948 h 10000"/>
              <a:gd name="connsiteX32" fmla="*/ 4384 w 10014"/>
              <a:gd name="connsiteY32" fmla="*/ 9125 h 10000"/>
              <a:gd name="connsiteX33" fmla="*/ 3960 w 10014"/>
              <a:gd name="connsiteY33" fmla="*/ 9282 h 10000"/>
              <a:gd name="connsiteX34" fmla="*/ 3378 w 10014"/>
              <a:gd name="connsiteY34" fmla="*/ 9466 h 10000"/>
              <a:gd name="connsiteX35" fmla="*/ 2671 w 10014"/>
              <a:gd name="connsiteY35" fmla="*/ 9645 h 10000"/>
              <a:gd name="connsiteX36" fmla="*/ 2297 w 10014"/>
              <a:gd name="connsiteY36" fmla="*/ 9724 h 10000"/>
              <a:gd name="connsiteX37" fmla="*/ 1538 w 10014"/>
              <a:gd name="connsiteY37" fmla="*/ 9852 h 10000"/>
              <a:gd name="connsiteX38" fmla="*/ 1030 w 10014"/>
              <a:gd name="connsiteY38" fmla="*/ 9920 h 10000"/>
              <a:gd name="connsiteX39" fmla="*/ 573 w 10014"/>
              <a:gd name="connsiteY39" fmla="*/ 9972 h 10000"/>
              <a:gd name="connsiteX40" fmla="*/ 197 w 10014"/>
              <a:gd name="connsiteY40" fmla="*/ 10000 h 10000"/>
              <a:gd name="connsiteX41" fmla="*/ 30 w 10014"/>
              <a:gd name="connsiteY41" fmla="*/ 9999 h 10000"/>
              <a:gd name="connsiteX42" fmla="*/ 22 w 10014"/>
              <a:gd name="connsiteY42" fmla="*/ 9201 h 10000"/>
              <a:gd name="connsiteX43" fmla="*/ 22 w 10014"/>
              <a:gd name="connsiteY43" fmla="*/ 8650 h 10000"/>
              <a:gd name="connsiteX44" fmla="*/ 22 w 10014"/>
              <a:gd name="connsiteY44" fmla="*/ 6881 h 10000"/>
              <a:gd name="connsiteX45" fmla="*/ 21 w 10014"/>
              <a:gd name="connsiteY45" fmla="*/ 4264 h 10000"/>
              <a:gd name="connsiteX46" fmla="*/ 14 w 10014"/>
              <a:gd name="connsiteY46" fmla="*/ 3 h 10000"/>
              <a:gd name="connsiteX47" fmla="*/ 248 w 10014"/>
              <a:gd name="connsiteY47"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9287 w 10014"/>
              <a:gd name="connsiteY10" fmla="*/ 4256 h 10000"/>
              <a:gd name="connsiteX11" fmla="*/ 9516 w 10014"/>
              <a:gd name="connsiteY11" fmla="*/ 4494 h 10000"/>
              <a:gd name="connsiteX12" fmla="*/ 9817 w 10014"/>
              <a:gd name="connsiteY12" fmla="*/ 4800 h 10000"/>
              <a:gd name="connsiteX13" fmla="*/ 10014 w 10014"/>
              <a:gd name="connsiteY13" fmla="*/ 4997 h 10000"/>
              <a:gd name="connsiteX14" fmla="*/ 9863 w 10014"/>
              <a:gd name="connsiteY14" fmla="*/ 5173 h 10000"/>
              <a:gd name="connsiteX15" fmla="*/ 9648 w 10014"/>
              <a:gd name="connsiteY15" fmla="*/ 5400 h 10000"/>
              <a:gd name="connsiteX16" fmla="*/ 9442 w 10014"/>
              <a:gd name="connsiteY16" fmla="*/ 5610 h 10000"/>
              <a:gd name="connsiteX17" fmla="*/ 9184 w 10014"/>
              <a:gd name="connsiteY17" fmla="*/ 5866 h 10000"/>
              <a:gd name="connsiteX18" fmla="*/ 8854 w 10014"/>
              <a:gd name="connsiteY18" fmla="*/ 6164 h 10000"/>
              <a:gd name="connsiteX19" fmla="*/ 8685 w 10014"/>
              <a:gd name="connsiteY19" fmla="*/ 6318 h 10000"/>
              <a:gd name="connsiteX20" fmla="*/ 8430 w 10014"/>
              <a:gd name="connsiteY20" fmla="*/ 6540 h 10000"/>
              <a:gd name="connsiteX21" fmla="*/ 8206 w 10014"/>
              <a:gd name="connsiteY21" fmla="*/ 6735 h 10000"/>
              <a:gd name="connsiteX22" fmla="*/ 7956 w 10014"/>
              <a:gd name="connsiteY22" fmla="*/ 6933 h 10000"/>
              <a:gd name="connsiteX23" fmla="*/ 7601 w 10014"/>
              <a:gd name="connsiteY23" fmla="*/ 7208 h 10000"/>
              <a:gd name="connsiteX24" fmla="*/ 7224 w 10014"/>
              <a:gd name="connsiteY24" fmla="*/ 7493 h 10000"/>
              <a:gd name="connsiteX25" fmla="*/ 6847 w 10014"/>
              <a:gd name="connsiteY25" fmla="*/ 7759 h 10000"/>
              <a:gd name="connsiteX26" fmla="*/ 6478 w 10014"/>
              <a:gd name="connsiteY26" fmla="*/ 8005 h 10000"/>
              <a:gd name="connsiteX27" fmla="*/ 5981 w 10014"/>
              <a:gd name="connsiteY27" fmla="*/ 8319 h 10000"/>
              <a:gd name="connsiteX28" fmla="*/ 5551 w 10014"/>
              <a:gd name="connsiteY28" fmla="*/ 8575 h 10000"/>
              <a:gd name="connsiteX29" fmla="*/ 5195 w 10014"/>
              <a:gd name="connsiteY29" fmla="*/ 8761 h 10000"/>
              <a:gd name="connsiteX30" fmla="*/ 4800 w 10014"/>
              <a:gd name="connsiteY30" fmla="*/ 8948 h 10000"/>
              <a:gd name="connsiteX31" fmla="*/ 4384 w 10014"/>
              <a:gd name="connsiteY31" fmla="*/ 9125 h 10000"/>
              <a:gd name="connsiteX32" fmla="*/ 3960 w 10014"/>
              <a:gd name="connsiteY32" fmla="*/ 9282 h 10000"/>
              <a:gd name="connsiteX33" fmla="*/ 3378 w 10014"/>
              <a:gd name="connsiteY33" fmla="*/ 9466 h 10000"/>
              <a:gd name="connsiteX34" fmla="*/ 2671 w 10014"/>
              <a:gd name="connsiteY34" fmla="*/ 9645 h 10000"/>
              <a:gd name="connsiteX35" fmla="*/ 2297 w 10014"/>
              <a:gd name="connsiteY35" fmla="*/ 9724 h 10000"/>
              <a:gd name="connsiteX36" fmla="*/ 1538 w 10014"/>
              <a:gd name="connsiteY36" fmla="*/ 9852 h 10000"/>
              <a:gd name="connsiteX37" fmla="*/ 1030 w 10014"/>
              <a:gd name="connsiteY37" fmla="*/ 9920 h 10000"/>
              <a:gd name="connsiteX38" fmla="*/ 573 w 10014"/>
              <a:gd name="connsiteY38" fmla="*/ 9972 h 10000"/>
              <a:gd name="connsiteX39" fmla="*/ 197 w 10014"/>
              <a:gd name="connsiteY39" fmla="*/ 10000 h 10000"/>
              <a:gd name="connsiteX40" fmla="*/ 30 w 10014"/>
              <a:gd name="connsiteY40" fmla="*/ 9999 h 10000"/>
              <a:gd name="connsiteX41" fmla="*/ 22 w 10014"/>
              <a:gd name="connsiteY41" fmla="*/ 9201 h 10000"/>
              <a:gd name="connsiteX42" fmla="*/ 22 w 10014"/>
              <a:gd name="connsiteY42" fmla="*/ 8650 h 10000"/>
              <a:gd name="connsiteX43" fmla="*/ 22 w 10014"/>
              <a:gd name="connsiteY43" fmla="*/ 6881 h 10000"/>
              <a:gd name="connsiteX44" fmla="*/ 21 w 10014"/>
              <a:gd name="connsiteY44" fmla="*/ 4264 h 10000"/>
              <a:gd name="connsiteX45" fmla="*/ 14 w 10014"/>
              <a:gd name="connsiteY45" fmla="*/ 3 h 10000"/>
              <a:gd name="connsiteX46" fmla="*/ 248 w 10014"/>
              <a:gd name="connsiteY4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9287 w 10014"/>
              <a:gd name="connsiteY9" fmla="*/ 4256 h 10000"/>
              <a:gd name="connsiteX10" fmla="*/ 9516 w 10014"/>
              <a:gd name="connsiteY10" fmla="*/ 4494 h 10000"/>
              <a:gd name="connsiteX11" fmla="*/ 9817 w 10014"/>
              <a:gd name="connsiteY11" fmla="*/ 4800 h 10000"/>
              <a:gd name="connsiteX12" fmla="*/ 10014 w 10014"/>
              <a:gd name="connsiteY12" fmla="*/ 4997 h 10000"/>
              <a:gd name="connsiteX13" fmla="*/ 9863 w 10014"/>
              <a:gd name="connsiteY13" fmla="*/ 5173 h 10000"/>
              <a:gd name="connsiteX14" fmla="*/ 9648 w 10014"/>
              <a:gd name="connsiteY14" fmla="*/ 5400 h 10000"/>
              <a:gd name="connsiteX15" fmla="*/ 9442 w 10014"/>
              <a:gd name="connsiteY15" fmla="*/ 5610 h 10000"/>
              <a:gd name="connsiteX16" fmla="*/ 9184 w 10014"/>
              <a:gd name="connsiteY16" fmla="*/ 5866 h 10000"/>
              <a:gd name="connsiteX17" fmla="*/ 8854 w 10014"/>
              <a:gd name="connsiteY17" fmla="*/ 6164 h 10000"/>
              <a:gd name="connsiteX18" fmla="*/ 8685 w 10014"/>
              <a:gd name="connsiteY18" fmla="*/ 6318 h 10000"/>
              <a:gd name="connsiteX19" fmla="*/ 8430 w 10014"/>
              <a:gd name="connsiteY19" fmla="*/ 6540 h 10000"/>
              <a:gd name="connsiteX20" fmla="*/ 8206 w 10014"/>
              <a:gd name="connsiteY20" fmla="*/ 6735 h 10000"/>
              <a:gd name="connsiteX21" fmla="*/ 7956 w 10014"/>
              <a:gd name="connsiteY21" fmla="*/ 6933 h 10000"/>
              <a:gd name="connsiteX22" fmla="*/ 7601 w 10014"/>
              <a:gd name="connsiteY22" fmla="*/ 7208 h 10000"/>
              <a:gd name="connsiteX23" fmla="*/ 7224 w 10014"/>
              <a:gd name="connsiteY23" fmla="*/ 7493 h 10000"/>
              <a:gd name="connsiteX24" fmla="*/ 6847 w 10014"/>
              <a:gd name="connsiteY24" fmla="*/ 7759 h 10000"/>
              <a:gd name="connsiteX25" fmla="*/ 6478 w 10014"/>
              <a:gd name="connsiteY25" fmla="*/ 8005 h 10000"/>
              <a:gd name="connsiteX26" fmla="*/ 5981 w 10014"/>
              <a:gd name="connsiteY26" fmla="*/ 8319 h 10000"/>
              <a:gd name="connsiteX27" fmla="*/ 5551 w 10014"/>
              <a:gd name="connsiteY27" fmla="*/ 8575 h 10000"/>
              <a:gd name="connsiteX28" fmla="*/ 5195 w 10014"/>
              <a:gd name="connsiteY28" fmla="*/ 8761 h 10000"/>
              <a:gd name="connsiteX29" fmla="*/ 4800 w 10014"/>
              <a:gd name="connsiteY29" fmla="*/ 8948 h 10000"/>
              <a:gd name="connsiteX30" fmla="*/ 4384 w 10014"/>
              <a:gd name="connsiteY30" fmla="*/ 9125 h 10000"/>
              <a:gd name="connsiteX31" fmla="*/ 3960 w 10014"/>
              <a:gd name="connsiteY31" fmla="*/ 9282 h 10000"/>
              <a:gd name="connsiteX32" fmla="*/ 3378 w 10014"/>
              <a:gd name="connsiteY32" fmla="*/ 9466 h 10000"/>
              <a:gd name="connsiteX33" fmla="*/ 2671 w 10014"/>
              <a:gd name="connsiteY33" fmla="*/ 9645 h 10000"/>
              <a:gd name="connsiteX34" fmla="*/ 2297 w 10014"/>
              <a:gd name="connsiteY34" fmla="*/ 9724 h 10000"/>
              <a:gd name="connsiteX35" fmla="*/ 1538 w 10014"/>
              <a:gd name="connsiteY35" fmla="*/ 9852 h 10000"/>
              <a:gd name="connsiteX36" fmla="*/ 1030 w 10014"/>
              <a:gd name="connsiteY36" fmla="*/ 9920 h 10000"/>
              <a:gd name="connsiteX37" fmla="*/ 573 w 10014"/>
              <a:gd name="connsiteY37" fmla="*/ 9972 h 10000"/>
              <a:gd name="connsiteX38" fmla="*/ 197 w 10014"/>
              <a:gd name="connsiteY38" fmla="*/ 10000 h 10000"/>
              <a:gd name="connsiteX39" fmla="*/ 30 w 10014"/>
              <a:gd name="connsiteY39" fmla="*/ 9999 h 10000"/>
              <a:gd name="connsiteX40" fmla="*/ 22 w 10014"/>
              <a:gd name="connsiteY40" fmla="*/ 9201 h 10000"/>
              <a:gd name="connsiteX41" fmla="*/ 22 w 10014"/>
              <a:gd name="connsiteY41" fmla="*/ 8650 h 10000"/>
              <a:gd name="connsiteX42" fmla="*/ 22 w 10014"/>
              <a:gd name="connsiteY42" fmla="*/ 6881 h 10000"/>
              <a:gd name="connsiteX43" fmla="*/ 21 w 10014"/>
              <a:gd name="connsiteY43" fmla="*/ 4264 h 10000"/>
              <a:gd name="connsiteX44" fmla="*/ 14 w 10014"/>
              <a:gd name="connsiteY44" fmla="*/ 3 h 10000"/>
              <a:gd name="connsiteX45" fmla="*/ 248 w 10014"/>
              <a:gd name="connsiteY4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9287 w 10014"/>
              <a:gd name="connsiteY8" fmla="*/ 4256 h 10000"/>
              <a:gd name="connsiteX9" fmla="*/ 9516 w 10014"/>
              <a:gd name="connsiteY9" fmla="*/ 4494 h 10000"/>
              <a:gd name="connsiteX10" fmla="*/ 9817 w 10014"/>
              <a:gd name="connsiteY10" fmla="*/ 4800 h 10000"/>
              <a:gd name="connsiteX11" fmla="*/ 10014 w 10014"/>
              <a:gd name="connsiteY11" fmla="*/ 4997 h 10000"/>
              <a:gd name="connsiteX12" fmla="*/ 9863 w 10014"/>
              <a:gd name="connsiteY12" fmla="*/ 5173 h 10000"/>
              <a:gd name="connsiteX13" fmla="*/ 9648 w 10014"/>
              <a:gd name="connsiteY13" fmla="*/ 5400 h 10000"/>
              <a:gd name="connsiteX14" fmla="*/ 9442 w 10014"/>
              <a:gd name="connsiteY14" fmla="*/ 5610 h 10000"/>
              <a:gd name="connsiteX15" fmla="*/ 9184 w 10014"/>
              <a:gd name="connsiteY15" fmla="*/ 5866 h 10000"/>
              <a:gd name="connsiteX16" fmla="*/ 8854 w 10014"/>
              <a:gd name="connsiteY16" fmla="*/ 6164 h 10000"/>
              <a:gd name="connsiteX17" fmla="*/ 8685 w 10014"/>
              <a:gd name="connsiteY17" fmla="*/ 6318 h 10000"/>
              <a:gd name="connsiteX18" fmla="*/ 8430 w 10014"/>
              <a:gd name="connsiteY18" fmla="*/ 6540 h 10000"/>
              <a:gd name="connsiteX19" fmla="*/ 8206 w 10014"/>
              <a:gd name="connsiteY19" fmla="*/ 6735 h 10000"/>
              <a:gd name="connsiteX20" fmla="*/ 7956 w 10014"/>
              <a:gd name="connsiteY20" fmla="*/ 6933 h 10000"/>
              <a:gd name="connsiteX21" fmla="*/ 7601 w 10014"/>
              <a:gd name="connsiteY21" fmla="*/ 7208 h 10000"/>
              <a:gd name="connsiteX22" fmla="*/ 7224 w 10014"/>
              <a:gd name="connsiteY22" fmla="*/ 7493 h 10000"/>
              <a:gd name="connsiteX23" fmla="*/ 6847 w 10014"/>
              <a:gd name="connsiteY23" fmla="*/ 7759 h 10000"/>
              <a:gd name="connsiteX24" fmla="*/ 6478 w 10014"/>
              <a:gd name="connsiteY24" fmla="*/ 8005 h 10000"/>
              <a:gd name="connsiteX25" fmla="*/ 5981 w 10014"/>
              <a:gd name="connsiteY25" fmla="*/ 8319 h 10000"/>
              <a:gd name="connsiteX26" fmla="*/ 5551 w 10014"/>
              <a:gd name="connsiteY26" fmla="*/ 8575 h 10000"/>
              <a:gd name="connsiteX27" fmla="*/ 5195 w 10014"/>
              <a:gd name="connsiteY27" fmla="*/ 8761 h 10000"/>
              <a:gd name="connsiteX28" fmla="*/ 4800 w 10014"/>
              <a:gd name="connsiteY28" fmla="*/ 8948 h 10000"/>
              <a:gd name="connsiteX29" fmla="*/ 4384 w 10014"/>
              <a:gd name="connsiteY29" fmla="*/ 9125 h 10000"/>
              <a:gd name="connsiteX30" fmla="*/ 3960 w 10014"/>
              <a:gd name="connsiteY30" fmla="*/ 9282 h 10000"/>
              <a:gd name="connsiteX31" fmla="*/ 3378 w 10014"/>
              <a:gd name="connsiteY31" fmla="*/ 9466 h 10000"/>
              <a:gd name="connsiteX32" fmla="*/ 2671 w 10014"/>
              <a:gd name="connsiteY32" fmla="*/ 9645 h 10000"/>
              <a:gd name="connsiteX33" fmla="*/ 2297 w 10014"/>
              <a:gd name="connsiteY33" fmla="*/ 9724 h 10000"/>
              <a:gd name="connsiteX34" fmla="*/ 1538 w 10014"/>
              <a:gd name="connsiteY34" fmla="*/ 9852 h 10000"/>
              <a:gd name="connsiteX35" fmla="*/ 1030 w 10014"/>
              <a:gd name="connsiteY35" fmla="*/ 9920 h 10000"/>
              <a:gd name="connsiteX36" fmla="*/ 573 w 10014"/>
              <a:gd name="connsiteY36" fmla="*/ 9972 h 10000"/>
              <a:gd name="connsiteX37" fmla="*/ 197 w 10014"/>
              <a:gd name="connsiteY37" fmla="*/ 10000 h 10000"/>
              <a:gd name="connsiteX38" fmla="*/ 30 w 10014"/>
              <a:gd name="connsiteY38" fmla="*/ 9999 h 10000"/>
              <a:gd name="connsiteX39" fmla="*/ 22 w 10014"/>
              <a:gd name="connsiteY39" fmla="*/ 9201 h 10000"/>
              <a:gd name="connsiteX40" fmla="*/ 22 w 10014"/>
              <a:gd name="connsiteY40" fmla="*/ 8650 h 10000"/>
              <a:gd name="connsiteX41" fmla="*/ 22 w 10014"/>
              <a:gd name="connsiteY41" fmla="*/ 6881 h 10000"/>
              <a:gd name="connsiteX42" fmla="*/ 21 w 10014"/>
              <a:gd name="connsiteY42" fmla="*/ 4264 h 10000"/>
              <a:gd name="connsiteX43" fmla="*/ 14 w 10014"/>
              <a:gd name="connsiteY43" fmla="*/ 3 h 10000"/>
              <a:gd name="connsiteX44" fmla="*/ 248 w 10014"/>
              <a:gd name="connsiteY44" fmla="*/ 0 h 10000"/>
              <a:gd name="connsiteX0" fmla="*/ 248 w 10014"/>
              <a:gd name="connsiteY0" fmla="*/ 23 h 10023"/>
              <a:gd name="connsiteX1" fmla="*/ 619 w 10014"/>
              <a:gd name="connsiteY1" fmla="*/ 50 h 10023"/>
              <a:gd name="connsiteX2" fmla="*/ 943 w 10014"/>
              <a:gd name="connsiteY2" fmla="*/ 75 h 10023"/>
              <a:gd name="connsiteX3" fmla="*/ 1386 w 10014"/>
              <a:gd name="connsiteY3" fmla="*/ 124 h 10023"/>
              <a:gd name="connsiteX4" fmla="*/ 1849 w 10014"/>
              <a:gd name="connsiteY4" fmla="*/ 193 h 10023"/>
              <a:gd name="connsiteX5" fmla="*/ 2145 w 10014"/>
              <a:gd name="connsiteY5" fmla="*/ 246 h 10023"/>
              <a:gd name="connsiteX6" fmla="*/ 2463 w 10014"/>
              <a:gd name="connsiteY6" fmla="*/ 311 h 10023"/>
              <a:gd name="connsiteX7" fmla="*/ 9287 w 10014"/>
              <a:gd name="connsiteY7" fmla="*/ 4279 h 10023"/>
              <a:gd name="connsiteX8" fmla="*/ 9516 w 10014"/>
              <a:gd name="connsiteY8" fmla="*/ 4517 h 10023"/>
              <a:gd name="connsiteX9" fmla="*/ 9817 w 10014"/>
              <a:gd name="connsiteY9" fmla="*/ 4823 h 10023"/>
              <a:gd name="connsiteX10" fmla="*/ 10014 w 10014"/>
              <a:gd name="connsiteY10" fmla="*/ 5020 h 10023"/>
              <a:gd name="connsiteX11" fmla="*/ 9863 w 10014"/>
              <a:gd name="connsiteY11" fmla="*/ 5196 h 10023"/>
              <a:gd name="connsiteX12" fmla="*/ 9648 w 10014"/>
              <a:gd name="connsiteY12" fmla="*/ 5423 h 10023"/>
              <a:gd name="connsiteX13" fmla="*/ 9442 w 10014"/>
              <a:gd name="connsiteY13" fmla="*/ 5633 h 10023"/>
              <a:gd name="connsiteX14" fmla="*/ 9184 w 10014"/>
              <a:gd name="connsiteY14" fmla="*/ 5889 h 10023"/>
              <a:gd name="connsiteX15" fmla="*/ 8854 w 10014"/>
              <a:gd name="connsiteY15" fmla="*/ 6187 h 10023"/>
              <a:gd name="connsiteX16" fmla="*/ 8685 w 10014"/>
              <a:gd name="connsiteY16" fmla="*/ 6341 h 10023"/>
              <a:gd name="connsiteX17" fmla="*/ 8430 w 10014"/>
              <a:gd name="connsiteY17" fmla="*/ 6563 h 10023"/>
              <a:gd name="connsiteX18" fmla="*/ 8206 w 10014"/>
              <a:gd name="connsiteY18" fmla="*/ 6758 h 10023"/>
              <a:gd name="connsiteX19" fmla="*/ 7956 w 10014"/>
              <a:gd name="connsiteY19" fmla="*/ 6956 h 10023"/>
              <a:gd name="connsiteX20" fmla="*/ 7601 w 10014"/>
              <a:gd name="connsiteY20" fmla="*/ 7231 h 10023"/>
              <a:gd name="connsiteX21" fmla="*/ 7224 w 10014"/>
              <a:gd name="connsiteY21" fmla="*/ 7516 h 10023"/>
              <a:gd name="connsiteX22" fmla="*/ 6847 w 10014"/>
              <a:gd name="connsiteY22" fmla="*/ 7782 h 10023"/>
              <a:gd name="connsiteX23" fmla="*/ 6478 w 10014"/>
              <a:gd name="connsiteY23" fmla="*/ 8028 h 10023"/>
              <a:gd name="connsiteX24" fmla="*/ 5981 w 10014"/>
              <a:gd name="connsiteY24" fmla="*/ 8342 h 10023"/>
              <a:gd name="connsiteX25" fmla="*/ 5551 w 10014"/>
              <a:gd name="connsiteY25" fmla="*/ 8598 h 10023"/>
              <a:gd name="connsiteX26" fmla="*/ 5195 w 10014"/>
              <a:gd name="connsiteY26" fmla="*/ 8784 h 10023"/>
              <a:gd name="connsiteX27" fmla="*/ 4800 w 10014"/>
              <a:gd name="connsiteY27" fmla="*/ 8971 h 10023"/>
              <a:gd name="connsiteX28" fmla="*/ 4384 w 10014"/>
              <a:gd name="connsiteY28" fmla="*/ 9148 h 10023"/>
              <a:gd name="connsiteX29" fmla="*/ 3960 w 10014"/>
              <a:gd name="connsiteY29" fmla="*/ 9305 h 10023"/>
              <a:gd name="connsiteX30" fmla="*/ 3378 w 10014"/>
              <a:gd name="connsiteY30" fmla="*/ 9489 h 10023"/>
              <a:gd name="connsiteX31" fmla="*/ 2671 w 10014"/>
              <a:gd name="connsiteY31" fmla="*/ 9668 h 10023"/>
              <a:gd name="connsiteX32" fmla="*/ 2297 w 10014"/>
              <a:gd name="connsiteY32" fmla="*/ 9747 h 10023"/>
              <a:gd name="connsiteX33" fmla="*/ 1538 w 10014"/>
              <a:gd name="connsiteY33" fmla="*/ 9875 h 10023"/>
              <a:gd name="connsiteX34" fmla="*/ 1030 w 10014"/>
              <a:gd name="connsiteY34" fmla="*/ 9943 h 10023"/>
              <a:gd name="connsiteX35" fmla="*/ 573 w 10014"/>
              <a:gd name="connsiteY35" fmla="*/ 9995 h 10023"/>
              <a:gd name="connsiteX36" fmla="*/ 197 w 10014"/>
              <a:gd name="connsiteY36" fmla="*/ 10023 h 10023"/>
              <a:gd name="connsiteX37" fmla="*/ 30 w 10014"/>
              <a:gd name="connsiteY37" fmla="*/ 10022 h 10023"/>
              <a:gd name="connsiteX38" fmla="*/ 22 w 10014"/>
              <a:gd name="connsiteY38" fmla="*/ 9224 h 10023"/>
              <a:gd name="connsiteX39" fmla="*/ 22 w 10014"/>
              <a:gd name="connsiteY39" fmla="*/ 8673 h 10023"/>
              <a:gd name="connsiteX40" fmla="*/ 22 w 10014"/>
              <a:gd name="connsiteY40" fmla="*/ 6904 h 10023"/>
              <a:gd name="connsiteX41" fmla="*/ 21 w 10014"/>
              <a:gd name="connsiteY41" fmla="*/ 4287 h 10023"/>
              <a:gd name="connsiteX42" fmla="*/ 14 w 10014"/>
              <a:gd name="connsiteY42" fmla="*/ 26 h 10023"/>
              <a:gd name="connsiteX43" fmla="*/ 248 w 10014"/>
              <a:gd name="connsiteY43" fmla="*/ 23 h 10023"/>
              <a:gd name="connsiteX0" fmla="*/ 248 w 10014"/>
              <a:gd name="connsiteY0" fmla="*/ 89 h 10089"/>
              <a:gd name="connsiteX1" fmla="*/ 619 w 10014"/>
              <a:gd name="connsiteY1" fmla="*/ 116 h 10089"/>
              <a:gd name="connsiteX2" fmla="*/ 943 w 10014"/>
              <a:gd name="connsiteY2" fmla="*/ 141 h 10089"/>
              <a:gd name="connsiteX3" fmla="*/ 1386 w 10014"/>
              <a:gd name="connsiteY3" fmla="*/ 190 h 10089"/>
              <a:gd name="connsiteX4" fmla="*/ 1849 w 10014"/>
              <a:gd name="connsiteY4" fmla="*/ 259 h 10089"/>
              <a:gd name="connsiteX5" fmla="*/ 2145 w 10014"/>
              <a:gd name="connsiteY5" fmla="*/ 312 h 10089"/>
              <a:gd name="connsiteX6" fmla="*/ 9287 w 10014"/>
              <a:gd name="connsiteY6" fmla="*/ 4345 h 10089"/>
              <a:gd name="connsiteX7" fmla="*/ 9516 w 10014"/>
              <a:gd name="connsiteY7" fmla="*/ 4583 h 10089"/>
              <a:gd name="connsiteX8" fmla="*/ 9817 w 10014"/>
              <a:gd name="connsiteY8" fmla="*/ 4889 h 10089"/>
              <a:gd name="connsiteX9" fmla="*/ 10014 w 10014"/>
              <a:gd name="connsiteY9" fmla="*/ 5086 h 10089"/>
              <a:gd name="connsiteX10" fmla="*/ 9863 w 10014"/>
              <a:gd name="connsiteY10" fmla="*/ 5262 h 10089"/>
              <a:gd name="connsiteX11" fmla="*/ 9648 w 10014"/>
              <a:gd name="connsiteY11" fmla="*/ 5489 h 10089"/>
              <a:gd name="connsiteX12" fmla="*/ 9442 w 10014"/>
              <a:gd name="connsiteY12" fmla="*/ 5699 h 10089"/>
              <a:gd name="connsiteX13" fmla="*/ 9184 w 10014"/>
              <a:gd name="connsiteY13" fmla="*/ 5955 h 10089"/>
              <a:gd name="connsiteX14" fmla="*/ 8854 w 10014"/>
              <a:gd name="connsiteY14" fmla="*/ 6253 h 10089"/>
              <a:gd name="connsiteX15" fmla="*/ 8685 w 10014"/>
              <a:gd name="connsiteY15" fmla="*/ 6407 h 10089"/>
              <a:gd name="connsiteX16" fmla="*/ 8430 w 10014"/>
              <a:gd name="connsiteY16" fmla="*/ 6629 h 10089"/>
              <a:gd name="connsiteX17" fmla="*/ 8206 w 10014"/>
              <a:gd name="connsiteY17" fmla="*/ 6824 h 10089"/>
              <a:gd name="connsiteX18" fmla="*/ 7956 w 10014"/>
              <a:gd name="connsiteY18" fmla="*/ 7022 h 10089"/>
              <a:gd name="connsiteX19" fmla="*/ 7601 w 10014"/>
              <a:gd name="connsiteY19" fmla="*/ 7297 h 10089"/>
              <a:gd name="connsiteX20" fmla="*/ 7224 w 10014"/>
              <a:gd name="connsiteY20" fmla="*/ 7582 h 10089"/>
              <a:gd name="connsiteX21" fmla="*/ 6847 w 10014"/>
              <a:gd name="connsiteY21" fmla="*/ 7848 h 10089"/>
              <a:gd name="connsiteX22" fmla="*/ 6478 w 10014"/>
              <a:gd name="connsiteY22" fmla="*/ 8094 h 10089"/>
              <a:gd name="connsiteX23" fmla="*/ 5981 w 10014"/>
              <a:gd name="connsiteY23" fmla="*/ 8408 h 10089"/>
              <a:gd name="connsiteX24" fmla="*/ 5551 w 10014"/>
              <a:gd name="connsiteY24" fmla="*/ 8664 h 10089"/>
              <a:gd name="connsiteX25" fmla="*/ 5195 w 10014"/>
              <a:gd name="connsiteY25" fmla="*/ 8850 h 10089"/>
              <a:gd name="connsiteX26" fmla="*/ 4800 w 10014"/>
              <a:gd name="connsiteY26" fmla="*/ 9037 h 10089"/>
              <a:gd name="connsiteX27" fmla="*/ 4384 w 10014"/>
              <a:gd name="connsiteY27" fmla="*/ 9214 h 10089"/>
              <a:gd name="connsiteX28" fmla="*/ 3960 w 10014"/>
              <a:gd name="connsiteY28" fmla="*/ 9371 h 10089"/>
              <a:gd name="connsiteX29" fmla="*/ 3378 w 10014"/>
              <a:gd name="connsiteY29" fmla="*/ 9555 h 10089"/>
              <a:gd name="connsiteX30" fmla="*/ 2671 w 10014"/>
              <a:gd name="connsiteY30" fmla="*/ 9734 h 10089"/>
              <a:gd name="connsiteX31" fmla="*/ 2297 w 10014"/>
              <a:gd name="connsiteY31" fmla="*/ 9813 h 10089"/>
              <a:gd name="connsiteX32" fmla="*/ 1538 w 10014"/>
              <a:gd name="connsiteY32" fmla="*/ 9941 h 10089"/>
              <a:gd name="connsiteX33" fmla="*/ 1030 w 10014"/>
              <a:gd name="connsiteY33" fmla="*/ 10009 h 10089"/>
              <a:gd name="connsiteX34" fmla="*/ 573 w 10014"/>
              <a:gd name="connsiteY34" fmla="*/ 10061 h 10089"/>
              <a:gd name="connsiteX35" fmla="*/ 197 w 10014"/>
              <a:gd name="connsiteY35" fmla="*/ 10089 h 10089"/>
              <a:gd name="connsiteX36" fmla="*/ 30 w 10014"/>
              <a:gd name="connsiteY36" fmla="*/ 10088 h 10089"/>
              <a:gd name="connsiteX37" fmla="*/ 22 w 10014"/>
              <a:gd name="connsiteY37" fmla="*/ 9290 h 10089"/>
              <a:gd name="connsiteX38" fmla="*/ 22 w 10014"/>
              <a:gd name="connsiteY38" fmla="*/ 8739 h 10089"/>
              <a:gd name="connsiteX39" fmla="*/ 22 w 10014"/>
              <a:gd name="connsiteY39" fmla="*/ 6970 h 10089"/>
              <a:gd name="connsiteX40" fmla="*/ 21 w 10014"/>
              <a:gd name="connsiteY40" fmla="*/ 4353 h 10089"/>
              <a:gd name="connsiteX41" fmla="*/ 14 w 10014"/>
              <a:gd name="connsiteY41" fmla="*/ 92 h 10089"/>
              <a:gd name="connsiteX42" fmla="*/ 248 w 10014"/>
              <a:gd name="connsiteY42" fmla="*/ 89 h 10089"/>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9287 w 10014"/>
              <a:gd name="connsiteY5" fmla="*/ 4256 h 10000"/>
              <a:gd name="connsiteX6" fmla="*/ 9516 w 10014"/>
              <a:gd name="connsiteY6" fmla="*/ 4494 h 10000"/>
              <a:gd name="connsiteX7" fmla="*/ 9817 w 10014"/>
              <a:gd name="connsiteY7" fmla="*/ 4800 h 10000"/>
              <a:gd name="connsiteX8" fmla="*/ 10014 w 10014"/>
              <a:gd name="connsiteY8" fmla="*/ 4997 h 10000"/>
              <a:gd name="connsiteX9" fmla="*/ 9863 w 10014"/>
              <a:gd name="connsiteY9" fmla="*/ 5173 h 10000"/>
              <a:gd name="connsiteX10" fmla="*/ 9648 w 10014"/>
              <a:gd name="connsiteY10" fmla="*/ 5400 h 10000"/>
              <a:gd name="connsiteX11" fmla="*/ 9442 w 10014"/>
              <a:gd name="connsiteY11" fmla="*/ 5610 h 10000"/>
              <a:gd name="connsiteX12" fmla="*/ 9184 w 10014"/>
              <a:gd name="connsiteY12" fmla="*/ 5866 h 10000"/>
              <a:gd name="connsiteX13" fmla="*/ 8854 w 10014"/>
              <a:gd name="connsiteY13" fmla="*/ 6164 h 10000"/>
              <a:gd name="connsiteX14" fmla="*/ 8685 w 10014"/>
              <a:gd name="connsiteY14" fmla="*/ 6318 h 10000"/>
              <a:gd name="connsiteX15" fmla="*/ 8430 w 10014"/>
              <a:gd name="connsiteY15" fmla="*/ 6540 h 10000"/>
              <a:gd name="connsiteX16" fmla="*/ 8206 w 10014"/>
              <a:gd name="connsiteY16" fmla="*/ 6735 h 10000"/>
              <a:gd name="connsiteX17" fmla="*/ 7956 w 10014"/>
              <a:gd name="connsiteY17" fmla="*/ 6933 h 10000"/>
              <a:gd name="connsiteX18" fmla="*/ 7601 w 10014"/>
              <a:gd name="connsiteY18" fmla="*/ 7208 h 10000"/>
              <a:gd name="connsiteX19" fmla="*/ 7224 w 10014"/>
              <a:gd name="connsiteY19" fmla="*/ 7493 h 10000"/>
              <a:gd name="connsiteX20" fmla="*/ 6847 w 10014"/>
              <a:gd name="connsiteY20" fmla="*/ 7759 h 10000"/>
              <a:gd name="connsiteX21" fmla="*/ 6478 w 10014"/>
              <a:gd name="connsiteY21" fmla="*/ 8005 h 10000"/>
              <a:gd name="connsiteX22" fmla="*/ 5981 w 10014"/>
              <a:gd name="connsiteY22" fmla="*/ 8319 h 10000"/>
              <a:gd name="connsiteX23" fmla="*/ 5551 w 10014"/>
              <a:gd name="connsiteY23" fmla="*/ 8575 h 10000"/>
              <a:gd name="connsiteX24" fmla="*/ 5195 w 10014"/>
              <a:gd name="connsiteY24" fmla="*/ 8761 h 10000"/>
              <a:gd name="connsiteX25" fmla="*/ 4800 w 10014"/>
              <a:gd name="connsiteY25" fmla="*/ 8948 h 10000"/>
              <a:gd name="connsiteX26" fmla="*/ 4384 w 10014"/>
              <a:gd name="connsiteY26" fmla="*/ 9125 h 10000"/>
              <a:gd name="connsiteX27" fmla="*/ 3960 w 10014"/>
              <a:gd name="connsiteY27" fmla="*/ 9282 h 10000"/>
              <a:gd name="connsiteX28" fmla="*/ 3378 w 10014"/>
              <a:gd name="connsiteY28" fmla="*/ 9466 h 10000"/>
              <a:gd name="connsiteX29" fmla="*/ 2671 w 10014"/>
              <a:gd name="connsiteY29" fmla="*/ 9645 h 10000"/>
              <a:gd name="connsiteX30" fmla="*/ 2297 w 10014"/>
              <a:gd name="connsiteY30" fmla="*/ 9724 h 10000"/>
              <a:gd name="connsiteX31" fmla="*/ 1538 w 10014"/>
              <a:gd name="connsiteY31" fmla="*/ 9852 h 10000"/>
              <a:gd name="connsiteX32" fmla="*/ 1030 w 10014"/>
              <a:gd name="connsiteY32" fmla="*/ 9920 h 10000"/>
              <a:gd name="connsiteX33" fmla="*/ 573 w 10014"/>
              <a:gd name="connsiteY33" fmla="*/ 9972 h 10000"/>
              <a:gd name="connsiteX34" fmla="*/ 197 w 10014"/>
              <a:gd name="connsiteY34" fmla="*/ 10000 h 10000"/>
              <a:gd name="connsiteX35" fmla="*/ 30 w 10014"/>
              <a:gd name="connsiteY35" fmla="*/ 9999 h 10000"/>
              <a:gd name="connsiteX36" fmla="*/ 22 w 10014"/>
              <a:gd name="connsiteY36" fmla="*/ 9201 h 10000"/>
              <a:gd name="connsiteX37" fmla="*/ 22 w 10014"/>
              <a:gd name="connsiteY37" fmla="*/ 8650 h 10000"/>
              <a:gd name="connsiteX38" fmla="*/ 22 w 10014"/>
              <a:gd name="connsiteY38" fmla="*/ 6881 h 10000"/>
              <a:gd name="connsiteX39" fmla="*/ 21 w 10014"/>
              <a:gd name="connsiteY39" fmla="*/ 4264 h 10000"/>
              <a:gd name="connsiteX40" fmla="*/ 14 w 10014"/>
              <a:gd name="connsiteY40" fmla="*/ 3 h 10000"/>
              <a:gd name="connsiteX41" fmla="*/ 248 w 10014"/>
              <a:gd name="connsiteY4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9287 w 10014"/>
              <a:gd name="connsiteY4" fmla="*/ 4256 h 10000"/>
              <a:gd name="connsiteX5" fmla="*/ 9516 w 10014"/>
              <a:gd name="connsiteY5" fmla="*/ 4494 h 10000"/>
              <a:gd name="connsiteX6" fmla="*/ 9817 w 10014"/>
              <a:gd name="connsiteY6" fmla="*/ 4800 h 10000"/>
              <a:gd name="connsiteX7" fmla="*/ 10014 w 10014"/>
              <a:gd name="connsiteY7" fmla="*/ 4997 h 10000"/>
              <a:gd name="connsiteX8" fmla="*/ 9863 w 10014"/>
              <a:gd name="connsiteY8" fmla="*/ 5173 h 10000"/>
              <a:gd name="connsiteX9" fmla="*/ 9648 w 10014"/>
              <a:gd name="connsiteY9" fmla="*/ 5400 h 10000"/>
              <a:gd name="connsiteX10" fmla="*/ 9442 w 10014"/>
              <a:gd name="connsiteY10" fmla="*/ 5610 h 10000"/>
              <a:gd name="connsiteX11" fmla="*/ 9184 w 10014"/>
              <a:gd name="connsiteY11" fmla="*/ 5866 h 10000"/>
              <a:gd name="connsiteX12" fmla="*/ 8854 w 10014"/>
              <a:gd name="connsiteY12" fmla="*/ 6164 h 10000"/>
              <a:gd name="connsiteX13" fmla="*/ 8685 w 10014"/>
              <a:gd name="connsiteY13" fmla="*/ 6318 h 10000"/>
              <a:gd name="connsiteX14" fmla="*/ 8430 w 10014"/>
              <a:gd name="connsiteY14" fmla="*/ 6540 h 10000"/>
              <a:gd name="connsiteX15" fmla="*/ 8206 w 10014"/>
              <a:gd name="connsiteY15" fmla="*/ 6735 h 10000"/>
              <a:gd name="connsiteX16" fmla="*/ 7956 w 10014"/>
              <a:gd name="connsiteY16" fmla="*/ 6933 h 10000"/>
              <a:gd name="connsiteX17" fmla="*/ 7601 w 10014"/>
              <a:gd name="connsiteY17" fmla="*/ 7208 h 10000"/>
              <a:gd name="connsiteX18" fmla="*/ 7224 w 10014"/>
              <a:gd name="connsiteY18" fmla="*/ 7493 h 10000"/>
              <a:gd name="connsiteX19" fmla="*/ 6847 w 10014"/>
              <a:gd name="connsiteY19" fmla="*/ 7759 h 10000"/>
              <a:gd name="connsiteX20" fmla="*/ 6478 w 10014"/>
              <a:gd name="connsiteY20" fmla="*/ 8005 h 10000"/>
              <a:gd name="connsiteX21" fmla="*/ 5981 w 10014"/>
              <a:gd name="connsiteY21" fmla="*/ 8319 h 10000"/>
              <a:gd name="connsiteX22" fmla="*/ 5551 w 10014"/>
              <a:gd name="connsiteY22" fmla="*/ 8575 h 10000"/>
              <a:gd name="connsiteX23" fmla="*/ 5195 w 10014"/>
              <a:gd name="connsiteY23" fmla="*/ 8761 h 10000"/>
              <a:gd name="connsiteX24" fmla="*/ 4800 w 10014"/>
              <a:gd name="connsiteY24" fmla="*/ 8948 h 10000"/>
              <a:gd name="connsiteX25" fmla="*/ 4384 w 10014"/>
              <a:gd name="connsiteY25" fmla="*/ 9125 h 10000"/>
              <a:gd name="connsiteX26" fmla="*/ 3960 w 10014"/>
              <a:gd name="connsiteY26" fmla="*/ 9282 h 10000"/>
              <a:gd name="connsiteX27" fmla="*/ 3378 w 10014"/>
              <a:gd name="connsiteY27" fmla="*/ 9466 h 10000"/>
              <a:gd name="connsiteX28" fmla="*/ 2671 w 10014"/>
              <a:gd name="connsiteY28" fmla="*/ 9645 h 10000"/>
              <a:gd name="connsiteX29" fmla="*/ 2297 w 10014"/>
              <a:gd name="connsiteY29" fmla="*/ 9724 h 10000"/>
              <a:gd name="connsiteX30" fmla="*/ 1538 w 10014"/>
              <a:gd name="connsiteY30" fmla="*/ 9852 h 10000"/>
              <a:gd name="connsiteX31" fmla="*/ 1030 w 10014"/>
              <a:gd name="connsiteY31" fmla="*/ 9920 h 10000"/>
              <a:gd name="connsiteX32" fmla="*/ 573 w 10014"/>
              <a:gd name="connsiteY32" fmla="*/ 9972 h 10000"/>
              <a:gd name="connsiteX33" fmla="*/ 197 w 10014"/>
              <a:gd name="connsiteY33" fmla="*/ 10000 h 10000"/>
              <a:gd name="connsiteX34" fmla="*/ 30 w 10014"/>
              <a:gd name="connsiteY34" fmla="*/ 9999 h 10000"/>
              <a:gd name="connsiteX35" fmla="*/ 22 w 10014"/>
              <a:gd name="connsiteY35" fmla="*/ 9201 h 10000"/>
              <a:gd name="connsiteX36" fmla="*/ 22 w 10014"/>
              <a:gd name="connsiteY36" fmla="*/ 8650 h 10000"/>
              <a:gd name="connsiteX37" fmla="*/ 22 w 10014"/>
              <a:gd name="connsiteY37" fmla="*/ 6881 h 10000"/>
              <a:gd name="connsiteX38" fmla="*/ 21 w 10014"/>
              <a:gd name="connsiteY38" fmla="*/ 4264 h 10000"/>
              <a:gd name="connsiteX39" fmla="*/ 14 w 10014"/>
              <a:gd name="connsiteY39" fmla="*/ 3 h 10000"/>
              <a:gd name="connsiteX40" fmla="*/ 248 w 10014"/>
              <a:gd name="connsiteY40" fmla="*/ 0 h 10000"/>
              <a:gd name="connsiteX0" fmla="*/ 248 w 10014"/>
              <a:gd name="connsiteY0" fmla="*/ 0 h 10000"/>
              <a:gd name="connsiteX1" fmla="*/ 619 w 10014"/>
              <a:gd name="connsiteY1" fmla="*/ 27 h 10000"/>
              <a:gd name="connsiteX2" fmla="*/ 943 w 10014"/>
              <a:gd name="connsiteY2" fmla="*/ 52 h 10000"/>
              <a:gd name="connsiteX3" fmla="*/ 9287 w 10014"/>
              <a:gd name="connsiteY3" fmla="*/ 4256 h 10000"/>
              <a:gd name="connsiteX4" fmla="*/ 9516 w 10014"/>
              <a:gd name="connsiteY4" fmla="*/ 4494 h 10000"/>
              <a:gd name="connsiteX5" fmla="*/ 9817 w 10014"/>
              <a:gd name="connsiteY5" fmla="*/ 4800 h 10000"/>
              <a:gd name="connsiteX6" fmla="*/ 10014 w 10014"/>
              <a:gd name="connsiteY6" fmla="*/ 4997 h 10000"/>
              <a:gd name="connsiteX7" fmla="*/ 9863 w 10014"/>
              <a:gd name="connsiteY7" fmla="*/ 5173 h 10000"/>
              <a:gd name="connsiteX8" fmla="*/ 9648 w 10014"/>
              <a:gd name="connsiteY8" fmla="*/ 5400 h 10000"/>
              <a:gd name="connsiteX9" fmla="*/ 9442 w 10014"/>
              <a:gd name="connsiteY9" fmla="*/ 5610 h 10000"/>
              <a:gd name="connsiteX10" fmla="*/ 9184 w 10014"/>
              <a:gd name="connsiteY10" fmla="*/ 5866 h 10000"/>
              <a:gd name="connsiteX11" fmla="*/ 8854 w 10014"/>
              <a:gd name="connsiteY11" fmla="*/ 6164 h 10000"/>
              <a:gd name="connsiteX12" fmla="*/ 8685 w 10014"/>
              <a:gd name="connsiteY12" fmla="*/ 6318 h 10000"/>
              <a:gd name="connsiteX13" fmla="*/ 8430 w 10014"/>
              <a:gd name="connsiteY13" fmla="*/ 6540 h 10000"/>
              <a:gd name="connsiteX14" fmla="*/ 8206 w 10014"/>
              <a:gd name="connsiteY14" fmla="*/ 6735 h 10000"/>
              <a:gd name="connsiteX15" fmla="*/ 7956 w 10014"/>
              <a:gd name="connsiteY15" fmla="*/ 6933 h 10000"/>
              <a:gd name="connsiteX16" fmla="*/ 7601 w 10014"/>
              <a:gd name="connsiteY16" fmla="*/ 7208 h 10000"/>
              <a:gd name="connsiteX17" fmla="*/ 7224 w 10014"/>
              <a:gd name="connsiteY17" fmla="*/ 7493 h 10000"/>
              <a:gd name="connsiteX18" fmla="*/ 6847 w 10014"/>
              <a:gd name="connsiteY18" fmla="*/ 7759 h 10000"/>
              <a:gd name="connsiteX19" fmla="*/ 6478 w 10014"/>
              <a:gd name="connsiteY19" fmla="*/ 8005 h 10000"/>
              <a:gd name="connsiteX20" fmla="*/ 5981 w 10014"/>
              <a:gd name="connsiteY20" fmla="*/ 8319 h 10000"/>
              <a:gd name="connsiteX21" fmla="*/ 5551 w 10014"/>
              <a:gd name="connsiteY21" fmla="*/ 8575 h 10000"/>
              <a:gd name="connsiteX22" fmla="*/ 5195 w 10014"/>
              <a:gd name="connsiteY22" fmla="*/ 8761 h 10000"/>
              <a:gd name="connsiteX23" fmla="*/ 4800 w 10014"/>
              <a:gd name="connsiteY23" fmla="*/ 8948 h 10000"/>
              <a:gd name="connsiteX24" fmla="*/ 4384 w 10014"/>
              <a:gd name="connsiteY24" fmla="*/ 9125 h 10000"/>
              <a:gd name="connsiteX25" fmla="*/ 3960 w 10014"/>
              <a:gd name="connsiteY25" fmla="*/ 9282 h 10000"/>
              <a:gd name="connsiteX26" fmla="*/ 3378 w 10014"/>
              <a:gd name="connsiteY26" fmla="*/ 9466 h 10000"/>
              <a:gd name="connsiteX27" fmla="*/ 2671 w 10014"/>
              <a:gd name="connsiteY27" fmla="*/ 9645 h 10000"/>
              <a:gd name="connsiteX28" fmla="*/ 2297 w 10014"/>
              <a:gd name="connsiteY28" fmla="*/ 9724 h 10000"/>
              <a:gd name="connsiteX29" fmla="*/ 1538 w 10014"/>
              <a:gd name="connsiteY29" fmla="*/ 9852 h 10000"/>
              <a:gd name="connsiteX30" fmla="*/ 1030 w 10014"/>
              <a:gd name="connsiteY30" fmla="*/ 9920 h 10000"/>
              <a:gd name="connsiteX31" fmla="*/ 573 w 10014"/>
              <a:gd name="connsiteY31" fmla="*/ 9972 h 10000"/>
              <a:gd name="connsiteX32" fmla="*/ 197 w 10014"/>
              <a:gd name="connsiteY32" fmla="*/ 10000 h 10000"/>
              <a:gd name="connsiteX33" fmla="*/ 30 w 10014"/>
              <a:gd name="connsiteY33" fmla="*/ 9999 h 10000"/>
              <a:gd name="connsiteX34" fmla="*/ 22 w 10014"/>
              <a:gd name="connsiteY34" fmla="*/ 9201 h 10000"/>
              <a:gd name="connsiteX35" fmla="*/ 22 w 10014"/>
              <a:gd name="connsiteY35" fmla="*/ 8650 h 10000"/>
              <a:gd name="connsiteX36" fmla="*/ 22 w 10014"/>
              <a:gd name="connsiteY36" fmla="*/ 6881 h 10000"/>
              <a:gd name="connsiteX37" fmla="*/ 21 w 10014"/>
              <a:gd name="connsiteY37" fmla="*/ 4264 h 10000"/>
              <a:gd name="connsiteX38" fmla="*/ 14 w 10014"/>
              <a:gd name="connsiteY38" fmla="*/ 3 h 10000"/>
              <a:gd name="connsiteX39" fmla="*/ 248 w 10014"/>
              <a:gd name="connsiteY39" fmla="*/ 0 h 10000"/>
              <a:gd name="connsiteX0" fmla="*/ 14 w 10014"/>
              <a:gd name="connsiteY0" fmla="*/ 0 h 9997"/>
              <a:gd name="connsiteX1" fmla="*/ 619 w 10014"/>
              <a:gd name="connsiteY1" fmla="*/ 24 h 9997"/>
              <a:gd name="connsiteX2" fmla="*/ 943 w 10014"/>
              <a:gd name="connsiteY2" fmla="*/ 49 h 9997"/>
              <a:gd name="connsiteX3" fmla="*/ 9287 w 10014"/>
              <a:gd name="connsiteY3" fmla="*/ 4253 h 9997"/>
              <a:gd name="connsiteX4" fmla="*/ 9516 w 10014"/>
              <a:gd name="connsiteY4" fmla="*/ 4491 h 9997"/>
              <a:gd name="connsiteX5" fmla="*/ 9817 w 10014"/>
              <a:gd name="connsiteY5" fmla="*/ 4797 h 9997"/>
              <a:gd name="connsiteX6" fmla="*/ 10014 w 10014"/>
              <a:gd name="connsiteY6" fmla="*/ 4994 h 9997"/>
              <a:gd name="connsiteX7" fmla="*/ 9863 w 10014"/>
              <a:gd name="connsiteY7" fmla="*/ 5170 h 9997"/>
              <a:gd name="connsiteX8" fmla="*/ 9648 w 10014"/>
              <a:gd name="connsiteY8" fmla="*/ 5397 h 9997"/>
              <a:gd name="connsiteX9" fmla="*/ 9442 w 10014"/>
              <a:gd name="connsiteY9" fmla="*/ 5607 h 9997"/>
              <a:gd name="connsiteX10" fmla="*/ 9184 w 10014"/>
              <a:gd name="connsiteY10" fmla="*/ 5863 h 9997"/>
              <a:gd name="connsiteX11" fmla="*/ 8854 w 10014"/>
              <a:gd name="connsiteY11" fmla="*/ 6161 h 9997"/>
              <a:gd name="connsiteX12" fmla="*/ 8685 w 10014"/>
              <a:gd name="connsiteY12" fmla="*/ 6315 h 9997"/>
              <a:gd name="connsiteX13" fmla="*/ 8430 w 10014"/>
              <a:gd name="connsiteY13" fmla="*/ 6537 h 9997"/>
              <a:gd name="connsiteX14" fmla="*/ 8206 w 10014"/>
              <a:gd name="connsiteY14" fmla="*/ 6732 h 9997"/>
              <a:gd name="connsiteX15" fmla="*/ 7956 w 10014"/>
              <a:gd name="connsiteY15" fmla="*/ 6930 h 9997"/>
              <a:gd name="connsiteX16" fmla="*/ 7601 w 10014"/>
              <a:gd name="connsiteY16" fmla="*/ 7205 h 9997"/>
              <a:gd name="connsiteX17" fmla="*/ 7224 w 10014"/>
              <a:gd name="connsiteY17" fmla="*/ 7490 h 9997"/>
              <a:gd name="connsiteX18" fmla="*/ 6847 w 10014"/>
              <a:gd name="connsiteY18" fmla="*/ 7756 h 9997"/>
              <a:gd name="connsiteX19" fmla="*/ 6478 w 10014"/>
              <a:gd name="connsiteY19" fmla="*/ 8002 h 9997"/>
              <a:gd name="connsiteX20" fmla="*/ 5981 w 10014"/>
              <a:gd name="connsiteY20" fmla="*/ 8316 h 9997"/>
              <a:gd name="connsiteX21" fmla="*/ 5551 w 10014"/>
              <a:gd name="connsiteY21" fmla="*/ 8572 h 9997"/>
              <a:gd name="connsiteX22" fmla="*/ 5195 w 10014"/>
              <a:gd name="connsiteY22" fmla="*/ 8758 h 9997"/>
              <a:gd name="connsiteX23" fmla="*/ 4800 w 10014"/>
              <a:gd name="connsiteY23" fmla="*/ 8945 h 9997"/>
              <a:gd name="connsiteX24" fmla="*/ 4384 w 10014"/>
              <a:gd name="connsiteY24" fmla="*/ 9122 h 9997"/>
              <a:gd name="connsiteX25" fmla="*/ 3960 w 10014"/>
              <a:gd name="connsiteY25" fmla="*/ 9279 h 9997"/>
              <a:gd name="connsiteX26" fmla="*/ 3378 w 10014"/>
              <a:gd name="connsiteY26" fmla="*/ 9463 h 9997"/>
              <a:gd name="connsiteX27" fmla="*/ 2671 w 10014"/>
              <a:gd name="connsiteY27" fmla="*/ 9642 h 9997"/>
              <a:gd name="connsiteX28" fmla="*/ 2297 w 10014"/>
              <a:gd name="connsiteY28" fmla="*/ 9721 h 9997"/>
              <a:gd name="connsiteX29" fmla="*/ 1538 w 10014"/>
              <a:gd name="connsiteY29" fmla="*/ 9849 h 9997"/>
              <a:gd name="connsiteX30" fmla="*/ 1030 w 10014"/>
              <a:gd name="connsiteY30" fmla="*/ 9917 h 9997"/>
              <a:gd name="connsiteX31" fmla="*/ 573 w 10014"/>
              <a:gd name="connsiteY31" fmla="*/ 9969 h 9997"/>
              <a:gd name="connsiteX32" fmla="*/ 197 w 10014"/>
              <a:gd name="connsiteY32" fmla="*/ 9997 h 9997"/>
              <a:gd name="connsiteX33" fmla="*/ 30 w 10014"/>
              <a:gd name="connsiteY33" fmla="*/ 9996 h 9997"/>
              <a:gd name="connsiteX34" fmla="*/ 22 w 10014"/>
              <a:gd name="connsiteY34" fmla="*/ 9198 h 9997"/>
              <a:gd name="connsiteX35" fmla="*/ 22 w 10014"/>
              <a:gd name="connsiteY35" fmla="*/ 8647 h 9997"/>
              <a:gd name="connsiteX36" fmla="*/ 22 w 10014"/>
              <a:gd name="connsiteY36" fmla="*/ 6878 h 9997"/>
              <a:gd name="connsiteX37" fmla="*/ 21 w 10014"/>
              <a:gd name="connsiteY37" fmla="*/ 4261 h 9997"/>
              <a:gd name="connsiteX38" fmla="*/ 14 w 10014"/>
              <a:gd name="connsiteY38" fmla="*/ 0 h 9997"/>
              <a:gd name="connsiteX0" fmla="*/ 14 w 10000"/>
              <a:gd name="connsiteY0" fmla="*/ 0 h 10000"/>
              <a:gd name="connsiteX1" fmla="*/ 942 w 10000"/>
              <a:gd name="connsiteY1" fmla="*/ 49 h 10000"/>
              <a:gd name="connsiteX2" fmla="*/ 9274 w 10000"/>
              <a:gd name="connsiteY2" fmla="*/ 4254 h 10000"/>
              <a:gd name="connsiteX3" fmla="*/ 9503 w 10000"/>
              <a:gd name="connsiteY3" fmla="*/ 4492 h 10000"/>
              <a:gd name="connsiteX4" fmla="*/ 9803 w 10000"/>
              <a:gd name="connsiteY4" fmla="*/ 4798 h 10000"/>
              <a:gd name="connsiteX5" fmla="*/ 10000 w 10000"/>
              <a:gd name="connsiteY5" fmla="*/ 4995 h 10000"/>
              <a:gd name="connsiteX6" fmla="*/ 9849 w 10000"/>
              <a:gd name="connsiteY6" fmla="*/ 5172 h 10000"/>
              <a:gd name="connsiteX7" fmla="*/ 9635 w 10000"/>
              <a:gd name="connsiteY7" fmla="*/ 5399 h 10000"/>
              <a:gd name="connsiteX8" fmla="*/ 9429 w 10000"/>
              <a:gd name="connsiteY8" fmla="*/ 5609 h 10000"/>
              <a:gd name="connsiteX9" fmla="*/ 9171 w 10000"/>
              <a:gd name="connsiteY9" fmla="*/ 5865 h 10000"/>
              <a:gd name="connsiteX10" fmla="*/ 8842 w 10000"/>
              <a:gd name="connsiteY10" fmla="*/ 6163 h 10000"/>
              <a:gd name="connsiteX11" fmla="*/ 8673 w 10000"/>
              <a:gd name="connsiteY11" fmla="*/ 6317 h 10000"/>
              <a:gd name="connsiteX12" fmla="*/ 8418 w 10000"/>
              <a:gd name="connsiteY12" fmla="*/ 6539 h 10000"/>
              <a:gd name="connsiteX13" fmla="*/ 8195 w 10000"/>
              <a:gd name="connsiteY13" fmla="*/ 6734 h 10000"/>
              <a:gd name="connsiteX14" fmla="*/ 7945 w 10000"/>
              <a:gd name="connsiteY14" fmla="*/ 6932 h 10000"/>
              <a:gd name="connsiteX15" fmla="*/ 7590 w 10000"/>
              <a:gd name="connsiteY15" fmla="*/ 7207 h 10000"/>
              <a:gd name="connsiteX16" fmla="*/ 7214 w 10000"/>
              <a:gd name="connsiteY16" fmla="*/ 7492 h 10000"/>
              <a:gd name="connsiteX17" fmla="*/ 6837 w 10000"/>
              <a:gd name="connsiteY17" fmla="*/ 7758 h 10000"/>
              <a:gd name="connsiteX18" fmla="*/ 6469 w 10000"/>
              <a:gd name="connsiteY18" fmla="*/ 8004 h 10000"/>
              <a:gd name="connsiteX19" fmla="*/ 5973 w 10000"/>
              <a:gd name="connsiteY19" fmla="*/ 8318 h 10000"/>
              <a:gd name="connsiteX20" fmla="*/ 5543 w 10000"/>
              <a:gd name="connsiteY20" fmla="*/ 8575 h 10000"/>
              <a:gd name="connsiteX21" fmla="*/ 5188 w 10000"/>
              <a:gd name="connsiteY21" fmla="*/ 8761 h 10000"/>
              <a:gd name="connsiteX22" fmla="*/ 4793 w 10000"/>
              <a:gd name="connsiteY22" fmla="*/ 8948 h 10000"/>
              <a:gd name="connsiteX23" fmla="*/ 4378 w 10000"/>
              <a:gd name="connsiteY23" fmla="*/ 9125 h 10000"/>
              <a:gd name="connsiteX24" fmla="*/ 3954 w 10000"/>
              <a:gd name="connsiteY24" fmla="*/ 9282 h 10000"/>
              <a:gd name="connsiteX25" fmla="*/ 3373 w 10000"/>
              <a:gd name="connsiteY25" fmla="*/ 9466 h 10000"/>
              <a:gd name="connsiteX26" fmla="*/ 2667 w 10000"/>
              <a:gd name="connsiteY26" fmla="*/ 9645 h 10000"/>
              <a:gd name="connsiteX27" fmla="*/ 2294 w 10000"/>
              <a:gd name="connsiteY27" fmla="*/ 9724 h 10000"/>
              <a:gd name="connsiteX28" fmla="*/ 1536 w 10000"/>
              <a:gd name="connsiteY28" fmla="*/ 9852 h 10000"/>
              <a:gd name="connsiteX29" fmla="*/ 1029 w 10000"/>
              <a:gd name="connsiteY29" fmla="*/ 9920 h 10000"/>
              <a:gd name="connsiteX30" fmla="*/ 572 w 10000"/>
              <a:gd name="connsiteY30" fmla="*/ 9972 h 10000"/>
              <a:gd name="connsiteX31" fmla="*/ 197 w 10000"/>
              <a:gd name="connsiteY31" fmla="*/ 10000 h 10000"/>
              <a:gd name="connsiteX32" fmla="*/ 30 w 10000"/>
              <a:gd name="connsiteY32" fmla="*/ 9999 h 10000"/>
              <a:gd name="connsiteX33" fmla="*/ 22 w 10000"/>
              <a:gd name="connsiteY33" fmla="*/ 9201 h 10000"/>
              <a:gd name="connsiteX34" fmla="*/ 22 w 10000"/>
              <a:gd name="connsiteY34" fmla="*/ 8650 h 10000"/>
              <a:gd name="connsiteX35" fmla="*/ 22 w 10000"/>
              <a:gd name="connsiteY35" fmla="*/ 6880 h 10000"/>
              <a:gd name="connsiteX36" fmla="*/ 21 w 10000"/>
              <a:gd name="connsiteY36" fmla="*/ 4262 h 10000"/>
              <a:gd name="connsiteX37" fmla="*/ 14 w 10000"/>
              <a:gd name="connsiteY37" fmla="*/ 0 h 10000"/>
              <a:gd name="connsiteX0" fmla="*/ 14 w 10000"/>
              <a:gd name="connsiteY0" fmla="*/ 0 h 10000"/>
              <a:gd name="connsiteX1" fmla="*/ 9274 w 10000"/>
              <a:gd name="connsiteY1" fmla="*/ 4254 h 10000"/>
              <a:gd name="connsiteX2" fmla="*/ 9503 w 10000"/>
              <a:gd name="connsiteY2" fmla="*/ 4492 h 10000"/>
              <a:gd name="connsiteX3" fmla="*/ 9803 w 10000"/>
              <a:gd name="connsiteY3" fmla="*/ 4798 h 10000"/>
              <a:gd name="connsiteX4" fmla="*/ 10000 w 10000"/>
              <a:gd name="connsiteY4" fmla="*/ 4995 h 10000"/>
              <a:gd name="connsiteX5" fmla="*/ 9849 w 10000"/>
              <a:gd name="connsiteY5" fmla="*/ 5172 h 10000"/>
              <a:gd name="connsiteX6" fmla="*/ 9635 w 10000"/>
              <a:gd name="connsiteY6" fmla="*/ 5399 h 10000"/>
              <a:gd name="connsiteX7" fmla="*/ 9429 w 10000"/>
              <a:gd name="connsiteY7" fmla="*/ 5609 h 10000"/>
              <a:gd name="connsiteX8" fmla="*/ 9171 w 10000"/>
              <a:gd name="connsiteY8" fmla="*/ 5865 h 10000"/>
              <a:gd name="connsiteX9" fmla="*/ 8842 w 10000"/>
              <a:gd name="connsiteY9" fmla="*/ 6163 h 10000"/>
              <a:gd name="connsiteX10" fmla="*/ 8673 w 10000"/>
              <a:gd name="connsiteY10" fmla="*/ 6317 h 10000"/>
              <a:gd name="connsiteX11" fmla="*/ 8418 w 10000"/>
              <a:gd name="connsiteY11" fmla="*/ 6539 h 10000"/>
              <a:gd name="connsiteX12" fmla="*/ 8195 w 10000"/>
              <a:gd name="connsiteY12" fmla="*/ 6734 h 10000"/>
              <a:gd name="connsiteX13" fmla="*/ 7945 w 10000"/>
              <a:gd name="connsiteY13" fmla="*/ 6932 h 10000"/>
              <a:gd name="connsiteX14" fmla="*/ 7590 w 10000"/>
              <a:gd name="connsiteY14" fmla="*/ 7207 h 10000"/>
              <a:gd name="connsiteX15" fmla="*/ 7214 w 10000"/>
              <a:gd name="connsiteY15" fmla="*/ 7492 h 10000"/>
              <a:gd name="connsiteX16" fmla="*/ 6837 w 10000"/>
              <a:gd name="connsiteY16" fmla="*/ 7758 h 10000"/>
              <a:gd name="connsiteX17" fmla="*/ 6469 w 10000"/>
              <a:gd name="connsiteY17" fmla="*/ 8004 h 10000"/>
              <a:gd name="connsiteX18" fmla="*/ 5973 w 10000"/>
              <a:gd name="connsiteY18" fmla="*/ 8318 h 10000"/>
              <a:gd name="connsiteX19" fmla="*/ 5543 w 10000"/>
              <a:gd name="connsiteY19" fmla="*/ 8575 h 10000"/>
              <a:gd name="connsiteX20" fmla="*/ 5188 w 10000"/>
              <a:gd name="connsiteY20" fmla="*/ 8761 h 10000"/>
              <a:gd name="connsiteX21" fmla="*/ 4793 w 10000"/>
              <a:gd name="connsiteY21" fmla="*/ 8948 h 10000"/>
              <a:gd name="connsiteX22" fmla="*/ 4378 w 10000"/>
              <a:gd name="connsiteY22" fmla="*/ 9125 h 10000"/>
              <a:gd name="connsiteX23" fmla="*/ 3954 w 10000"/>
              <a:gd name="connsiteY23" fmla="*/ 9282 h 10000"/>
              <a:gd name="connsiteX24" fmla="*/ 3373 w 10000"/>
              <a:gd name="connsiteY24" fmla="*/ 9466 h 10000"/>
              <a:gd name="connsiteX25" fmla="*/ 2667 w 10000"/>
              <a:gd name="connsiteY25" fmla="*/ 9645 h 10000"/>
              <a:gd name="connsiteX26" fmla="*/ 2294 w 10000"/>
              <a:gd name="connsiteY26" fmla="*/ 9724 h 10000"/>
              <a:gd name="connsiteX27" fmla="*/ 1536 w 10000"/>
              <a:gd name="connsiteY27" fmla="*/ 9852 h 10000"/>
              <a:gd name="connsiteX28" fmla="*/ 1029 w 10000"/>
              <a:gd name="connsiteY28" fmla="*/ 9920 h 10000"/>
              <a:gd name="connsiteX29" fmla="*/ 572 w 10000"/>
              <a:gd name="connsiteY29" fmla="*/ 9972 h 10000"/>
              <a:gd name="connsiteX30" fmla="*/ 197 w 10000"/>
              <a:gd name="connsiteY30" fmla="*/ 10000 h 10000"/>
              <a:gd name="connsiteX31" fmla="*/ 30 w 10000"/>
              <a:gd name="connsiteY31" fmla="*/ 9999 h 10000"/>
              <a:gd name="connsiteX32" fmla="*/ 22 w 10000"/>
              <a:gd name="connsiteY32" fmla="*/ 9201 h 10000"/>
              <a:gd name="connsiteX33" fmla="*/ 22 w 10000"/>
              <a:gd name="connsiteY33" fmla="*/ 8650 h 10000"/>
              <a:gd name="connsiteX34" fmla="*/ 22 w 10000"/>
              <a:gd name="connsiteY34" fmla="*/ 6880 h 10000"/>
              <a:gd name="connsiteX35" fmla="*/ 21 w 10000"/>
              <a:gd name="connsiteY35" fmla="*/ 4262 h 10000"/>
              <a:gd name="connsiteX36" fmla="*/ 14 w 10000"/>
              <a:gd name="connsiteY36" fmla="*/ 0 h 10000"/>
              <a:gd name="connsiteX0" fmla="*/ 0 w 9979"/>
              <a:gd name="connsiteY0" fmla="*/ 206 h 5944"/>
              <a:gd name="connsiteX1" fmla="*/ 9253 w 9979"/>
              <a:gd name="connsiteY1" fmla="*/ 198 h 5944"/>
              <a:gd name="connsiteX2" fmla="*/ 9482 w 9979"/>
              <a:gd name="connsiteY2" fmla="*/ 436 h 5944"/>
              <a:gd name="connsiteX3" fmla="*/ 9782 w 9979"/>
              <a:gd name="connsiteY3" fmla="*/ 742 h 5944"/>
              <a:gd name="connsiteX4" fmla="*/ 9979 w 9979"/>
              <a:gd name="connsiteY4" fmla="*/ 939 h 5944"/>
              <a:gd name="connsiteX5" fmla="*/ 9828 w 9979"/>
              <a:gd name="connsiteY5" fmla="*/ 1116 h 5944"/>
              <a:gd name="connsiteX6" fmla="*/ 9614 w 9979"/>
              <a:gd name="connsiteY6" fmla="*/ 1343 h 5944"/>
              <a:gd name="connsiteX7" fmla="*/ 9408 w 9979"/>
              <a:gd name="connsiteY7" fmla="*/ 1553 h 5944"/>
              <a:gd name="connsiteX8" fmla="*/ 9150 w 9979"/>
              <a:gd name="connsiteY8" fmla="*/ 1809 h 5944"/>
              <a:gd name="connsiteX9" fmla="*/ 8821 w 9979"/>
              <a:gd name="connsiteY9" fmla="*/ 2107 h 5944"/>
              <a:gd name="connsiteX10" fmla="*/ 8652 w 9979"/>
              <a:gd name="connsiteY10" fmla="*/ 2261 h 5944"/>
              <a:gd name="connsiteX11" fmla="*/ 8397 w 9979"/>
              <a:gd name="connsiteY11" fmla="*/ 2483 h 5944"/>
              <a:gd name="connsiteX12" fmla="*/ 8174 w 9979"/>
              <a:gd name="connsiteY12" fmla="*/ 2678 h 5944"/>
              <a:gd name="connsiteX13" fmla="*/ 7924 w 9979"/>
              <a:gd name="connsiteY13" fmla="*/ 2876 h 5944"/>
              <a:gd name="connsiteX14" fmla="*/ 7569 w 9979"/>
              <a:gd name="connsiteY14" fmla="*/ 3151 h 5944"/>
              <a:gd name="connsiteX15" fmla="*/ 7193 w 9979"/>
              <a:gd name="connsiteY15" fmla="*/ 3436 h 5944"/>
              <a:gd name="connsiteX16" fmla="*/ 6816 w 9979"/>
              <a:gd name="connsiteY16" fmla="*/ 3702 h 5944"/>
              <a:gd name="connsiteX17" fmla="*/ 6448 w 9979"/>
              <a:gd name="connsiteY17" fmla="*/ 3948 h 5944"/>
              <a:gd name="connsiteX18" fmla="*/ 5952 w 9979"/>
              <a:gd name="connsiteY18" fmla="*/ 4262 h 5944"/>
              <a:gd name="connsiteX19" fmla="*/ 5522 w 9979"/>
              <a:gd name="connsiteY19" fmla="*/ 4519 h 5944"/>
              <a:gd name="connsiteX20" fmla="*/ 5167 w 9979"/>
              <a:gd name="connsiteY20" fmla="*/ 4705 h 5944"/>
              <a:gd name="connsiteX21" fmla="*/ 4772 w 9979"/>
              <a:gd name="connsiteY21" fmla="*/ 4892 h 5944"/>
              <a:gd name="connsiteX22" fmla="*/ 4357 w 9979"/>
              <a:gd name="connsiteY22" fmla="*/ 5069 h 5944"/>
              <a:gd name="connsiteX23" fmla="*/ 3933 w 9979"/>
              <a:gd name="connsiteY23" fmla="*/ 5226 h 5944"/>
              <a:gd name="connsiteX24" fmla="*/ 3352 w 9979"/>
              <a:gd name="connsiteY24" fmla="*/ 5410 h 5944"/>
              <a:gd name="connsiteX25" fmla="*/ 2646 w 9979"/>
              <a:gd name="connsiteY25" fmla="*/ 5589 h 5944"/>
              <a:gd name="connsiteX26" fmla="*/ 2273 w 9979"/>
              <a:gd name="connsiteY26" fmla="*/ 5668 h 5944"/>
              <a:gd name="connsiteX27" fmla="*/ 1515 w 9979"/>
              <a:gd name="connsiteY27" fmla="*/ 5796 h 5944"/>
              <a:gd name="connsiteX28" fmla="*/ 1008 w 9979"/>
              <a:gd name="connsiteY28" fmla="*/ 5864 h 5944"/>
              <a:gd name="connsiteX29" fmla="*/ 551 w 9979"/>
              <a:gd name="connsiteY29" fmla="*/ 5916 h 5944"/>
              <a:gd name="connsiteX30" fmla="*/ 176 w 9979"/>
              <a:gd name="connsiteY30" fmla="*/ 5944 h 5944"/>
              <a:gd name="connsiteX31" fmla="*/ 9 w 9979"/>
              <a:gd name="connsiteY31" fmla="*/ 5943 h 5944"/>
              <a:gd name="connsiteX32" fmla="*/ 1 w 9979"/>
              <a:gd name="connsiteY32" fmla="*/ 5145 h 5944"/>
              <a:gd name="connsiteX33" fmla="*/ 1 w 9979"/>
              <a:gd name="connsiteY33" fmla="*/ 4594 h 5944"/>
              <a:gd name="connsiteX34" fmla="*/ 1 w 9979"/>
              <a:gd name="connsiteY34" fmla="*/ 2824 h 5944"/>
              <a:gd name="connsiteX35" fmla="*/ 0 w 9979"/>
              <a:gd name="connsiteY35" fmla="*/ 206 h 5944"/>
              <a:gd name="connsiteX0" fmla="*/ 0 w 10000"/>
              <a:gd name="connsiteY0" fmla="*/ 14 h 9667"/>
              <a:gd name="connsiteX1" fmla="*/ 9272 w 10000"/>
              <a:gd name="connsiteY1" fmla="*/ 0 h 9667"/>
              <a:gd name="connsiteX2" fmla="*/ 9502 w 10000"/>
              <a:gd name="connsiteY2" fmla="*/ 401 h 9667"/>
              <a:gd name="connsiteX3" fmla="*/ 9803 w 10000"/>
              <a:gd name="connsiteY3" fmla="*/ 915 h 9667"/>
              <a:gd name="connsiteX4" fmla="*/ 10000 w 10000"/>
              <a:gd name="connsiteY4" fmla="*/ 1247 h 9667"/>
              <a:gd name="connsiteX5" fmla="*/ 9849 w 10000"/>
              <a:gd name="connsiteY5" fmla="*/ 1545 h 9667"/>
              <a:gd name="connsiteX6" fmla="*/ 9634 w 10000"/>
              <a:gd name="connsiteY6" fmla="*/ 1926 h 9667"/>
              <a:gd name="connsiteX7" fmla="*/ 9428 w 10000"/>
              <a:gd name="connsiteY7" fmla="*/ 2280 h 9667"/>
              <a:gd name="connsiteX8" fmla="*/ 9169 w 10000"/>
              <a:gd name="connsiteY8" fmla="*/ 2710 h 9667"/>
              <a:gd name="connsiteX9" fmla="*/ 8840 w 10000"/>
              <a:gd name="connsiteY9" fmla="*/ 3212 h 9667"/>
              <a:gd name="connsiteX10" fmla="*/ 8670 w 10000"/>
              <a:gd name="connsiteY10" fmla="*/ 3471 h 9667"/>
              <a:gd name="connsiteX11" fmla="*/ 8415 w 10000"/>
              <a:gd name="connsiteY11" fmla="*/ 3844 h 9667"/>
              <a:gd name="connsiteX12" fmla="*/ 8191 w 10000"/>
              <a:gd name="connsiteY12" fmla="*/ 4172 h 9667"/>
              <a:gd name="connsiteX13" fmla="*/ 7941 w 10000"/>
              <a:gd name="connsiteY13" fmla="*/ 4505 h 9667"/>
              <a:gd name="connsiteX14" fmla="*/ 7585 w 10000"/>
              <a:gd name="connsiteY14" fmla="*/ 4968 h 9667"/>
              <a:gd name="connsiteX15" fmla="*/ 7208 w 10000"/>
              <a:gd name="connsiteY15" fmla="*/ 5448 h 9667"/>
              <a:gd name="connsiteX16" fmla="*/ 6830 w 10000"/>
              <a:gd name="connsiteY16" fmla="*/ 5895 h 9667"/>
              <a:gd name="connsiteX17" fmla="*/ 6462 w 10000"/>
              <a:gd name="connsiteY17" fmla="*/ 6309 h 9667"/>
              <a:gd name="connsiteX18" fmla="*/ 5965 w 10000"/>
              <a:gd name="connsiteY18" fmla="*/ 6837 h 9667"/>
              <a:gd name="connsiteX19" fmla="*/ 5534 w 10000"/>
              <a:gd name="connsiteY19" fmla="*/ 7270 h 9667"/>
              <a:gd name="connsiteX20" fmla="*/ 5178 w 10000"/>
              <a:gd name="connsiteY20" fmla="*/ 7583 h 9667"/>
              <a:gd name="connsiteX21" fmla="*/ 4782 w 10000"/>
              <a:gd name="connsiteY21" fmla="*/ 7897 h 9667"/>
              <a:gd name="connsiteX22" fmla="*/ 4366 w 10000"/>
              <a:gd name="connsiteY22" fmla="*/ 8195 h 9667"/>
              <a:gd name="connsiteX23" fmla="*/ 3941 w 10000"/>
              <a:gd name="connsiteY23" fmla="*/ 8459 h 9667"/>
              <a:gd name="connsiteX24" fmla="*/ 3359 w 10000"/>
              <a:gd name="connsiteY24" fmla="*/ 8769 h 9667"/>
              <a:gd name="connsiteX25" fmla="*/ 2652 w 10000"/>
              <a:gd name="connsiteY25" fmla="*/ 9070 h 9667"/>
              <a:gd name="connsiteX26" fmla="*/ 2278 w 10000"/>
              <a:gd name="connsiteY26" fmla="*/ 9203 h 9667"/>
              <a:gd name="connsiteX27" fmla="*/ 1518 w 10000"/>
              <a:gd name="connsiteY27" fmla="*/ 9418 h 9667"/>
              <a:gd name="connsiteX28" fmla="*/ 1010 w 10000"/>
              <a:gd name="connsiteY28" fmla="*/ 9532 h 9667"/>
              <a:gd name="connsiteX29" fmla="*/ 552 w 10000"/>
              <a:gd name="connsiteY29" fmla="*/ 9620 h 9667"/>
              <a:gd name="connsiteX30" fmla="*/ 176 w 10000"/>
              <a:gd name="connsiteY30" fmla="*/ 9667 h 9667"/>
              <a:gd name="connsiteX31" fmla="*/ 9 w 10000"/>
              <a:gd name="connsiteY31" fmla="*/ 9665 h 9667"/>
              <a:gd name="connsiteX32" fmla="*/ 1 w 10000"/>
              <a:gd name="connsiteY32" fmla="*/ 8323 h 9667"/>
              <a:gd name="connsiteX33" fmla="*/ 1 w 10000"/>
              <a:gd name="connsiteY33" fmla="*/ 7396 h 9667"/>
              <a:gd name="connsiteX34" fmla="*/ 1 w 10000"/>
              <a:gd name="connsiteY34" fmla="*/ 4418 h 9667"/>
              <a:gd name="connsiteX35" fmla="*/ 0 w 10000"/>
              <a:gd name="connsiteY35" fmla="*/ 14 h 9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000" h="9667">
                <a:moveTo>
                  <a:pt x="0" y="14"/>
                </a:moveTo>
                <a:lnTo>
                  <a:pt x="9272" y="0"/>
                </a:lnTo>
                <a:lnTo>
                  <a:pt x="9502" y="401"/>
                </a:lnTo>
                <a:cubicBezTo>
                  <a:pt x="9590" y="554"/>
                  <a:pt x="9719" y="774"/>
                  <a:pt x="9803" y="915"/>
                </a:cubicBezTo>
                <a:lnTo>
                  <a:pt x="10000" y="1247"/>
                </a:lnTo>
                <a:cubicBezTo>
                  <a:pt x="10004" y="1227"/>
                  <a:pt x="9910" y="1433"/>
                  <a:pt x="9849" y="1545"/>
                </a:cubicBezTo>
                <a:cubicBezTo>
                  <a:pt x="9788" y="1657"/>
                  <a:pt x="9703" y="1804"/>
                  <a:pt x="9634" y="1926"/>
                </a:cubicBezTo>
                <a:lnTo>
                  <a:pt x="9428" y="2280"/>
                </a:lnTo>
                <a:cubicBezTo>
                  <a:pt x="9350" y="2411"/>
                  <a:pt x="9266" y="2554"/>
                  <a:pt x="9169" y="2710"/>
                </a:cubicBezTo>
                <a:cubicBezTo>
                  <a:pt x="9071" y="2865"/>
                  <a:pt x="8923" y="3086"/>
                  <a:pt x="8840" y="3212"/>
                </a:cubicBezTo>
                <a:cubicBezTo>
                  <a:pt x="8783" y="3298"/>
                  <a:pt x="8727" y="3385"/>
                  <a:pt x="8670" y="3471"/>
                </a:cubicBezTo>
                <a:cubicBezTo>
                  <a:pt x="8600" y="3577"/>
                  <a:pt x="8495" y="3727"/>
                  <a:pt x="8415" y="3844"/>
                </a:cubicBezTo>
                <a:cubicBezTo>
                  <a:pt x="8335" y="3962"/>
                  <a:pt x="8268" y="4063"/>
                  <a:pt x="8191" y="4172"/>
                </a:cubicBezTo>
                <a:cubicBezTo>
                  <a:pt x="8112" y="4283"/>
                  <a:pt x="8042" y="4373"/>
                  <a:pt x="7941" y="4505"/>
                </a:cubicBezTo>
                <a:lnTo>
                  <a:pt x="7585" y="4968"/>
                </a:lnTo>
                <a:cubicBezTo>
                  <a:pt x="7464" y="5126"/>
                  <a:pt x="7334" y="5295"/>
                  <a:pt x="7208" y="5448"/>
                </a:cubicBezTo>
                <a:cubicBezTo>
                  <a:pt x="7082" y="5602"/>
                  <a:pt x="6955" y="5750"/>
                  <a:pt x="6830" y="5895"/>
                </a:cubicBezTo>
                <a:cubicBezTo>
                  <a:pt x="6707" y="6038"/>
                  <a:pt x="6606" y="6151"/>
                  <a:pt x="6462" y="6309"/>
                </a:cubicBezTo>
                <a:lnTo>
                  <a:pt x="5965" y="6837"/>
                </a:lnTo>
                <a:cubicBezTo>
                  <a:pt x="5810" y="6999"/>
                  <a:pt x="5665" y="7145"/>
                  <a:pt x="5534" y="7270"/>
                </a:cubicBezTo>
                <a:cubicBezTo>
                  <a:pt x="5401" y="7392"/>
                  <a:pt x="5303" y="7478"/>
                  <a:pt x="5178" y="7583"/>
                </a:cubicBezTo>
                <a:cubicBezTo>
                  <a:pt x="5053" y="7687"/>
                  <a:pt x="4917" y="7795"/>
                  <a:pt x="4782" y="7897"/>
                </a:cubicBezTo>
                <a:cubicBezTo>
                  <a:pt x="4648" y="8000"/>
                  <a:pt x="4506" y="8101"/>
                  <a:pt x="4366" y="8195"/>
                </a:cubicBezTo>
                <a:cubicBezTo>
                  <a:pt x="4226" y="8289"/>
                  <a:pt x="4110" y="8363"/>
                  <a:pt x="3941" y="8459"/>
                </a:cubicBezTo>
                <a:cubicBezTo>
                  <a:pt x="3774" y="8555"/>
                  <a:pt x="3574" y="8668"/>
                  <a:pt x="3359" y="8769"/>
                </a:cubicBezTo>
                <a:cubicBezTo>
                  <a:pt x="3145" y="8870"/>
                  <a:pt x="2832" y="8997"/>
                  <a:pt x="2652" y="9070"/>
                </a:cubicBezTo>
                <a:cubicBezTo>
                  <a:pt x="2473" y="9142"/>
                  <a:pt x="2467" y="9144"/>
                  <a:pt x="2278" y="9203"/>
                </a:cubicBezTo>
                <a:cubicBezTo>
                  <a:pt x="2087" y="9260"/>
                  <a:pt x="1730" y="9362"/>
                  <a:pt x="1518" y="9418"/>
                </a:cubicBezTo>
                <a:cubicBezTo>
                  <a:pt x="1307" y="9472"/>
                  <a:pt x="1170" y="9499"/>
                  <a:pt x="1010" y="9532"/>
                </a:cubicBezTo>
                <a:cubicBezTo>
                  <a:pt x="849" y="9566"/>
                  <a:pt x="691" y="9598"/>
                  <a:pt x="552" y="9620"/>
                </a:cubicBezTo>
                <a:cubicBezTo>
                  <a:pt x="413" y="9643"/>
                  <a:pt x="260" y="9662"/>
                  <a:pt x="176" y="9667"/>
                </a:cubicBezTo>
                <a:lnTo>
                  <a:pt x="9" y="9665"/>
                </a:lnTo>
                <a:cubicBezTo>
                  <a:pt x="6" y="9218"/>
                  <a:pt x="4" y="8770"/>
                  <a:pt x="1" y="8323"/>
                </a:cubicBezTo>
                <a:cubicBezTo>
                  <a:pt x="-1" y="7944"/>
                  <a:pt x="1" y="8047"/>
                  <a:pt x="1" y="7396"/>
                </a:cubicBezTo>
                <a:lnTo>
                  <a:pt x="1" y="4418"/>
                </a:lnTo>
                <a:cubicBezTo>
                  <a:pt x="2" y="3205"/>
                  <a:pt x="1" y="1943"/>
                  <a:pt x="0" y="14"/>
                </a:cubicBezTo>
                <a:close/>
              </a:path>
            </a:pathLst>
          </a:custGeom>
          <a:no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pic>
        <p:nvPicPr>
          <p:cNvPr id="9" name="Image 8"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10" name="Image 9"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3" name="Tekstvak 2"/>
          <p:cNvSpPr txBox="1"/>
          <p:nvPr userDrawn="1"/>
        </p:nvSpPr>
        <p:spPr>
          <a:xfrm>
            <a:off x="1778000" y="2489200"/>
            <a:ext cx="8422640" cy="1241237"/>
          </a:xfrm>
          <a:prstGeom prst="rect">
            <a:avLst/>
          </a:prstGeom>
          <a:noFill/>
        </p:spPr>
        <p:txBody>
          <a:bodyPr wrap="square" rtlCol="0">
            <a:spAutoFit/>
          </a:bodyPr>
          <a:lstStyle/>
          <a:p>
            <a:pPr algn="ctr"/>
            <a:r>
              <a:rPr lang="fr-FR" sz="3733" b="1">
                <a:latin typeface="Arial" panose="020B0604020202020204" pitchFamily="34" charset="0"/>
                <a:cs typeface="Arial" panose="020B0604020202020204" pitchFamily="34" charset="0"/>
              </a:rPr>
              <a:t>THE BEST OF TECHNOLOGY</a:t>
            </a:r>
            <a:br>
              <a:rPr lang="fr-FR" sz="3733" b="1">
                <a:latin typeface="Arial" panose="020B0604020202020204" pitchFamily="34" charset="0"/>
                <a:cs typeface="Arial" panose="020B0604020202020204" pitchFamily="34" charset="0"/>
              </a:rPr>
            </a:br>
            <a:r>
              <a:rPr lang="fr-FR" sz="3733" b="1">
                <a:solidFill>
                  <a:schemeClr val="accent1"/>
                </a:solidFill>
                <a:latin typeface="Arial" panose="020B0604020202020204" pitchFamily="34" charset="0"/>
                <a:cs typeface="Arial" panose="020B0604020202020204" pitchFamily="34" charset="0"/>
              </a:rPr>
              <a:t>WITH A HUMAN TOUCH</a:t>
            </a:r>
            <a:endParaRPr lang="nl-NL" sz="3733" b="1">
              <a:solidFill>
                <a:schemeClr val="accent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8794941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725184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 name="Rectangle 35"/>
          <p:cNvSpPr/>
          <p:nvPr userDrawn="1"/>
        </p:nvSpPr>
        <p:spPr>
          <a:xfrm>
            <a:off x="-2676" y="-3047"/>
            <a:ext cx="12192000" cy="6858000"/>
          </a:xfrm>
          <a:prstGeom prst="rect">
            <a:avLst/>
          </a:prstGeom>
          <a:gradFill>
            <a:gsLst>
              <a:gs pos="0">
                <a:srgbClr val="032145">
                  <a:lumMod val="75000"/>
                  <a:lumOff val="25000"/>
                  <a:alpha val="40000"/>
                </a:srgbClr>
              </a:gs>
              <a:gs pos="100000">
                <a:srgbClr val="032145">
                  <a:alpha val="86000"/>
                </a:srgbClr>
              </a:gs>
            </a:gsLst>
            <a:path path="circle">
              <a:fillToRect l="50000" t="50000" r="50000" b="50000"/>
            </a:path>
          </a:gradFill>
          <a:ln w="254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Segoe UI"/>
              <a:ea typeface="+mn-ea"/>
              <a:cs typeface="+mn-cs"/>
            </a:endParaRPr>
          </a:p>
        </p:txBody>
      </p:sp>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grpSp>
        <p:nvGrpSpPr>
          <p:cNvPr id="9" name="Group 5"/>
          <p:cNvGrpSpPr>
            <a:grpSpLocks noChangeAspect="1"/>
          </p:cNvGrpSpPr>
          <p:nvPr userDrawn="1"/>
        </p:nvGrpSpPr>
        <p:grpSpPr bwMode="auto">
          <a:xfrm>
            <a:off x="10592180" y="6362050"/>
            <a:ext cx="1291715" cy="333661"/>
            <a:chOff x="4870" y="227"/>
            <a:chExt cx="662" cy="171"/>
          </a:xfrm>
        </p:grpSpPr>
        <p:sp>
          <p:nvSpPr>
            <p:cNvPr id="10"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1"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2"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3"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4"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5"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6"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7"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8"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9"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pic>
        <p:nvPicPr>
          <p:cNvPr id="23" name="Imag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13243" y="375126"/>
            <a:ext cx="4565515" cy="1044997"/>
          </a:xfrm>
          <a:prstGeom prst="rect">
            <a:avLst/>
          </a:prstGeom>
        </p:spPr>
      </p:pic>
      <p:sp>
        <p:nvSpPr>
          <p:cNvPr id="28" name="Forme libre 27"/>
          <p:cNvSpPr/>
          <p:nvPr userDrawn="1"/>
        </p:nvSpPr>
        <p:spPr>
          <a:xfrm>
            <a:off x="2" y="3072651"/>
            <a:ext cx="7728180" cy="2609987"/>
          </a:xfrm>
          <a:custGeom>
            <a:avLst/>
            <a:gdLst>
              <a:gd name="connsiteX0" fmla="*/ 0 w 5299780"/>
              <a:gd name="connsiteY0" fmla="*/ 0 h 1789859"/>
              <a:gd name="connsiteX1" fmla="*/ 4404851 w 5299780"/>
              <a:gd name="connsiteY1" fmla="*/ 0 h 1789859"/>
              <a:gd name="connsiteX2" fmla="*/ 5299780 w 5299780"/>
              <a:gd name="connsiteY2" fmla="*/ 894930 h 1789859"/>
              <a:gd name="connsiteX3" fmla="*/ 4404851 w 5299780"/>
              <a:gd name="connsiteY3" fmla="*/ 1789859 h 1789859"/>
              <a:gd name="connsiteX4" fmla="*/ 0 w 5299780"/>
              <a:gd name="connsiteY4" fmla="*/ 1789859 h 1789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9780" h="1789859">
                <a:moveTo>
                  <a:pt x="0" y="0"/>
                </a:moveTo>
                <a:lnTo>
                  <a:pt x="4404851" y="0"/>
                </a:lnTo>
                <a:cubicBezTo>
                  <a:pt x="4899107" y="0"/>
                  <a:pt x="5299780" y="400673"/>
                  <a:pt x="5299780" y="894930"/>
                </a:cubicBezTo>
                <a:cubicBezTo>
                  <a:pt x="5299780" y="1389186"/>
                  <a:pt x="4899107" y="1789859"/>
                  <a:pt x="4404851" y="1789859"/>
                </a:cubicBezTo>
                <a:lnTo>
                  <a:pt x="0" y="1789859"/>
                </a:lnTo>
                <a:close/>
              </a:path>
            </a:pathLst>
          </a:custGeom>
          <a:gradFill flip="none" rotWithShape="1">
            <a:gsLst>
              <a:gs pos="0">
                <a:schemeClr val="tx2">
                  <a:lumMod val="90000"/>
                  <a:lumOff val="10000"/>
                  <a:alpha val="57000"/>
                </a:schemeClr>
              </a:gs>
              <a:gs pos="100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5" name="Forme libre 24"/>
          <p:cNvSpPr/>
          <p:nvPr userDrawn="1"/>
        </p:nvSpPr>
        <p:spPr>
          <a:xfrm>
            <a:off x="1" y="3525011"/>
            <a:ext cx="7424216" cy="2016224"/>
          </a:xfrm>
          <a:custGeom>
            <a:avLst/>
            <a:gdLst>
              <a:gd name="connsiteX0" fmla="*/ 0 w 5177583"/>
              <a:gd name="connsiteY0" fmla="*/ 0 h 1512168"/>
              <a:gd name="connsiteX1" fmla="*/ 4421499 w 5177583"/>
              <a:gd name="connsiteY1" fmla="*/ 0 h 1512168"/>
              <a:gd name="connsiteX2" fmla="*/ 5177583 w 5177583"/>
              <a:gd name="connsiteY2" fmla="*/ 756084 h 1512168"/>
              <a:gd name="connsiteX3" fmla="*/ 4421499 w 5177583"/>
              <a:gd name="connsiteY3" fmla="*/ 1512168 h 1512168"/>
              <a:gd name="connsiteX4" fmla="*/ 0 w 5177583"/>
              <a:gd name="connsiteY4" fmla="*/ 1512168 h 151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7583" h="1512168">
                <a:moveTo>
                  <a:pt x="0" y="0"/>
                </a:moveTo>
                <a:lnTo>
                  <a:pt x="4421499" y="0"/>
                </a:lnTo>
                <a:cubicBezTo>
                  <a:pt x="4839073" y="0"/>
                  <a:pt x="5177583" y="338510"/>
                  <a:pt x="5177583" y="756084"/>
                </a:cubicBezTo>
                <a:cubicBezTo>
                  <a:pt x="5177583" y="1173658"/>
                  <a:pt x="4839073" y="1512168"/>
                  <a:pt x="4421499" y="1512168"/>
                </a:cubicBezTo>
                <a:lnTo>
                  <a:pt x="0" y="15121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5" name="Titre 4"/>
          <p:cNvSpPr>
            <a:spLocks noGrp="1"/>
          </p:cNvSpPr>
          <p:nvPr>
            <p:ph type="title"/>
          </p:nvPr>
        </p:nvSpPr>
        <p:spPr>
          <a:xfrm>
            <a:off x="214768" y="3621477"/>
            <a:ext cx="6694032" cy="1022580"/>
          </a:xfrm>
          <a:prstGeom prst="rect">
            <a:avLst/>
          </a:prstGeom>
        </p:spPr>
        <p:txBody>
          <a:bodyPr anchor="b">
            <a:noAutofit/>
          </a:bodyPr>
          <a:lstStyle>
            <a:lvl1pPr>
              <a:defRPr sz="3733">
                <a:solidFill>
                  <a:schemeClr val="accent1"/>
                </a:solidFill>
              </a:defRPr>
            </a:lvl1pPr>
          </a:lstStyle>
          <a:p>
            <a:r>
              <a:rPr lang="en-GB" dirty="0"/>
              <a:t>Modifiez le style du titre</a:t>
            </a:r>
          </a:p>
        </p:txBody>
      </p:sp>
      <p:sp>
        <p:nvSpPr>
          <p:cNvPr id="26" name="Ellipse 25"/>
          <p:cNvSpPr/>
          <p:nvPr/>
        </p:nvSpPr>
        <p:spPr>
          <a:xfrm rot="20057793">
            <a:off x="6283262" y="2986485"/>
            <a:ext cx="1340429" cy="134043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fr-FR" sz="2400" dirty="0"/>
          </a:p>
        </p:txBody>
      </p:sp>
      <p:sp>
        <p:nvSpPr>
          <p:cNvPr id="29" name="Oval 5"/>
          <p:cNvSpPr>
            <a:spLocks noChangeArrowheads="1"/>
          </p:cNvSpPr>
          <p:nvPr userDrawn="1"/>
        </p:nvSpPr>
        <p:spPr bwMode="auto">
          <a:xfrm rot="20057793">
            <a:off x="6803877" y="3506199"/>
            <a:ext cx="297547" cy="297548"/>
          </a:xfrm>
          <a:prstGeom prst="ellipse">
            <a:avLst/>
          </a:pr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2" name="Freeform 6"/>
          <p:cNvSpPr>
            <a:spLocks noEditPoints="1"/>
          </p:cNvSpPr>
          <p:nvPr userDrawn="1"/>
        </p:nvSpPr>
        <p:spPr bwMode="auto">
          <a:xfrm rot="20057793">
            <a:off x="6492041" y="3211173"/>
            <a:ext cx="921219" cy="887600"/>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3" name="Freeform 7"/>
          <p:cNvSpPr>
            <a:spLocks noEditPoints="1"/>
          </p:cNvSpPr>
          <p:nvPr userDrawn="1"/>
        </p:nvSpPr>
        <p:spPr bwMode="auto">
          <a:xfrm rot="20057793">
            <a:off x="6599629" y="3301110"/>
            <a:ext cx="706043" cy="70772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4" name="Freeform 8"/>
          <p:cNvSpPr>
            <a:spLocks noEditPoints="1"/>
          </p:cNvSpPr>
          <p:nvPr userDrawn="1"/>
        </p:nvSpPr>
        <p:spPr bwMode="auto">
          <a:xfrm rot="20057793">
            <a:off x="6680810" y="3384786"/>
            <a:ext cx="542140" cy="542983"/>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5" name="Freeform 9"/>
          <p:cNvSpPr>
            <a:spLocks noEditPoints="1"/>
          </p:cNvSpPr>
          <p:nvPr userDrawn="1"/>
        </p:nvSpPr>
        <p:spPr bwMode="auto">
          <a:xfrm rot="20057793">
            <a:off x="6412557" y="3113589"/>
            <a:ext cx="1080919" cy="1084284"/>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4" name="Espace réservé du texte 3"/>
          <p:cNvSpPr>
            <a:spLocks noGrp="1"/>
          </p:cNvSpPr>
          <p:nvPr>
            <p:ph type="body" sz="quarter" idx="10"/>
          </p:nvPr>
        </p:nvSpPr>
        <p:spPr>
          <a:xfrm>
            <a:off x="213784" y="4593698"/>
            <a:ext cx="6695152" cy="912381"/>
          </a:xfrm>
        </p:spPr>
        <p:txBody>
          <a:bodyPr>
            <a:normAutofit/>
          </a:bodyPr>
          <a:lstStyle>
            <a:lvl1pPr marL="0" indent="0" algn="ctr">
              <a:buFontTx/>
              <a:buNone/>
              <a:defRPr sz="2667" b="0">
                <a:solidFill>
                  <a:schemeClr val="tx1"/>
                </a:solidFill>
              </a:defRPr>
            </a:lvl1pPr>
          </a:lstStyle>
          <a:p>
            <a:pPr lvl="0"/>
            <a:endParaRPr lang="en-GB" dirty="0"/>
          </a:p>
        </p:txBody>
      </p:sp>
      <p:sp>
        <p:nvSpPr>
          <p:cNvPr id="6" name="Espace réservé du numéro de diapositive 5"/>
          <p:cNvSpPr>
            <a:spLocks noGrp="1"/>
          </p:cNvSpPr>
          <p:nvPr>
            <p:ph type="sldNum" sz="quarter" idx="12"/>
          </p:nvPr>
        </p:nvSpPr>
        <p:spPr/>
        <p:txBody>
          <a:bodyPr/>
          <a:lstStyle/>
          <a:p>
            <a:fld id="{88A6B057-71F2-43BA-98BD-164F4E914A39}" type="slidenum">
              <a:rPr lang="en-GB" smtClean="0"/>
              <a:pPr/>
              <a:t>‹#›</a:t>
            </a:fld>
            <a:endParaRPr lang="en-GB" dirty="0"/>
          </a:p>
        </p:txBody>
      </p:sp>
    </p:spTree>
    <p:extLst>
      <p:ext uri="{BB962C8B-B14F-4D97-AF65-F5344CB8AC3E}">
        <p14:creationId xmlns:p14="http://schemas.microsoft.com/office/powerpoint/2010/main" val="1884730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6" presetClass="emph" presetSubtype="0" fill="hold" nodeType="withEffect">
                                  <p:stCondLst>
                                    <p:cond delay="0"/>
                                  </p:stCondLst>
                                  <p:childTnLst>
                                    <p:animScale>
                                      <p:cBhvr>
                                        <p:cTn id="9" dur="10" fill="hold"/>
                                        <p:tgtEl>
                                          <p:spTgt spid="23"/>
                                        </p:tgtEl>
                                      </p:cBhvr>
                                      <p:by x="50000" y="50000"/>
                                    </p:animScale>
                                  </p:childTnLst>
                                </p:cTn>
                              </p:par>
                              <p:par>
                                <p:cTn id="10" presetID="6" presetClass="emph" presetSubtype="0" decel="100000" fill="hold" nodeType="withEffect">
                                  <p:stCondLst>
                                    <p:cond delay="0"/>
                                  </p:stCondLst>
                                  <p:childTnLst>
                                    <p:animScale>
                                      <p:cBhvr>
                                        <p:cTn id="11" dur="1000" fill="hold"/>
                                        <p:tgtEl>
                                          <p:spTgt spid="23"/>
                                        </p:tgtEl>
                                      </p:cBhvr>
                                      <p:by x="200000" y="200000"/>
                                    </p:animScale>
                                  </p:childTnLst>
                                </p:cTn>
                              </p:par>
                              <p:par>
                                <p:cTn id="12" presetID="2" presetClass="entr" presetSubtype="8" decel="10000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 calcmode="lin" valueType="num">
                                      <p:cBhvr additive="base">
                                        <p:cTn id="14" dur="500" fill="hold"/>
                                        <p:tgtEl>
                                          <p:spTgt spid="25"/>
                                        </p:tgtEl>
                                        <p:attrNameLst>
                                          <p:attrName>ppt_x</p:attrName>
                                        </p:attrNameLst>
                                      </p:cBhvr>
                                      <p:tavLst>
                                        <p:tav tm="0">
                                          <p:val>
                                            <p:strVal val="0-#ppt_w/2"/>
                                          </p:val>
                                        </p:tav>
                                        <p:tav tm="100000">
                                          <p:val>
                                            <p:strVal val="#ppt_x"/>
                                          </p:val>
                                        </p:tav>
                                      </p:tavLst>
                                    </p:anim>
                                    <p:anim calcmode="lin" valueType="num">
                                      <p:cBhvr additive="base">
                                        <p:cTn id="15" dur="500" fill="hold"/>
                                        <p:tgtEl>
                                          <p:spTgt spid="25"/>
                                        </p:tgtEl>
                                        <p:attrNameLst>
                                          <p:attrName>ppt_y</p:attrName>
                                        </p:attrNameLst>
                                      </p:cBhvr>
                                      <p:tavLst>
                                        <p:tav tm="0">
                                          <p:val>
                                            <p:strVal val="#ppt_y"/>
                                          </p:val>
                                        </p:tav>
                                        <p:tav tm="100000">
                                          <p:val>
                                            <p:strVal val="#ppt_y"/>
                                          </p:val>
                                        </p:tav>
                                      </p:tavLst>
                                    </p:anim>
                                  </p:childTnLst>
                                </p:cTn>
                              </p:par>
                              <p:par>
                                <p:cTn id="16" presetID="2" presetClass="entr" presetSubtype="8" decel="100000" fill="hold" grpId="0" nodeType="withEffect">
                                  <p:stCondLst>
                                    <p:cond delay="100"/>
                                  </p:stCondLst>
                                  <p:childTnLst>
                                    <p:set>
                                      <p:cBhvr>
                                        <p:cTn id="17" dur="1" fill="hold">
                                          <p:stCondLst>
                                            <p:cond delay="0"/>
                                          </p:stCondLst>
                                        </p:cTn>
                                        <p:tgtEl>
                                          <p:spTgt spid="28"/>
                                        </p:tgtEl>
                                        <p:attrNameLst>
                                          <p:attrName>style.visibility</p:attrName>
                                        </p:attrNameLst>
                                      </p:cBhvr>
                                      <p:to>
                                        <p:strVal val="visible"/>
                                      </p:to>
                                    </p:set>
                                    <p:anim calcmode="lin" valueType="num">
                                      <p:cBhvr additive="base">
                                        <p:cTn id="18" dur="500" fill="hold"/>
                                        <p:tgtEl>
                                          <p:spTgt spid="28"/>
                                        </p:tgtEl>
                                        <p:attrNameLst>
                                          <p:attrName>ppt_x</p:attrName>
                                        </p:attrNameLst>
                                      </p:cBhvr>
                                      <p:tavLst>
                                        <p:tav tm="0">
                                          <p:val>
                                            <p:strVal val="0-#ppt_w/2"/>
                                          </p:val>
                                        </p:tav>
                                        <p:tav tm="100000">
                                          <p:val>
                                            <p:strVal val="#ppt_x"/>
                                          </p:val>
                                        </p:tav>
                                      </p:tavLst>
                                    </p:anim>
                                    <p:anim calcmode="lin" valueType="num">
                                      <p:cBhvr additive="base">
                                        <p:cTn id="19" dur="500" fill="hold"/>
                                        <p:tgtEl>
                                          <p:spTgt spid="28"/>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6" presetClass="emph" presetSubtype="0" fill="hold" grpId="1" nodeType="withEffect">
                                  <p:stCondLst>
                                    <p:cond delay="500"/>
                                  </p:stCondLst>
                                  <p:childTnLst>
                                    <p:animScale>
                                      <p:cBhvr>
                                        <p:cTn id="30" dur="10" fill="hold"/>
                                        <p:tgtEl>
                                          <p:spTgt spid="29"/>
                                        </p:tgtEl>
                                      </p:cBhvr>
                                      <p:by x="50000" y="50000"/>
                                    </p:animScale>
                                  </p:childTnLst>
                                </p:cTn>
                              </p:par>
                              <p:par>
                                <p:cTn id="31" presetID="6" presetClass="emph" presetSubtype="0" decel="100000" fill="hold" grpId="2" nodeType="withEffect">
                                  <p:stCondLst>
                                    <p:cond delay="500"/>
                                  </p:stCondLst>
                                  <p:childTnLst>
                                    <p:animScale>
                                      <p:cBhvr>
                                        <p:cTn id="32" dur="1000" fill="hold"/>
                                        <p:tgtEl>
                                          <p:spTgt spid="29"/>
                                        </p:tgtEl>
                                      </p:cBhvr>
                                      <p:by x="200000" y="200000"/>
                                    </p:animScale>
                                  </p:childTnLst>
                                </p:cTn>
                              </p:par>
                              <p:par>
                                <p:cTn id="33" presetID="10" presetClass="entr" presetSubtype="0" fill="hold" grpId="0" nodeType="withEffect">
                                  <p:stCondLst>
                                    <p:cond delay="50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8" presetClass="emph" presetSubtype="0" repeatCount="indefinite" fill="hold" grpId="1" nodeType="withEffect">
                                  <p:stCondLst>
                                    <p:cond delay="500"/>
                                  </p:stCondLst>
                                  <p:childTnLst>
                                    <p:animRot by="-21600000">
                                      <p:cBhvr>
                                        <p:cTn id="37" dur="2000" fill="hold"/>
                                        <p:tgtEl>
                                          <p:spTgt spid="33"/>
                                        </p:tgtEl>
                                        <p:attrNameLst>
                                          <p:attrName>r</p:attrName>
                                        </p:attrNameLst>
                                      </p:cBhvr>
                                    </p:animRot>
                                  </p:childTnLst>
                                </p:cTn>
                              </p:par>
                              <p:par>
                                <p:cTn id="38" presetID="10" presetClass="entr" presetSubtype="0" fill="hold" grpId="0" nodeType="withEffect">
                                  <p:stCondLst>
                                    <p:cond delay="50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8" presetClass="emph" presetSubtype="0" repeatCount="indefinite" fill="hold" grpId="1" nodeType="withEffect">
                                  <p:stCondLst>
                                    <p:cond delay="500"/>
                                  </p:stCondLst>
                                  <p:childTnLst>
                                    <p:animRot by="-21600000">
                                      <p:cBhvr>
                                        <p:cTn id="42" dur="2000" fill="hold"/>
                                        <p:tgtEl>
                                          <p:spTgt spid="35"/>
                                        </p:tgtEl>
                                        <p:attrNameLst>
                                          <p:attrName>r</p:attrName>
                                        </p:attrNameLst>
                                      </p:cBhvr>
                                    </p:animRot>
                                  </p:childTnLst>
                                </p:cTn>
                              </p:par>
                              <p:par>
                                <p:cTn id="43" presetID="10" presetClass="entr" presetSubtype="0" fill="hold" grpId="0" nodeType="withEffect">
                                  <p:stCondLst>
                                    <p:cond delay="500"/>
                                  </p:stCondLst>
                                  <p:childTnLst>
                                    <p:set>
                                      <p:cBhvr>
                                        <p:cTn id="44" dur="1" fill="hold">
                                          <p:stCondLst>
                                            <p:cond delay="0"/>
                                          </p:stCondLst>
                                        </p:cTn>
                                        <p:tgtEl>
                                          <p:spTgt spid="32"/>
                                        </p:tgtEl>
                                        <p:attrNameLst>
                                          <p:attrName>style.visibility</p:attrName>
                                        </p:attrNameLst>
                                      </p:cBhvr>
                                      <p:to>
                                        <p:strVal val="visible"/>
                                      </p:to>
                                    </p:set>
                                    <p:animEffect transition="in" filter="fade">
                                      <p:cBhvr>
                                        <p:cTn id="45" dur="500"/>
                                        <p:tgtEl>
                                          <p:spTgt spid="32"/>
                                        </p:tgtEl>
                                      </p:cBhvr>
                                    </p:animEffect>
                                  </p:childTnLst>
                                </p:cTn>
                              </p:par>
                              <p:par>
                                <p:cTn id="46" presetID="8" presetClass="emph" presetSubtype="0" repeatCount="indefinite" fill="hold" grpId="1" nodeType="withEffect">
                                  <p:stCondLst>
                                    <p:cond delay="500"/>
                                  </p:stCondLst>
                                  <p:childTnLst>
                                    <p:animRot by="21600000">
                                      <p:cBhvr>
                                        <p:cTn id="47" dur="2000" fill="hold"/>
                                        <p:tgtEl>
                                          <p:spTgt spid="32"/>
                                        </p:tgtEl>
                                        <p:attrNameLst>
                                          <p:attrName>r</p:attrName>
                                        </p:attrNameLst>
                                      </p:cBhvr>
                                    </p:animRot>
                                  </p:childTnLst>
                                </p:cTn>
                              </p:par>
                              <p:par>
                                <p:cTn id="48" presetID="10" presetClass="entr" presetSubtype="0" fill="hold" grpId="0" nodeType="withEffect">
                                  <p:stCondLst>
                                    <p:cond delay="50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par>
                                <p:cTn id="51" presetID="8" presetClass="emph" presetSubtype="0" repeatCount="indefinite" fill="hold" grpId="1" nodeType="withEffect">
                                  <p:stCondLst>
                                    <p:cond delay="500"/>
                                  </p:stCondLst>
                                  <p:childTnLst>
                                    <p:animRot by="21600000">
                                      <p:cBhvr>
                                        <p:cTn id="52" dur="2000" fill="hold"/>
                                        <p:tgtEl>
                                          <p:spTgt spid="3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5" grpId="0"/>
      <p:bldP spid="26" grpId="0" animBg="1"/>
      <p:bldP spid="29" grpId="0" animBg="1"/>
      <p:bldP spid="29" grpId="1" animBg="1"/>
      <p:bldP spid="29" grpId="2" animBg="1"/>
      <p:bldP spid="32" grpId="0" animBg="1"/>
      <p:bldP spid="32" grpId="1" animBg="1"/>
      <p:bldP spid="33" grpId="0" animBg="1"/>
      <p:bldP spid="33" grpId="1" animBg="1"/>
      <p:bldP spid="34" grpId="0" animBg="1"/>
      <p:bldP spid="34" grpId="1" animBg="1"/>
      <p:bldP spid="35" grpId="0" animBg="1"/>
      <p:bldP spid="35" grpId="1" animBg="1"/>
    </p:bld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sp>
        <p:nvSpPr>
          <p:cNvPr id="6" name="Titre 5"/>
          <p:cNvSpPr>
            <a:spLocks noGrp="1"/>
          </p:cNvSpPr>
          <p:nvPr>
            <p:ph type="title"/>
          </p:nvPr>
        </p:nvSpPr>
        <p:spPr>
          <a:xfrm>
            <a:off x="838200" y="3653220"/>
            <a:ext cx="10515600" cy="1187457"/>
          </a:xfrm>
          <a:prstGeom prst="rect">
            <a:avLst/>
          </a:prstGeom>
        </p:spPr>
        <p:txBody>
          <a:bodyPr anchor="b">
            <a:normAutofit/>
          </a:bodyPr>
          <a:lstStyle>
            <a:lvl1pPr>
              <a:defRPr sz="3200">
                <a:solidFill>
                  <a:schemeClr val="accent1"/>
                </a:solidFill>
              </a:defRPr>
            </a:lvl1pPr>
          </a:lstStyle>
          <a:p>
            <a:r>
              <a:rPr lang="en-GB" dirty="0"/>
              <a:t>Modifiez le style du titre</a:t>
            </a:r>
          </a:p>
        </p:txBody>
      </p:sp>
      <p:sp>
        <p:nvSpPr>
          <p:cNvPr id="7" name="Rectangle 6"/>
          <p:cNvSpPr/>
          <p:nvPr userDrawn="1"/>
        </p:nvSpPr>
        <p:spPr>
          <a:xfrm>
            <a:off x="-2225" y="606634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grpSp>
        <p:nvGrpSpPr>
          <p:cNvPr id="20" name="Group 5"/>
          <p:cNvGrpSpPr>
            <a:grpSpLocks noChangeAspect="1"/>
          </p:cNvGrpSpPr>
          <p:nvPr userDrawn="1"/>
        </p:nvGrpSpPr>
        <p:grpSpPr bwMode="auto">
          <a:xfrm>
            <a:off x="10592180" y="6362050"/>
            <a:ext cx="1291715" cy="333661"/>
            <a:chOff x="4870" y="227"/>
            <a:chExt cx="662" cy="171"/>
          </a:xfrm>
        </p:grpSpPr>
        <p:sp>
          <p:nvSpPr>
            <p:cNvPr id="21"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2"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3"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4"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5"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6"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7"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8"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9"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30"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sp>
        <p:nvSpPr>
          <p:cNvPr id="3" name="Espace réservé du texte 2"/>
          <p:cNvSpPr>
            <a:spLocks noGrp="1"/>
          </p:cNvSpPr>
          <p:nvPr>
            <p:ph type="body" sz="quarter" idx="11"/>
          </p:nvPr>
        </p:nvSpPr>
        <p:spPr>
          <a:xfrm>
            <a:off x="838200" y="4813583"/>
            <a:ext cx="10543117" cy="983968"/>
          </a:xfrm>
        </p:spPr>
        <p:txBody>
          <a:bodyPr/>
          <a:lstStyle>
            <a:lvl1pPr marL="0" indent="0" algn="ctr">
              <a:buFontTx/>
              <a:buNone/>
              <a:defRPr sz="2400">
                <a:solidFill>
                  <a:schemeClr val="accent2"/>
                </a:solidFill>
              </a:defRPr>
            </a:lvl1pPr>
          </a:lstStyle>
          <a:p>
            <a:pPr lvl="0"/>
            <a:endParaRPr lang="en-GB" dirty="0"/>
          </a:p>
        </p:txBody>
      </p:sp>
      <p:grpSp>
        <p:nvGrpSpPr>
          <p:cNvPr id="19" name="Groupe 18" hidden="1"/>
          <p:cNvGrpSpPr/>
          <p:nvPr userDrawn="1"/>
        </p:nvGrpSpPr>
        <p:grpSpPr>
          <a:xfrm rot="20057793">
            <a:off x="-613277" y="1966879"/>
            <a:ext cx="1226557" cy="1226557"/>
            <a:chOff x="4580002" y="2570126"/>
            <a:chExt cx="439952" cy="439952"/>
          </a:xfrm>
        </p:grpSpPr>
        <p:sp>
          <p:nvSpPr>
            <p:cNvPr id="32" name="Ellipse 31"/>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33"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34"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35"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6"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7"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8"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
        <p:nvSpPr>
          <p:cNvPr id="111" name="Espace réservé pour une image  110"/>
          <p:cNvSpPr>
            <a:spLocks noGrp="1"/>
          </p:cNvSpPr>
          <p:nvPr>
            <p:ph type="pic" sz="quarter" idx="10"/>
          </p:nvPr>
        </p:nvSpPr>
        <p:spPr>
          <a:xfrm>
            <a:off x="0" y="2"/>
            <a:ext cx="12188317" cy="3343148"/>
          </a:xfrm>
          <a:custGeom>
            <a:avLst/>
            <a:gdLst>
              <a:gd name="connsiteX0" fmla="*/ 0 w 9141238"/>
              <a:gd name="connsiteY0" fmla="*/ 0 h 2507361"/>
              <a:gd name="connsiteX1" fmla="*/ 9141238 w 9141238"/>
              <a:gd name="connsiteY1" fmla="*/ 10160 h 2507361"/>
              <a:gd name="connsiteX2" fmla="*/ 9133840 w 9141238"/>
              <a:gd name="connsiteY2" fmla="*/ 2170430 h 2507361"/>
              <a:gd name="connsiteX3" fmla="*/ 2762782 w 9141238"/>
              <a:gd name="connsiteY3" fmla="*/ 2507361 h 2507361"/>
              <a:gd name="connsiteX4" fmla="*/ 2746139 w 9141238"/>
              <a:gd name="connsiteY4" fmla="*/ 2442020 h 2507361"/>
              <a:gd name="connsiteX5" fmla="*/ 2416736 w 9141238"/>
              <a:gd name="connsiteY5" fmla="*/ 2326687 h 2507361"/>
              <a:gd name="connsiteX6" fmla="*/ 2338592 w 9141238"/>
              <a:gd name="connsiteY6" fmla="*/ 2385825 h 2507361"/>
              <a:gd name="connsiteX7" fmla="*/ 2292338 w 9141238"/>
              <a:gd name="connsiteY7" fmla="*/ 2464954 h 2507361"/>
              <a:gd name="connsiteX8" fmla="*/ 454666 w 9141238"/>
              <a:gd name="connsiteY8" fmla="*/ 2041515 h 2507361"/>
              <a:gd name="connsiteX9" fmla="*/ 469157 w 9141238"/>
              <a:gd name="connsiteY9" fmla="*/ 1942001 h 2507361"/>
              <a:gd name="connsiteX10" fmla="*/ 424076 w 9141238"/>
              <a:gd name="connsiteY10" fmla="*/ 1765003 h 2507361"/>
              <a:gd name="connsiteX11" fmla="*/ 75929 w 9141238"/>
              <a:gd name="connsiteY11" fmla="*/ 1509291 h 2507361"/>
              <a:gd name="connsiteX12" fmla="*/ 0 w 9141238"/>
              <a:gd name="connsiteY12" fmla="*/ 1505592 h 2507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1238" h="2507361">
                <a:moveTo>
                  <a:pt x="0" y="0"/>
                </a:moveTo>
                <a:lnTo>
                  <a:pt x="9141238" y="10160"/>
                </a:lnTo>
                <a:lnTo>
                  <a:pt x="9133840" y="2170430"/>
                </a:lnTo>
                <a:lnTo>
                  <a:pt x="2762782" y="2507361"/>
                </a:lnTo>
                <a:lnTo>
                  <a:pt x="2746139" y="2442020"/>
                </a:lnTo>
                <a:cubicBezTo>
                  <a:pt x="2687025" y="2319210"/>
                  <a:pt x="2539547" y="2267574"/>
                  <a:pt x="2416736" y="2326687"/>
                </a:cubicBezTo>
                <a:cubicBezTo>
                  <a:pt x="2386034" y="2341466"/>
                  <a:pt x="2359780" y="2361767"/>
                  <a:pt x="2338592" y="2385825"/>
                </a:cubicBezTo>
                <a:lnTo>
                  <a:pt x="2292338" y="2464954"/>
                </a:lnTo>
                <a:lnTo>
                  <a:pt x="454666" y="2041515"/>
                </a:lnTo>
                <a:lnTo>
                  <a:pt x="469157" y="1942001"/>
                </a:lnTo>
                <a:cubicBezTo>
                  <a:pt x="466262" y="1882322"/>
                  <a:pt x="451619" y="1822226"/>
                  <a:pt x="424076" y="1765003"/>
                </a:cubicBezTo>
                <a:cubicBezTo>
                  <a:pt x="355216" y="1621945"/>
                  <a:pt x="222023" y="1530705"/>
                  <a:pt x="75929" y="1509291"/>
                </a:cubicBezTo>
                <a:lnTo>
                  <a:pt x="0" y="1505592"/>
                </a:lnTo>
                <a:close/>
              </a:path>
            </a:pathLst>
          </a:custGeom>
          <a:solidFill>
            <a:schemeClr val="bg1">
              <a:lumMod val="95000"/>
            </a:schemeClr>
          </a:solidFill>
        </p:spPr>
        <p:txBody>
          <a:bodyPr wrap="square">
            <a:noAutofit/>
          </a:bodyPr>
          <a:lstStyle>
            <a:lvl1pPr>
              <a:defRPr>
                <a:noFill/>
              </a:defRPr>
            </a:lvl1pPr>
          </a:lstStyle>
          <a:p>
            <a:endParaRPr lang="en-GB"/>
          </a:p>
        </p:txBody>
      </p:sp>
      <p:grpSp>
        <p:nvGrpSpPr>
          <p:cNvPr id="94" name="Groupe 93"/>
          <p:cNvGrpSpPr/>
          <p:nvPr userDrawn="1"/>
        </p:nvGrpSpPr>
        <p:grpSpPr>
          <a:xfrm rot="20057793">
            <a:off x="3035980" y="3068823"/>
            <a:ext cx="658099" cy="658099"/>
            <a:chOff x="4580002" y="2570126"/>
            <a:chExt cx="439952" cy="439952"/>
          </a:xfrm>
        </p:grpSpPr>
        <p:sp>
          <p:nvSpPr>
            <p:cNvPr id="95" name="Ellipse 94"/>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96"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97"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98"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9"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0"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1"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102" name="Groupe 101"/>
          <p:cNvGrpSpPr/>
          <p:nvPr userDrawn="1"/>
        </p:nvGrpSpPr>
        <p:grpSpPr>
          <a:xfrm rot="20057793">
            <a:off x="-600439" y="2005178"/>
            <a:ext cx="1226557" cy="1226557"/>
            <a:chOff x="4580002" y="2570126"/>
            <a:chExt cx="439952" cy="439952"/>
          </a:xfrm>
        </p:grpSpPr>
        <p:sp>
          <p:nvSpPr>
            <p:cNvPr id="103" name="Ellipse 102"/>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104"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105"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106"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7"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8"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9"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Tree>
    <p:extLst>
      <p:ext uri="{BB962C8B-B14F-4D97-AF65-F5344CB8AC3E}">
        <p14:creationId xmlns:p14="http://schemas.microsoft.com/office/powerpoint/2010/main" val="404042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2"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3"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4"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5" name="Rectangle 14"/>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6"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Espace réservé du contenu 2"/>
          <p:cNvSpPr>
            <a:spLocks noGrp="1"/>
          </p:cNvSpPr>
          <p:nvPr>
            <p:ph idx="1" hasCustomPrompt="1"/>
          </p:nvPr>
        </p:nvSpPr>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783223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4000" fill="hold"/>
                                        <p:tgtEl>
                                          <p:spTgt spid="14"/>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4000" fill="hold"/>
                                        <p:tgtEl>
                                          <p:spTgt spid="12"/>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4000" fill="hold"/>
                                        <p:tgtEl>
                                          <p:spTgt spid="1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6" grpId="0" animBg="1"/>
    </p:bld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content &amp; image">
    <p:spTree>
      <p:nvGrpSpPr>
        <p:cNvPr id="1" name=""/>
        <p:cNvGrpSpPr/>
        <p:nvPr/>
      </p:nvGrpSpPr>
      <p:grpSpPr>
        <a:xfrm>
          <a:off x="0" y="0"/>
          <a:ext cx="0" cy="0"/>
          <a:chOff x="0" y="0"/>
          <a:chExt cx="0" cy="0"/>
        </a:xfrm>
      </p:grpSpPr>
      <p:sp>
        <p:nvSpPr>
          <p:cNvPr id="13"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4"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6"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7" name="Rectangle 16"/>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8"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Content Placeholder 2"/>
          <p:cNvSpPr>
            <a:spLocks noGrp="1"/>
          </p:cNvSpPr>
          <p:nvPr>
            <p:ph idx="1" hasCustomPrompt="1"/>
          </p:nvPr>
        </p:nvSpPr>
        <p:spPr>
          <a:xfrm>
            <a:off x="363166" y="1600202"/>
            <a:ext cx="5556725" cy="4325076"/>
          </a:xfrm>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15" name="Picture Placeholder 6"/>
          <p:cNvSpPr>
            <a:spLocks noGrp="1"/>
          </p:cNvSpPr>
          <p:nvPr>
            <p:ph type="pic" sz="quarter" idx="10"/>
          </p:nvPr>
        </p:nvSpPr>
        <p:spPr>
          <a:xfrm>
            <a:off x="6286364" y="1600202"/>
            <a:ext cx="5556725" cy="4325076"/>
          </a:xfrm>
          <a:prstGeom prst="roundRect">
            <a:avLst>
              <a:gd name="adj" fmla="val 1452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
        <p:nvSpPr>
          <p:cNvPr id="5" name="Espace réservé du pied de page 4"/>
          <p:cNvSpPr>
            <a:spLocks noGrp="1"/>
          </p:cNvSpPr>
          <p:nvPr>
            <p:ph type="ftr" sz="quarter" idx="1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160526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lue background">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2" name="Espace réservé du contenu 2"/>
          <p:cNvSpPr>
            <a:spLocks noGrp="1"/>
          </p:cNvSpPr>
          <p:nvPr>
            <p:ph idx="1" hasCustomPrompt="1"/>
          </p:nvPr>
        </p:nvSpPr>
        <p:spPr>
          <a:xfrm>
            <a:off x="363166" y="1600202"/>
            <a:ext cx="11465668" cy="43250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3" name="Espace réservé du pied de page 2"/>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254312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Infographic">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cxnSp>
        <p:nvCxnSpPr>
          <p:cNvPr id="42" name="Connecteur droit 41"/>
          <p:cNvCxnSpPr/>
          <p:nvPr/>
        </p:nvCxnSpPr>
        <p:spPr>
          <a:xfrm flipV="1">
            <a:off x="6607132" y="2956097"/>
            <a:ext cx="451565" cy="187894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3" name="Connecteur droit 42"/>
          <p:cNvCxnSpPr/>
          <p:nvPr/>
        </p:nvCxnSpPr>
        <p:spPr>
          <a:xfrm flipV="1">
            <a:off x="736367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4" name="Connecteur droit 43"/>
          <p:cNvCxnSpPr/>
          <p:nvPr/>
        </p:nvCxnSpPr>
        <p:spPr>
          <a:xfrm flipV="1">
            <a:off x="818896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45" name="Groupe 44"/>
          <p:cNvGrpSpPr/>
          <p:nvPr/>
        </p:nvGrpSpPr>
        <p:grpSpPr>
          <a:xfrm>
            <a:off x="6851684" y="2303473"/>
            <a:ext cx="611509" cy="611507"/>
            <a:chOff x="129161" y="1153251"/>
            <a:chExt cx="458632" cy="458630"/>
          </a:xfrm>
        </p:grpSpPr>
        <p:grpSp>
          <p:nvGrpSpPr>
            <p:cNvPr id="58" name="Groupe 57"/>
            <p:cNvGrpSpPr/>
            <p:nvPr/>
          </p:nvGrpSpPr>
          <p:grpSpPr>
            <a:xfrm>
              <a:off x="129161" y="1153251"/>
              <a:ext cx="458632" cy="458630"/>
              <a:chOff x="2984203" y="2099374"/>
              <a:chExt cx="313070" cy="313070"/>
            </a:xfrm>
          </p:grpSpPr>
          <p:sp>
            <p:nvSpPr>
              <p:cNvPr id="60" name="Ellipse 5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1" name="Ellipse 6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2" name="Ellipse 6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6" name="Groupe 45"/>
          <p:cNvGrpSpPr/>
          <p:nvPr/>
        </p:nvGrpSpPr>
        <p:grpSpPr>
          <a:xfrm>
            <a:off x="8617758" y="2162173"/>
            <a:ext cx="611509" cy="611507"/>
            <a:chOff x="129161" y="1153251"/>
            <a:chExt cx="458632" cy="458630"/>
          </a:xfrm>
        </p:grpSpPr>
        <p:grpSp>
          <p:nvGrpSpPr>
            <p:cNvPr id="53" name="Groupe 52"/>
            <p:cNvGrpSpPr/>
            <p:nvPr/>
          </p:nvGrpSpPr>
          <p:grpSpPr>
            <a:xfrm>
              <a:off x="129161" y="1153251"/>
              <a:ext cx="458632" cy="458630"/>
              <a:chOff x="2984203" y="2099374"/>
              <a:chExt cx="313070" cy="313070"/>
            </a:xfrm>
          </p:grpSpPr>
          <p:sp>
            <p:nvSpPr>
              <p:cNvPr id="55" name="Ellipse 54"/>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6" name="Ellipse 55"/>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7" name="Ellipse 56"/>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4"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7" name="Groupe 46"/>
          <p:cNvGrpSpPr/>
          <p:nvPr/>
        </p:nvGrpSpPr>
        <p:grpSpPr>
          <a:xfrm>
            <a:off x="8694859" y="4034813"/>
            <a:ext cx="611509" cy="611507"/>
            <a:chOff x="129161" y="1153251"/>
            <a:chExt cx="458632" cy="458630"/>
          </a:xfrm>
        </p:grpSpPr>
        <p:grpSp>
          <p:nvGrpSpPr>
            <p:cNvPr id="48" name="Groupe 47"/>
            <p:cNvGrpSpPr/>
            <p:nvPr/>
          </p:nvGrpSpPr>
          <p:grpSpPr>
            <a:xfrm>
              <a:off x="129161" y="1153251"/>
              <a:ext cx="458632" cy="458630"/>
              <a:chOff x="2984203" y="2099374"/>
              <a:chExt cx="313070" cy="313070"/>
            </a:xfrm>
          </p:grpSpPr>
          <p:sp>
            <p:nvSpPr>
              <p:cNvPr id="50" name="Ellipse 4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1" name="Ellipse 5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2" name="Ellipse 5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ndParaRPr>
              </a:p>
            </p:txBody>
          </p:sp>
        </p:grpSp>
        <p:sp>
          <p:nvSpPr>
            <p:cNvPr id="4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cxnSp>
        <p:nvCxnSpPr>
          <p:cNvPr id="20" name="Connecteur droit 19"/>
          <p:cNvCxnSpPr/>
          <p:nvPr/>
        </p:nvCxnSpPr>
        <p:spPr>
          <a:xfrm flipH="1" flipV="1">
            <a:off x="5221770" y="3792119"/>
            <a:ext cx="250645" cy="1042925"/>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2" name="Connecteur droit 21"/>
          <p:cNvCxnSpPr/>
          <p:nvPr/>
        </p:nvCxnSpPr>
        <p:spPr>
          <a:xfrm flipH="1" flipV="1">
            <a:off x="334163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3" name="Connecteur droit 22"/>
          <p:cNvCxnSpPr/>
          <p:nvPr/>
        </p:nvCxnSpPr>
        <p:spPr>
          <a:xfrm flipH="1" flipV="1">
            <a:off x="337611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4" name="Groupe 23"/>
          <p:cNvGrpSpPr/>
          <p:nvPr/>
        </p:nvGrpSpPr>
        <p:grpSpPr>
          <a:xfrm flipH="1">
            <a:off x="4823371" y="3159646"/>
            <a:ext cx="611509" cy="611507"/>
            <a:chOff x="129161" y="1153251"/>
            <a:chExt cx="458632" cy="458630"/>
          </a:xfrm>
        </p:grpSpPr>
        <p:grpSp>
          <p:nvGrpSpPr>
            <p:cNvPr id="37" name="Groupe 36"/>
            <p:cNvGrpSpPr/>
            <p:nvPr/>
          </p:nvGrpSpPr>
          <p:grpSpPr>
            <a:xfrm>
              <a:off x="129161" y="1153251"/>
              <a:ext cx="458632" cy="458630"/>
              <a:chOff x="2984203" y="2099374"/>
              <a:chExt cx="313070" cy="313070"/>
            </a:xfrm>
          </p:grpSpPr>
          <p:sp>
            <p:nvSpPr>
              <p:cNvPr id="39" name="Ellipse 3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0" name="Ellipse 3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1" name="Ellipse 4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5" name="Groupe 24"/>
          <p:cNvGrpSpPr/>
          <p:nvPr/>
        </p:nvGrpSpPr>
        <p:grpSpPr>
          <a:xfrm flipH="1">
            <a:off x="2850280" y="2162173"/>
            <a:ext cx="611509" cy="611507"/>
            <a:chOff x="129161" y="1153251"/>
            <a:chExt cx="458632" cy="458630"/>
          </a:xfrm>
        </p:grpSpPr>
        <p:grpSp>
          <p:nvGrpSpPr>
            <p:cNvPr id="32" name="Groupe 31"/>
            <p:cNvGrpSpPr/>
            <p:nvPr/>
          </p:nvGrpSpPr>
          <p:grpSpPr>
            <a:xfrm>
              <a:off x="129161" y="1153251"/>
              <a:ext cx="458632" cy="458630"/>
              <a:chOff x="2984203" y="2099374"/>
              <a:chExt cx="313070" cy="313070"/>
            </a:xfrm>
          </p:grpSpPr>
          <p:sp>
            <p:nvSpPr>
              <p:cNvPr id="34" name="Ellipse 33"/>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5" name="Ellipse 34"/>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6" name="Ellipse 35"/>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3"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6" name="Groupe 25"/>
          <p:cNvGrpSpPr/>
          <p:nvPr/>
        </p:nvGrpSpPr>
        <p:grpSpPr>
          <a:xfrm flipH="1">
            <a:off x="2773179" y="4034813"/>
            <a:ext cx="611509" cy="611507"/>
            <a:chOff x="129161" y="1153251"/>
            <a:chExt cx="458632" cy="458630"/>
          </a:xfrm>
        </p:grpSpPr>
        <p:grpSp>
          <p:nvGrpSpPr>
            <p:cNvPr id="27" name="Groupe 26"/>
            <p:cNvGrpSpPr/>
            <p:nvPr/>
          </p:nvGrpSpPr>
          <p:grpSpPr>
            <a:xfrm>
              <a:off x="129161" y="1153251"/>
              <a:ext cx="458632" cy="458630"/>
              <a:chOff x="2984203" y="2099374"/>
              <a:chExt cx="313070" cy="313070"/>
            </a:xfrm>
          </p:grpSpPr>
          <p:sp>
            <p:nvSpPr>
              <p:cNvPr id="29" name="Ellipse 2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0" name="Ellipse 2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1" name="Ellipse 3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2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 name="Espace réservé du texte 4"/>
          <p:cNvSpPr>
            <a:spLocks noGrp="1"/>
          </p:cNvSpPr>
          <p:nvPr>
            <p:ph type="body" sz="quarter" idx="10" hasCustomPrompt="1"/>
          </p:nvPr>
        </p:nvSpPr>
        <p:spPr>
          <a:xfrm>
            <a:off x="363166" y="4007076"/>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4" name="Espace réservé du texte 4"/>
          <p:cNvSpPr>
            <a:spLocks noGrp="1"/>
          </p:cNvSpPr>
          <p:nvPr>
            <p:ph type="body" sz="quarter" idx="11" hasCustomPrompt="1"/>
          </p:nvPr>
        </p:nvSpPr>
        <p:spPr>
          <a:xfrm>
            <a:off x="9313386" y="400707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5" name="Espace réservé du texte 4"/>
          <p:cNvSpPr>
            <a:spLocks noGrp="1"/>
          </p:cNvSpPr>
          <p:nvPr>
            <p:ph type="body" sz="quarter" idx="12" hasCustomPrompt="1"/>
          </p:nvPr>
        </p:nvSpPr>
        <p:spPr>
          <a:xfrm>
            <a:off x="9249903" y="213443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6" name="Espace réservé du texte 4"/>
          <p:cNvSpPr>
            <a:spLocks noGrp="1"/>
          </p:cNvSpPr>
          <p:nvPr>
            <p:ph type="body" sz="quarter" idx="13" hasCustomPrompt="1"/>
          </p:nvPr>
        </p:nvSpPr>
        <p:spPr>
          <a:xfrm>
            <a:off x="5914230" y="15844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7" name="Espace réservé du texte 4"/>
          <p:cNvSpPr>
            <a:spLocks noGrp="1"/>
          </p:cNvSpPr>
          <p:nvPr>
            <p:ph type="body" sz="quarter" idx="14" hasCustomPrompt="1"/>
          </p:nvPr>
        </p:nvSpPr>
        <p:spPr>
          <a:xfrm>
            <a:off x="3873917" y="24668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8" name="Espace réservé du texte 4"/>
          <p:cNvSpPr>
            <a:spLocks noGrp="1"/>
          </p:cNvSpPr>
          <p:nvPr>
            <p:ph type="body" sz="quarter" idx="15" hasCustomPrompt="1"/>
          </p:nvPr>
        </p:nvSpPr>
        <p:spPr>
          <a:xfrm>
            <a:off x="423687" y="2141064"/>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grpSp>
        <p:nvGrpSpPr>
          <p:cNvPr id="69" name="Groupe 68"/>
          <p:cNvGrpSpPr/>
          <p:nvPr userDrawn="1"/>
        </p:nvGrpSpPr>
        <p:grpSpPr>
          <a:xfrm>
            <a:off x="3752428" y="4737046"/>
            <a:ext cx="4687147" cy="1004381"/>
            <a:chOff x="2814321" y="3552784"/>
            <a:chExt cx="3515360" cy="753286"/>
          </a:xfrm>
        </p:grpSpPr>
        <p:sp>
          <p:nvSpPr>
            <p:cNvPr id="71" name="Rectangle à coins arrondis 3"/>
            <p:cNvSpPr/>
            <p:nvPr/>
          </p:nvSpPr>
          <p:spPr>
            <a:xfrm>
              <a:off x="2814321" y="3552784"/>
              <a:ext cx="3515360" cy="75328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pic>
          <p:nvPicPr>
            <p:cNvPr id="72" name="Image 7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04723" y="3678199"/>
              <a:ext cx="2530712" cy="462756"/>
            </a:xfrm>
            <a:prstGeom prst="rect">
              <a:avLst/>
            </a:prstGeom>
          </p:spPr>
        </p:pic>
      </p:grpSp>
      <p:sp>
        <p:nvSpPr>
          <p:cNvPr id="3" name="Espace réservé du pied de page 2"/>
          <p:cNvSpPr>
            <a:spLocks noGrp="1"/>
          </p:cNvSpPr>
          <p:nvPr>
            <p:ph type="ftr" sz="quarter" idx="16"/>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879605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6" presetClass="emph" presetSubtype="0" fill="hold" nodeType="withEffect">
                                  <p:stCondLst>
                                    <p:cond delay="0"/>
                                  </p:stCondLst>
                                  <p:childTnLst>
                                    <p:animScale>
                                      <p:cBhvr>
                                        <p:cTn id="9" dur="10" fill="hold"/>
                                        <p:tgtEl>
                                          <p:spTgt spid="69"/>
                                        </p:tgtEl>
                                      </p:cBhvr>
                                      <p:by x="50000" y="50000"/>
                                    </p:animScale>
                                  </p:childTnLst>
                                </p:cTn>
                              </p:par>
                              <p:par>
                                <p:cTn id="10" presetID="6" presetClass="emph" presetSubtype="0" decel="100000" fill="hold" nodeType="withEffect">
                                  <p:stCondLst>
                                    <p:cond delay="0"/>
                                  </p:stCondLst>
                                  <p:childTnLst>
                                    <p:animScale>
                                      <p:cBhvr>
                                        <p:cTn id="11" dur="1000" fill="hold"/>
                                        <p:tgtEl>
                                          <p:spTgt spid="69"/>
                                        </p:tgtEl>
                                      </p:cBhvr>
                                      <p:by x="200000" y="200000"/>
                                    </p:animScale>
                                  </p:childTnLst>
                                </p:cTn>
                              </p:par>
                              <p:par>
                                <p:cTn id="12" presetID="22" presetClass="entr" presetSubtype="4" fill="hold" nodeType="withEffect">
                                  <p:stCondLst>
                                    <p:cond delay="500"/>
                                  </p:stCondLst>
                                  <p:childTnLst>
                                    <p:set>
                                      <p:cBhvr>
                                        <p:cTn id="13" dur="1" fill="hold">
                                          <p:stCondLst>
                                            <p:cond delay="0"/>
                                          </p:stCondLst>
                                        </p:cTn>
                                        <p:tgtEl>
                                          <p:spTgt spid="23"/>
                                        </p:tgtEl>
                                        <p:attrNameLst>
                                          <p:attrName>style.visibility</p:attrName>
                                        </p:attrNameLst>
                                      </p:cBhvr>
                                      <p:to>
                                        <p:strVal val="visible"/>
                                      </p:to>
                                    </p:set>
                                    <p:animEffect transition="in" filter="wipe(down)">
                                      <p:cBhvr>
                                        <p:cTn id="14" dur="500"/>
                                        <p:tgtEl>
                                          <p:spTgt spid="23"/>
                                        </p:tgtEl>
                                      </p:cBhvr>
                                    </p:animEffect>
                                  </p:childTnLst>
                                </p:cTn>
                              </p:par>
                              <p:par>
                                <p:cTn id="15" presetID="22" presetClass="entr" presetSubtype="4" fill="hold" nodeType="withEffect">
                                  <p:stCondLst>
                                    <p:cond delay="600"/>
                                  </p:stCondLst>
                                  <p:childTnLst>
                                    <p:set>
                                      <p:cBhvr>
                                        <p:cTn id="16" dur="1" fill="hold">
                                          <p:stCondLst>
                                            <p:cond delay="0"/>
                                          </p:stCondLst>
                                        </p:cTn>
                                        <p:tgtEl>
                                          <p:spTgt spid="22"/>
                                        </p:tgtEl>
                                        <p:attrNameLst>
                                          <p:attrName>style.visibility</p:attrName>
                                        </p:attrNameLst>
                                      </p:cBhvr>
                                      <p:to>
                                        <p:strVal val="visible"/>
                                      </p:to>
                                    </p:set>
                                    <p:animEffect transition="in" filter="wipe(down)">
                                      <p:cBhvr>
                                        <p:cTn id="17" dur="500"/>
                                        <p:tgtEl>
                                          <p:spTgt spid="22"/>
                                        </p:tgtEl>
                                      </p:cBhvr>
                                    </p:animEffect>
                                  </p:childTnLst>
                                </p:cTn>
                              </p:par>
                              <p:par>
                                <p:cTn id="18" presetID="22" presetClass="entr" presetSubtype="4" fill="hold" nodeType="withEffect">
                                  <p:stCondLst>
                                    <p:cond delay="700"/>
                                  </p:stCondLst>
                                  <p:childTnLst>
                                    <p:set>
                                      <p:cBhvr>
                                        <p:cTn id="19" dur="1" fill="hold">
                                          <p:stCondLst>
                                            <p:cond delay="0"/>
                                          </p:stCondLst>
                                        </p:cTn>
                                        <p:tgtEl>
                                          <p:spTgt spid="20"/>
                                        </p:tgtEl>
                                        <p:attrNameLst>
                                          <p:attrName>style.visibility</p:attrName>
                                        </p:attrNameLst>
                                      </p:cBhvr>
                                      <p:to>
                                        <p:strVal val="visible"/>
                                      </p:to>
                                    </p:set>
                                    <p:animEffect transition="in" filter="wipe(down)">
                                      <p:cBhvr>
                                        <p:cTn id="20" dur="500"/>
                                        <p:tgtEl>
                                          <p:spTgt spid="20"/>
                                        </p:tgtEl>
                                      </p:cBhvr>
                                    </p:animEffect>
                                  </p:childTnLst>
                                </p:cTn>
                              </p:par>
                              <p:par>
                                <p:cTn id="21" presetID="22" presetClass="entr" presetSubtype="4" fill="hold" nodeType="withEffect">
                                  <p:stCondLst>
                                    <p:cond delay="800"/>
                                  </p:stCondLst>
                                  <p:childTnLst>
                                    <p:set>
                                      <p:cBhvr>
                                        <p:cTn id="22" dur="1" fill="hold">
                                          <p:stCondLst>
                                            <p:cond delay="0"/>
                                          </p:stCondLst>
                                        </p:cTn>
                                        <p:tgtEl>
                                          <p:spTgt spid="42"/>
                                        </p:tgtEl>
                                        <p:attrNameLst>
                                          <p:attrName>style.visibility</p:attrName>
                                        </p:attrNameLst>
                                      </p:cBhvr>
                                      <p:to>
                                        <p:strVal val="visible"/>
                                      </p:to>
                                    </p:set>
                                    <p:animEffect transition="in" filter="wipe(down)">
                                      <p:cBhvr>
                                        <p:cTn id="23" dur="500"/>
                                        <p:tgtEl>
                                          <p:spTgt spid="42"/>
                                        </p:tgtEl>
                                      </p:cBhvr>
                                    </p:animEffect>
                                  </p:childTnLst>
                                </p:cTn>
                              </p:par>
                              <p:par>
                                <p:cTn id="24" presetID="22" presetClass="entr" presetSubtype="4" fill="hold" nodeType="withEffect">
                                  <p:stCondLst>
                                    <p:cond delay="900"/>
                                  </p:stCondLst>
                                  <p:childTnLst>
                                    <p:set>
                                      <p:cBhvr>
                                        <p:cTn id="25" dur="1" fill="hold">
                                          <p:stCondLst>
                                            <p:cond delay="0"/>
                                          </p:stCondLst>
                                        </p:cTn>
                                        <p:tgtEl>
                                          <p:spTgt spid="43"/>
                                        </p:tgtEl>
                                        <p:attrNameLst>
                                          <p:attrName>style.visibility</p:attrName>
                                        </p:attrNameLst>
                                      </p:cBhvr>
                                      <p:to>
                                        <p:strVal val="visible"/>
                                      </p:to>
                                    </p:set>
                                    <p:animEffect transition="in" filter="wipe(down)">
                                      <p:cBhvr>
                                        <p:cTn id="26" dur="500"/>
                                        <p:tgtEl>
                                          <p:spTgt spid="43"/>
                                        </p:tgtEl>
                                      </p:cBhvr>
                                    </p:animEffect>
                                  </p:childTnLst>
                                </p:cTn>
                              </p:par>
                              <p:par>
                                <p:cTn id="27" presetID="22" presetClass="entr" presetSubtype="4" fill="hold" nodeType="withEffect">
                                  <p:stCondLst>
                                    <p:cond delay="1000"/>
                                  </p:stCondLst>
                                  <p:childTnLst>
                                    <p:set>
                                      <p:cBhvr>
                                        <p:cTn id="28" dur="1" fill="hold">
                                          <p:stCondLst>
                                            <p:cond delay="0"/>
                                          </p:stCondLst>
                                        </p:cTn>
                                        <p:tgtEl>
                                          <p:spTgt spid="44"/>
                                        </p:tgtEl>
                                        <p:attrNameLst>
                                          <p:attrName>style.visibility</p:attrName>
                                        </p:attrNameLst>
                                      </p:cBhvr>
                                      <p:to>
                                        <p:strVal val="visible"/>
                                      </p:to>
                                    </p:set>
                                    <p:animEffect transition="in" filter="wipe(down)">
                                      <p:cBhvr>
                                        <p:cTn id="29" dur="500"/>
                                        <p:tgtEl>
                                          <p:spTgt spid="44"/>
                                        </p:tgtEl>
                                      </p:cBhvr>
                                    </p:animEffect>
                                  </p:childTnLst>
                                </p:cTn>
                              </p:par>
                              <p:par>
                                <p:cTn id="30" presetID="53" presetClass="entr" presetSubtype="16" fill="hold" nodeType="withEffect">
                                  <p:stCondLst>
                                    <p:cond delay="75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par>
                                <p:cTn id="35" presetID="53" presetClass="entr" presetSubtype="16" fill="hold" nodeType="withEffect">
                                  <p:stCondLst>
                                    <p:cond delay="850"/>
                                  </p:stCondLst>
                                  <p:childTnLst>
                                    <p:set>
                                      <p:cBhvr>
                                        <p:cTn id="36" dur="1" fill="hold">
                                          <p:stCondLst>
                                            <p:cond delay="0"/>
                                          </p:stCondLst>
                                        </p:cTn>
                                        <p:tgtEl>
                                          <p:spTgt spid="25"/>
                                        </p:tgtEl>
                                        <p:attrNameLst>
                                          <p:attrName>style.visibility</p:attrName>
                                        </p:attrNameLst>
                                      </p:cBhvr>
                                      <p:to>
                                        <p:strVal val="visible"/>
                                      </p:to>
                                    </p:set>
                                    <p:anim calcmode="lin" valueType="num">
                                      <p:cBhvr>
                                        <p:cTn id="37" dur="500" fill="hold"/>
                                        <p:tgtEl>
                                          <p:spTgt spid="25"/>
                                        </p:tgtEl>
                                        <p:attrNameLst>
                                          <p:attrName>ppt_w</p:attrName>
                                        </p:attrNameLst>
                                      </p:cBhvr>
                                      <p:tavLst>
                                        <p:tav tm="0">
                                          <p:val>
                                            <p:fltVal val="0"/>
                                          </p:val>
                                        </p:tav>
                                        <p:tav tm="100000">
                                          <p:val>
                                            <p:strVal val="#ppt_w"/>
                                          </p:val>
                                        </p:tav>
                                      </p:tavLst>
                                    </p:anim>
                                    <p:anim calcmode="lin" valueType="num">
                                      <p:cBhvr>
                                        <p:cTn id="38" dur="500" fill="hold"/>
                                        <p:tgtEl>
                                          <p:spTgt spid="25"/>
                                        </p:tgtEl>
                                        <p:attrNameLst>
                                          <p:attrName>ppt_h</p:attrName>
                                        </p:attrNameLst>
                                      </p:cBhvr>
                                      <p:tavLst>
                                        <p:tav tm="0">
                                          <p:val>
                                            <p:fltVal val="0"/>
                                          </p:val>
                                        </p:tav>
                                        <p:tav tm="100000">
                                          <p:val>
                                            <p:strVal val="#ppt_h"/>
                                          </p:val>
                                        </p:tav>
                                      </p:tavLst>
                                    </p:anim>
                                    <p:animEffect transition="in" filter="fade">
                                      <p:cBhvr>
                                        <p:cTn id="39" dur="500"/>
                                        <p:tgtEl>
                                          <p:spTgt spid="25"/>
                                        </p:tgtEl>
                                      </p:cBhvr>
                                    </p:animEffect>
                                  </p:childTnLst>
                                </p:cTn>
                              </p:par>
                              <p:par>
                                <p:cTn id="40" presetID="53" presetClass="entr" presetSubtype="16" fill="hold" nodeType="withEffect">
                                  <p:stCondLst>
                                    <p:cond delay="950"/>
                                  </p:stCondLst>
                                  <p:childTnLst>
                                    <p:set>
                                      <p:cBhvr>
                                        <p:cTn id="41" dur="1" fill="hold">
                                          <p:stCondLst>
                                            <p:cond delay="0"/>
                                          </p:stCondLst>
                                        </p:cTn>
                                        <p:tgtEl>
                                          <p:spTgt spid="24"/>
                                        </p:tgtEl>
                                        <p:attrNameLst>
                                          <p:attrName>style.visibility</p:attrName>
                                        </p:attrNameLst>
                                      </p:cBhvr>
                                      <p:to>
                                        <p:strVal val="visible"/>
                                      </p:to>
                                    </p:set>
                                    <p:anim calcmode="lin" valueType="num">
                                      <p:cBhvr>
                                        <p:cTn id="42" dur="500" fill="hold"/>
                                        <p:tgtEl>
                                          <p:spTgt spid="24"/>
                                        </p:tgtEl>
                                        <p:attrNameLst>
                                          <p:attrName>ppt_w</p:attrName>
                                        </p:attrNameLst>
                                      </p:cBhvr>
                                      <p:tavLst>
                                        <p:tav tm="0">
                                          <p:val>
                                            <p:fltVal val="0"/>
                                          </p:val>
                                        </p:tav>
                                        <p:tav tm="100000">
                                          <p:val>
                                            <p:strVal val="#ppt_w"/>
                                          </p:val>
                                        </p:tav>
                                      </p:tavLst>
                                    </p:anim>
                                    <p:anim calcmode="lin" valueType="num">
                                      <p:cBhvr>
                                        <p:cTn id="43" dur="500" fill="hold"/>
                                        <p:tgtEl>
                                          <p:spTgt spid="24"/>
                                        </p:tgtEl>
                                        <p:attrNameLst>
                                          <p:attrName>ppt_h</p:attrName>
                                        </p:attrNameLst>
                                      </p:cBhvr>
                                      <p:tavLst>
                                        <p:tav tm="0">
                                          <p:val>
                                            <p:fltVal val="0"/>
                                          </p:val>
                                        </p:tav>
                                        <p:tav tm="100000">
                                          <p:val>
                                            <p:strVal val="#ppt_h"/>
                                          </p:val>
                                        </p:tav>
                                      </p:tavLst>
                                    </p:anim>
                                    <p:animEffect transition="in" filter="fade">
                                      <p:cBhvr>
                                        <p:cTn id="44" dur="500"/>
                                        <p:tgtEl>
                                          <p:spTgt spid="24"/>
                                        </p:tgtEl>
                                      </p:cBhvr>
                                    </p:animEffect>
                                  </p:childTnLst>
                                </p:cTn>
                              </p:par>
                              <p:par>
                                <p:cTn id="45" presetID="53" presetClass="entr" presetSubtype="16" fill="hold" nodeType="withEffect">
                                  <p:stCondLst>
                                    <p:cond delay="1050"/>
                                  </p:stCondLst>
                                  <p:childTnLst>
                                    <p:set>
                                      <p:cBhvr>
                                        <p:cTn id="46" dur="1" fill="hold">
                                          <p:stCondLst>
                                            <p:cond delay="0"/>
                                          </p:stCondLst>
                                        </p:cTn>
                                        <p:tgtEl>
                                          <p:spTgt spid="45"/>
                                        </p:tgtEl>
                                        <p:attrNameLst>
                                          <p:attrName>style.visibility</p:attrName>
                                        </p:attrNameLst>
                                      </p:cBhvr>
                                      <p:to>
                                        <p:strVal val="visible"/>
                                      </p:to>
                                    </p:set>
                                    <p:anim calcmode="lin" valueType="num">
                                      <p:cBhvr>
                                        <p:cTn id="47" dur="500" fill="hold"/>
                                        <p:tgtEl>
                                          <p:spTgt spid="45"/>
                                        </p:tgtEl>
                                        <p:attrNameLst>
                                          <p:attrName>ppt_w</p:attrName>
                                        </p:attrNameLst>
                                      </p:cBhvr>
                                      <p:tavLst>
                                        <p:tav tm="0">
                                          <p:val>
                                            <p:fltVal val="0"/>
                                          </p:val>
                                        </p:tav>
                                        <p:tav tm="100000">
                                          <p:val>
                                            <p:strVal val="#ppt_w"/>
                                          </p:val>
                                        </p:tav>
                                      </p:tavLst>
                                    </p:anim>
                                    <p:anim calcmode="lin" valueType="num">
                                      <p:cBhvr>
                                        <p:cTn id="48" dur="500" fill="hold"/>
                                        <p:tgtEl>
                                          <p:spTgt spid="45"/>
                                        </p:tgtEl>
                                        <p:attrNameLst>
                                          <p:attrName>ppt_h</p:attrName>
                                        </p:attrNameLst>
                                      </p:cBhvr>
                                      <p:tavLst>
                                        <p:tav tm="0">
                                          <p:val>
                                            <p:fltVal val="0"/>
                                          </p:val>
                                        </p:tav>
                                        <p:tav tm="100000">
                                          <p:val>
                                            <p:strVal val="#ppt_h"/>
                                          </p:val>
                                        </p:tav>
                                      </p:tavLst>
                                    </p:anim>
                                    <p:animEffect transition="in" filter="fade">
                                      <p:cBhvr>
                                        <p:cTn id="49" dur="500"/>
                                        <p:tgtEl>
                                          <p:spTgt spid="45"/>
                                        </p:tgtEl>
                                      </p:cBhvr>
                                    </p:animEffect>
                                  </p:childTnLst>
                                </p:cTn>
                              </p:par>
                              <p:par>
                                <p:cTn id="50" presetID="53" presetClass="entr" presetSubtype="16" fill="hold" nodeType="withEffect">
                                  <p:stCondLst>
                                    <p:cond delay="1150"/>
                                  </p:stCondLst>
                                  <p:childTnLst>
                                    <p:set>
                                      <p:cBhvr>
                                        <p:cTn id="51" dur="1" fill="hold">
                                          <p:stCondLst>
                                            <p:cond delay="0"/>
                                          </p:stCondLst>
                                        </p:cTn>
                                        <p:tgtEl>
                                          <p:spTgt spid="46"/>
                                        </p:tgtEl>
                                        <p:attrNameLst>
                                          <p:attrName>style.visibility</p:attrName>
                                        </p:attrNameLst>
                                      </p:cBhvr>
                                      <p:to>
                                        <p:strVal val="visible"/>
                                      </p:to>
                                    </p:set>
                                    <p:anim calcmode="lin" valueType="num">
                                      <p:cBhvr>
                                        <p:cTn id="52" dur="500" fill="hold"/>
                                        <p:tgtEl>
                                          <p:spTgt spid="46"/>
                                        </p:tgtEl>
                                        <p:attrNameLst>
                                          <p:attrName>ppt_w</p:attrName>
                                        </p:attrNameLst>
                                      </p:cBhvr>
                                      <p:tavLst>
                                        <p:tav tm="0">
                                          <p:val>
                                            <p:fltVal val="0"/>
                                          </p:val>
                                        </p:tav>
                                        <p:tav tm="100000">
                                          <p:val>
                                            <p:strVal val="#ppt_w"/>
                                          </p:val>
                                        </p:tav>
                                      </p:tavLst>
                                    </p:anim>
                                    <p:anim calcmode="lin" valueType="num">
                                      <p:cBhvr>
                                        <p:cTn id="53" dur="500" fill="hold"/>
                                        <p:tgtEl>
                                          <p:spTgt spid="46"/>
                                        </p:tgtEl>
                                        <p:attrNameLst>
                                          <p:attrName>ppt_h</p:attrName>
                                        </p:attrNameLst>
                                      </p:cBhvr>
                                      <p:tavLst>
                                        <p:tav tm="0">
                                          <p:val>
                                            <p:fltVal val="0"/>
                                          </p:val>
                                        </p:tav>
                                        <p:tav tm="100000">
                                          <p:val>
                                            <p:strVal val="#ppt_h"/>
                                          </p:val>
                                        </p:tav>
                                      </p:tavLst>
                                    </p:anim>
                                    <p:animEffect transition="in" filter="fade">
                                      <p:cBhvr>
                                        <p:cTn id="54" dur="500"/>
                                        <p:tgtEl>
                                          <p:spTgt spid="46"/>
                                        </p:tgtEl>
                                      </p:cBhvr>
                                    </p:animEffect>
                                  </p:childTnLst>
                                </p:cTn>
                              </p:par>
                              <p:par>
                                <p:cTn id="55" presetID="53" presetClass="entr" presetSubtype="16" fill="hold" nodeType="withEffect">
                                  <p:stCondLst>
                                    <p:cond delay="1250"/>
                                  </p:stCondLst>
                                  <p:childTnLst>
                                    <p:set>
                                      <p:cBhvr>
                                        <p:cTn id="56" dur="1" fill="hold">
                                          <p:stCondLst>
                                            <p:cond delay="0"/>
                                          </p:stCondLst>
                                        </p:cTn>
                                        <p:tgtEl>
                                          <p:spTgt spid="47"/>
                                        </p:tgtEl>
                                        <p:attrNameLst>
                                          <p:attrName>style.visibility</p:attrName>
                                        </p:attrNameLst>
                                      </p:cBhvr>
                                      <p:to>
                                        <p:strVal val="visible"/>
                                      </p:to>
                                    </p:set>
                                    <p:anim calcmode="lin" valueType="num">
                                      <p:cBhvr>
                                        <p:cTn id="57" dur="500" fill="hold"/>
                                        <p:tgtEl>
                                          <p:spTgt spid="47"/>
                                        </p:tgtEl>
                                        <p:attrNameLst>
                                          <p:attrName>ppt_w</p:attrName>
                                        </p:attrNameLst>
                                      </p:cBhvr>
                                      <p:tavLst>
                                        <p:tav tm="0">
                                          <p:val>
                                            <p:fltVal val="0"/>
                                          </p:val>
                                        </p:tav>
                                        <p:tav tm="100000">
                                          <p:val>
                                            <p:strVal val="#ppt_w"/>
                                          </p:val>
                                        </p:tav>
                                      </p:tavLst>
                                    </p:anim>
                                    <p:anim calcmode="lin" valueType="num">
                                      <p:cBhvr>
                                        <p:cTn id="58" dur="500" fill="hold"/>
                                        <p:tgtEl>
                                          <p:spTgt spid="47"/>
                                        </p:tgtEl>
                                        <p:attrNameLst>
                                          <p:attrName>ppt_h</p:attrName>
                                        </p:attrNameLst>
                                      </p:cBhvr>
                                      <p:tavLst>
                                        <p:tav tm="0">
                                          <p:val>
                                            <p:fltVal val="0"/>
                                          </p:val>
                                        </p:tav>
                                        <p:tav tm="100000">
                                          <p:val>
                                            <p:strVal val="#ppt_h"/>
                                          </p:val>
                                        </p:tav>
                                      </p:tavLst>
                                    </p:anim>
                                    <p:animEffect transition="in" filter="fade">
                                      <p:cBhvr>
                                        <p:cTn id="59" dur="500"/>
                                        <p:tgtEl>
                                          <p:spTgt spid="47"/>
                                        </p:tgtEl>
                                      </p:cBhvr>
                                    </p:animEffect>
                                  </p:childTnLst>
                                </p:cTn>
                              </p:par>
                              <p:par>
                                <p:cTn id="60" presetID="10" presetClass="entr" presetSubtype="0" fill="hold" grpId="0" nodeType="withEffect">
                                  <p:stCondLst>
                                    <p:cond delay="1000"/>
                                  </p:stCondLst>
                                  <p:childTnLst>
                                    <p:set>
                                      <p:cBhvr>
                                        <p:cTn id="61" dur="1" fill="hold">
                                          <p:stCondLst>
                                            <p:cond delay="0"/>
                                          </p:stCondLst>
                                        </p:cTn>
                                        <p:tgtEl>
                                          <p:spTgt spid="5"/>
                                        </p:tgtEl>
                                        <p:attrNameLst>
                                          <p:attrName>style.visibility</p:attrName>
                                        </p:attrNameLst>
                                      </p:cBhvr>
                                      <p:to>
                                        <p:strVal val="visible"/>
                                      </p:to>
                                    </p:set>
                                    <p:animEffect transition="in" filter="fade">
                                      <p:cBhvr>
                                        <p:cTn id="62" dur="250"/>
                                        <p:tgtEl>
                                          <p:spTgt spid="5"/>
                                        </p:tgtEl>
                                      </p:cBhvr>
                                    </p:animEffect>
                                  </p:childTnLst>
                                </p:cTn>
                              </p:par>
                              <p:par>
                                <p:cTn id="63" presetID="10" presetClass="entr" presetSubtype="0" fill="hold" grpId="0" nodeType="withEffect">
                                  <p:stCondLst>
                                    <p:cond delay="1100"/>
                                  </p:stCondLst>
                                  <p:childTnLst>
                                    <p:set>
                                      <p:cBhvr>
                                        <p:cTn id="64" dur="1" fill="hold">
                                          <p:stCondLst>
                                            <p:cond delay="0"/>
                                          </p:stCondLst>
                                        </p:cTn>
                                        <p:tgtEl>
                                          <p:spTgt spid="68"/>
                                        </p:tgtEl>
                                        <p:attrNameLst>
                                          <p:attrName>style.visibility</p:attrName>
                                        </p:attrNameLst>
                                      </p:cBhvr>
                                      <p:to>
                                        <p:strVal val="visible"/>
                                      </p:to>
                                    </p:set>
                                    <p:animEffect transition="in" filter="fade">
                                      <p:cBhvr>
                                        <p:cTn id="65" dur="250"/>
                                        <p:tgtEl>
                                          <p:spTgt spid="68"/>
                                        </p:tgtEl>
                                      </p:cBhvr>
                                    </p:animEffect>
                                  </p:childTnLst>
                                </p:cTn>
                              </p:par>
                              <p:par>
                                <p:cTn id="66" presetID="10" presetClass="entr" presetSubtype="0" fill="hold" grpId="0" nodeType="withEffect">
                                  <p:stCondLst>
                                    <p:cond delay="1200"/>
                                  </p:stCondLst>
                                  <p:childTnLst>
                                    <p:set>
                                      <p:cBhvr>
                                        <p:cTn id="67" dur="1" fill="hold">
                                          <p:stCondLst>
                                            <p:cond delay="0"/>
                                          </p:stCondLst>
                                        </p:cTn>
                                        <p:tgtEl>
                                          <p:spTgt spid="67"/>
                                        </p:tgtEl>
                                        <p:attrNameLst>
                                          <p:attrName>style.visibility</p:attrName>
                                        </p:attrNameLst>
                                      </p:cBhvr>
                                      <p:to>
                                        <p:strVal val="visible"/>
                                      </p:to>
                                    </p:set>
                                    <p:animEffect transition="in" filter="fade">
                                      <p:cBhvr>
                                        <p:cTn id="68" dur="250"/>
                                        <p:tgtEl>
                                          <p:spTgt spid="67"/>
                                        </p:tgtEl>
                                      </p:cBhvr>
                                    </p:animEffect>
                                  </p:childTnLst>
                                </p:cTn>
                              </p:par>
                              <p:par>
                                <p:cTn id="69" presetID="10" presetClass="entr" presetSubtype="0" fill="hold" grpId="0" nodeType="withEffect">
                                  <p:stCondLst>
                                    <p:cond delay="1300"/>
                                  </p:stCondLst>
                                  <p:childTnLst>
                                    <p:set>
                                      <p:cBhvr>
                                        <p:cTn id="70" dur="1" fill="hold">
                                          <p:stCondLst>
                                            <p:cond delay="0"/>
                                          </p:stCondLst>
                                        </p:cTn>
                                        <p:tgtEl>
                                          <p:spTgt spid="66"/>
                                        </p:tgtEl>
                                        <p:attrNameLst>
                                          <p:attrName>style.visibility</p:attrName>
                                        </p:attrNameLst>
                                      </p:cBhvr>
                                      <p:to>
                                        <p:strVal val="visible"/>
                                      </p:to>
                                    </p:set>
                                    <p:animEffect transition="in" filter="fade">
                                      <p:cBhvr>
                                        <p:cTn id="71" dur="250"/>
                                        <p:tgtEl>
                                          <p:spTgt spid="66"/>
                                        </p:tgtEl>
                                      </p:cBhvr>
                                    </p:animEffect>
                                  </p:childTnLst>
                                </p:cTn>
                              </p:par>
                              <p:par>
                                <p:cTn id="72" presetID="10" presetClass="entr" presetSubtype="0" fill="hold" grpId="0" nodeType="withEffect">
                                  <p:stCondLst>
                                    <p:cond delay="1400"/>
                                  </p:stCondLst>
                                  <p:childTnLst>
                                    <p:set>
                                      <p:cBhvr>
                                        <p:cTn id="73" dur="1" fill="hold">
                                          <p:stCondLst>
                                            <p:cond delay="0"/>
                                          </p:stCondLst>
                                        </p:cTn>
                                        <p:tgtEl>
                                          <p:spTgt spid="65"/>
                                        </p:tgtEl>
                                        <p:attrNameLst>
                                          <p:attrName>style.visibility</p:attrName>
                                        </p:attrNameLst>
                                      </p:cBhvr>
                                      <p:to>
                                        <p:strVal val="visible"/>
                                      </p:to>
                                    </p:set>
                                    <p:animEffect transition="in" filter="fade">
                                      <p:cBhvr>
                                        <p:cTn id="74" dur="250"/>
                                        <p:tgtEl>
                                          <p:spTgt spid="65"/>
                                        </p:tgtEl>
                                      </p:cBhvr>
                                    </p:animEffect>
                                  </p:childTnLst>
                                </p:cTn>
                              </p:par>
                              <p:par>
                                <p:cTn id="75" presetID="10" presetClass="entr" presetSubtype="0" fill="hold" grpId="0" nodeType="withEffect">
                                  <p:stCondLst>
                                    <p:cond delay="1500"/>
                                  </p:stCondLst>
                                  <p:childTnLst>
                                    <p:set>
                                      <p:cBhvr>
                                        <p:cTn id="76" dur="1" fill="hold">
                                          <p:stCondLst>
                                            <p:cond delay="0"/>
                                          </p:stCondLst>
                                        </p:cTn>
                                        <p:tgtEl>
                                          <p:spTgt spid="64"/>
                                        </p:tgtEl>
                                        <p:attrNameLst>
                                          <p:attrName>style.visibility</p:attrName>
                                        </p:attrNameLst>
                                      </p:cBhvr>
                                      <p:to>
                                        <p:strVal val="visible"/>
                                      </p:to>
                                    </p:set>
                                    <p:animEffect transition="in" filter="fade">
                                      <p:cBhvr>
                                        <p:cTn id="77" dur="25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250"/>
                        <p:tgtEl>
                          <p:spTgt spid="5"/>
                        </p:tgtEl>
                      </p:cBhvr>
                    </p:animEffect>
                  </p:childTnLst>
                </p:cTn>
              </p:par>
            </p:tnLst>
          </p:tmpl>
        </p:tmplLst>
      </p:bldP>
      <p:bldP spid="64" grpId="0">
        <p:tmplLst>
          <p:tmpl>
            <p:tnLst>
              <p:par>
                <p:cTn presetID="10" presetClass="entr" presetSubtype="0" fill="hold" nodeType="withEffect">
                  <p:stCondLst>
                    <p:cond delay="1500"/>
                  </p:stCondLst>
                  <p:childTnLst>
                    <p:set>
                      <p:cBhvr>
                        <p:cTn dur="1" fill="hold">
                          <p:stCondLst>
                            <p:cond delay="0"/>
                          </p:stCondLst>
                        </p:cTn>
                        <p:tgtEl>
                          <p:spTgt spid="64"/>
                        </p:tgtEl>
                        <p:attrNameLst>
                          <p:attrName>style.visibility</p:attrName>
                        </p:attrNameLst>
                      </p:cBhvr>
                      <p:to>
                        <p:strVal val="visible"/>
                      </p:to>
                    </p:set>
                    <p:animEffect transition="in" filter="fade">
                      <p:cBhvr>
                        <p:cTn dur="250"/>
                        <p:tgtEl>
                          <p:spTgt spid="64"/>
                        </p:tgtEl>
                      </p:cBhvr>
                    </p:animEffect>
                  </p:childTnLst>
                </p:cTn>
              </p:par>
            </p:tnLst>
          </p:tmpl>
        </p:tmplLst>
      </p:bldP>
      <p:bldP spid="65" grpId="0">
        <p:tmplLst>
          <p:tmpl>
            <p:tnLst>
              <p:par>
                <p:cTn presetID="10" presetClass="entr" presetSubtype="0" fill="hold" nodeType="withEffect">
                  <p:stCondLst>
                    <p:cond delay="1400"/>
                  </p:stCondLst>
                  <p:childTnLst>
                    <p:set>
                      <p:cBhvr>
                        <p:cTn dur="1" fill="hold">
                          <p:stCondLst>
                            <p:cond delay="0"/>
                          </p:stCondLst>
                        </p:cTn>
                        <p:tgtEl>
                          <p:spTgt spid="65"/>
                        </p:tgtEl>
                        <p:attrNameLst>
                          <p:attrName>style.visibility</p:attrName>
                        </p:attrNameLst>
                      </p:cBhvr>
                      <p:to>
                        <p:strVal val="visible"/>
                      </p:to>
                    </p:set>
                    <p:animEffect transition="in" filter="fade">
                      <p:cBhvr>
                        <p:cTn dur="250"/>
                        <p:tgtEl>
                          <p:spTgt spid="65"/>
                        </p:tgtEl>
                      </p:cBhvr>
                    </p:animEffect>
                  </p:childTnLst>
                </p:cTn>
              </p:par>
            </p:tnLst>
          </p:tmpl>
        </p:tmplLst>
      </p:bldP>
      <p:bldP spid="66" grpId="0">
        <p:tmplLst>
          <p:tmpl>
            <p:tnLst>
              <p:par>
                <p:cTn presetID="10" presetClass="entr" presetSubtype="0" fill="hold" nodeType="withEffect">
                  <p:stCondLst>
                    <p:cond delay="1300"/>
                  </p:stCondLst>
                  <p:childTnLst>
                    <p:set>
                      <p:cBhvr>
                        <p:cTn dur="1" fill="hold">
                          <p:stCondLst>
                            <p:cond delay="0"/>
                          </p:stCondLst>
                        </p:cTn>
                        <p:tgtEl>
                          <p:spTgt spid="66"/>
                        </p:tgtEl>
                        <p:attrNameLst>
                          <p:attrName>style.visibility</p:attrName>
                        </p:attrNameLst>
                      </p:cBhvr>
                      <p:to>
                        <p:strVal val="visible"/>
                      </p:to>
                    </p:set>
                    <p:animEffect transition="in" filter="fade">
                      <p:cBhvr>
                        <p:cTn dur="250"/>
                        <p:tgtEl>
                          <p:spTgt spid="66"/>
                        </p:tgtEl>
                      </p:cBhvr>
                    </p:animEffect>
                  </p:childTnLst>
                </p:cTn>
              </p:par>
            </p:tnLst>
          </p:tmpl>
        </p:tmplLst>
      </p:bldP>
      <p:bldP spid="67" grpId="0">
        <p:tmplLst>
          <p:tmpl>
            <p:tnLst>
              <p:par>
                <p:cTn presetID="10" presetClass="entr" presetSubtype="0" fill="hold" nodeType="withEffect">
                  <p:stCondLst>
                    <p:cond delay="1200"/>
                  </p:stCondLst>
                  <p:childTnLst>
                    <p:set>
                      <p:cBhvr>
                        <p:cTn dur="1" fill="hold">
                          <p:stCondLst>
                            <p:cond delay="0"/>
                          </p:stCondLst>
                        </p:cTn>
                        <p:tgtEl>
                          <p:spTgt spid="67"/>
                        </p:tgtEl>
                        <p:attrNameLst>
                          <p:attrName>style.visibility</p:attrName>
                        </p:attrNameLst>
                      </p:cBhvr>
                      <p:to>
                        <p:strVal val="visible"/>
                      </p:to>
                    </p:set>
                    <p:animEffect transition="in" filter="fade">
                      <p:cBhvr>
                        <p:cTn dur="250"/>
                        <p:tgtEl>
                          <p:spTgt spid="67"/>
                        </p:tgtEl>
                      </p:cBhvr>
                    </p:animEffect>
                  </p:childTnLst>
                </p:cTn>
              </p:par>
            </p:tnLst>
          </p:tmpl>
        </p:tmplLst>
      </p:bldP>
      <p:bldP spid="68" grpId="0">
        <p:tmplLst>
          <p:tmpl>
            <p:tnLst>
              <p:par>
                <p:cTn presetID="10" presetClass="entr" presetSubtype="0" fill="hold" nodeType="withEffect">
                  <p:stCondLst>
                    <p:cond delay="1100"/>
                  </p:stCondLst>
                  <p:childTnLst>
                    <p:set>
                      <p:cBhvr>
                        <p:cTn dur="1" fill="hold">
                          <p:stCondLst>
                            <p:cond delay="0"/>
                          </p:stCondLst>
                        </p:cTn>
                        <p:tgtEl>
                          <p:spTgt spid="68"/>
                        </p:tgtEl>
                        <p:attrNameLst>
                          <p:attrName>style.visibility</p:attrName>
                        </p:attrNameLst>
                      </p:cBhvr>
                      <p:to>
                        <p:strVal val="visible"/>
                      </p:to>
                    </p:set>
                    <p:animEffect transition="in" filter="fade">
                      <p:cBhvr>
                        <p:cTn dur="250"/>
                        <p:tgtEl>
                          <p:spTgt spid="68"/>
                        </p:tgtEl>
                      </p:cBhvr>
                    </p:animEffect>
                  </p:childTnLst>
                </p:cTn>
              </p:par>
            </p:tnLst>
          </p:tmpl>
        </p:tmplLst>
      </p:bldP>
    </p:bld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Ighlights">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44" name="Freeform 13"/>
          <p:cNvSpPr>
            <a:spLocks noEditPoints="1"/>
          </p:cNvSpPr>
          <p:nvPr userDrawn="1"/>
        </p:nvSpPr>
        <p:spPr bwMode="auto">
          <a:xfrm rot="21197796">
            <a:off x="3634317" y="977902"/>
            <a:ext cx="4921251" cy="4904317"/>
          </a:xfrm>
          <a:custGeom>
            <a:avLst/>
            <a:gdLst>
              <a:gd name="T0" fmla="*/ 2825 w 3041"/>
              <a:gd name="T1" fmla="*/ 1515 h 3029"/>
              <a:gd name="T2" fmla="*/ 2999 w 3041"/>
              <a:gd name="T3" fmla="*/ 1056 h 3029"/>
              <a:gd name="T4" fmla="*/ 2998 w 3041"/>
              <a:gd name="T5" fmla="*/ 1054 h 3029"/>
              <a:gd name="T6" fmla="*/ 2891 w 3041"/>
              <a:gd name="T7" fmla="*/ 780 h 3029"/>
              <a:gd name="T8" fmla="*/ 2891 w 3041"/>
              <a:gd name="T9" fmla="*/ 778 h 3029"/>
              <a:gd name="T10" fmla="*/ 2430 w 3041"/>
              <a:gd name="T11" fmla="*/ 582 h 3029"/>
              <a:gd name="T12" fmla="*/ 2441 w 3041"/>
              <a:gd name="T13" fmla="*/ 294 h 3029"/>
              <a:gd name="T14" fmla="*/ 2173 w 3041"/>
              <a:gd name="T15" fmla="*/ 388 h 3029"/>
              <a:gd name="T16" fmla="*/ 1876 w 3041"/>
              <a:gd name="T17" fmla="*/ 25 h 3029"/>
              <a:gd name="T18" fmla="*/ 1527 w 3041"/>
              <a:gd name="T19" fmla="*/ 0 h 3029"/>
              <a:gd name="T20" fmla="*/ 1178 w 3041"/>
              <a:gd name="T21" fmla="*/ 264 h 3029"/>
              <a:gd name="T22" fmla="*/ 933 w 3041"/>
              <a:gd name="T23" fmla="*/ 111 h 3029"/>
              <a:gd name="T24" fmla="*/ 864 w 3041"/>
              <a:gd name="T25" fmla="*/ 399 h 3029"/>
              <a:gd name="T26" fmla="*/ 414 w 3041"/>
              <a:gd name="T27" fmla="*/ 467 h 3029"/>
              <a:gd name="T28" fmla="*/ 212 w 3041"/>
              <a:gd name="T29" fmla="*/ 743 h 3029"/>
              <a:gd name="T30" fmla="*/ 268 w 3041"/>
              <a:gd name="T31" fmla="*/ 1198 h 3029"/>
              <a:gd name="T32" fmla="*/ 14 w 3041"/>
              <a:gd name="T33" fmla="*/ 1332 h 3029"/>
              <a:gd name="T34" fmla="*/ 229 w 3041"/>
              <a:gd name="T35" fmla="*/ 1520 h 3029"/>
              <a:gd name="T36" fmla="*/ 61 w 3041"/>
              <a:gd name="T37" fmla="*/ 1959 h 3029"/>
              <a:gd name="T38" fmla="*/ 190 w 3041"/>
              <a:gd name="T39" fmla="*/ 2263 h 3029"/>
              <a:gd name="T40" fmla="*/ 621 w 3041"/>
              <a:gd name="T41" fmla="*/ 2444 h 3029"/>
              <a:gd name="T42" fmla="*/ 610 w 3041"/>
              <a:gd name="T43" fmla="*/ 2732 h 3029"/>
              <a:gd name="T44" fmla="*/ 886 w 3041"/>
              <a:gd name="T45" fmla="*/ 2644 h 3029"/>
              <a:gd name="T46" fmla="*/ 1176 w 3041"/>
              <a:gd name="T47" fmla="*/ 3002 h 3029"/>
              <a:gd name="T48" fmla="*/ 1527 w 3041"/>
              <a:gd name="T49" fmla="*/ 3029 h 3029"/>
              <a:gd name="T50" fmla="*/ 1527 w 3041"/>
              <a:gd name="T51" fmla="*/ 2813 h 3029"/>
              <a:gd name="T52" fmla="*/ 1986 w 3041"/>
              <a:gd name="T53" fmla="*/ 2986 h 3029"/>
              <a:gd name="T54" fmla="*/ 2262 w 3041"/>
              <a:gd name="T55" fmla="*/ 2879 h 3029"/>
              <a:gd name="T56" fmla="*/ 2459 w 3041"/>
              <a:gd name="T57" fmla="*/ 2418 h 3029"/>
              <a:gd name="T58" fmla="*/ 2747 w 3041"/>
              <a:gd name="T59" fmla="*/ 2430 h 3029"/>
              <a:gd name="T60" fmla="*/ 2653 w 3041"/>
              <a:gd name="T61" fmla="*/ 2161 h 3029"/>
              <a:gd name="T62" fmla="*/ 3017 w 3041"/>
              <a:gd name="T63" fmla="*/ 1865 h 3029"/>
              <a:gd name="T64" fmla="*/ 3041 w 3041"/>
              <a:gd name="T65" fmla="*/ 1516 h 3029"/>
              <a:gd name="T66" fmla="*/ 1962 w 3041"/>
              <a:gd name="T67" fmla="*/ 2545 h 3029"/>
              <a:gd name="T68" fmla="*/ 1092 w 3041"/>
              <a:gd name="T69" fmla="*/ 2545 h 3029"/>
              <a:gd name="T70" fmla="*/ 497 w 3041"/>
              <a:gd name="T71" fmla="*/ 1950 h 3029"/>
              <a:gd name="T72" fmla="*/ 497 w 3041"/>
              <a:gd name="T73" fmla="*/ 1080 h 3029"/>
              <a:gd name="T74" fmla="*/ 1092 w 3041"/>
              <a:gd name="T75" fmla="*/ 485 h 3029"/>
              <a:gd name="T76" fmla="*/ 1962 w 3041"/>
              <a:gd name="T77" fmla="*/ 485 h 3029"/>
              <a:gd name="T78" fmla="*/ 2557 w 3041"/>
              <a:gd name="T79" fmla="*/ 1080 h 3029"/>
              <a:gd name="T80" fmla="*/ 2557 w 3041"/>
              <a:gd name="T81" fmla="*/ 1950 h 3029"/>
              <a:gd name="T82" fmla="*/ 1962 w 3041"/>
              <a:gd name="T83" fmla="*/ 2545 h 3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1" h="3029">
                <a:moveTo>
                  <a:pt x="2825" y="1516"/>
                </a:moveTo>
                <a:cubicBezTo>
                  <a:pt x="2825" y="1515"/>
                  <a:pt x="2825" y="1515"/>
                  <a:pt x="2825" y="1515"/>
                </a:cubicBezTo>
                <a:cubicBezTo>
                  <a:pt x="2825" y="1394"/>
                  <a:pt x="2809" y="1277"/>
                  <a:pt x="2778" y="1167"/>
                </a:cubicBezTo>
                <a:cubicBezTo>
                  <a:pt x="2999" y="1056"/>
                  <a:pt x="2999" y="1056"/>
                  <a:pt x="2999" y="1056"/>
                </a:cubicBezTo>
                <a:cubicBezTo>
                  <a:pt x="2998" y="1054"/>
                  <a:pt x="2998" y="1054"/>
                  <a:pt x="2998" y="1054"/>
                </a:cubicBezTo>
                <a:cubicBezTo>
                  <a:pt x="2998" y="1054"/>
                  <a:pt x="2998" y="1054"/>
                  <a:pt x="2998" y="1054"/>
                </a:cubicBezTo>
                <a:cubicBezTo>
                  <a:pt x="2932" y="922"/>
                  <a:pt x="2932" y="922"/>
                  <a:pt x="2932" y="922"/>
                </a:cubicBezTo>
                <a:cubicBezTo>
                  <a:pt x="2891" y="780"/>
                  <a:pt x="2891" y="780"/>
                  <a:pt x="2891" y="780"/>
                </a:cubicBezTo>
                <a:cubicBezTo>
                  <a:pt x="2891" y="780"/>
                  <a:pt x="2891" y="780"/>
                  <a:pt x="2891" y="780"/>
                </a:cubicBezTo>
                <a:cubicBezTo>
                  <a:pt x="2891" y="778"/>
                  <a:pt x="2891" y="778"/>
                  <a:pt x="2891" y="778"/>
                </a:cubicBezTo>
                <a:cubicBezTo>
                  <a:pt x="2642" y="849"/>
                  <a:pt x="2642" y="849"/>
                  <a:pt x="2642" y="849"/>
                </a:cubicBezTo>
                <a:cubicBezTo>
                  <a:pt x="2583" y="751"/>
                  <a:pt x="2512" y="661"/>
                  <a:pt x="2430" y="582"/>
                </a:cubicBezTo>
                <a:cubicBezTo>
                  <a:pt x="2574" y="401"/>
                  <a:pt x="2574" y="401"/>
                  <a:pt x="2574" y="401"/>
                </a:cubicBezTo>
                <a:cubicBezTo>
                  <a:pt x="2441" y="294"/>
                  <a:pt x="2441" y="294"/>
                  <a:pt x="2441" y="294"/>
                </a:cubicBezTo>
                <a:cubicBezTo>
                  <a:pt x="2298" y="199"/>
                  <a:pt x="2298" y="199"/>
                  <a:pt x="2298" y="199"/>
                </a:cubicBezTo>
                <a:cubicBezTo>
                  <a:pt x="2173" y="388"/>
                  <a:pt x="2173" y="388"/>
                  <a:pt x="2173" y="388"/>
                </a:cubicBezTo>
                <a:cubicBezTo>
                  <a:pt x="2071" y="330"/>
                  <a:pt x="1960" y="285"/>
                  <a:pt x="1843" y="256"/>
                </a:cubicBezTo>
                <a:cubicBezTo>
                  <a:pt x="1876" y="25"/>
                  <a:pt x="1876" y="25"/>
                  <a:pt x="1876" y="25"/>
                </a:cubicBezTo>
                <a:cubicBezTo>
                  <a:pt x="1702" y="0"/>
                  <a:pt x="1702" y="0"/>
                  <a:pt x="1702" y="0"/>
                </a:cubicBezTo>
                <a:cubicBezTo>
                  <a:pt x="1527" y="0"/>
                  <a:pt x="1527" y="0"/>
                  <a:pt x="1527" y="0"/>
                </a:cubicBezTo>
                <a:cubicBezTo>
                  <a:pt x="1527" y="217"/>
                  <a:pt x="1527" y="217"/>
                  <a:pt x="1527" y="217"/>
                </a:cubicBezTo>
                <a:cubicBezTo>
                  <a:pt x="1406" y="217"/>
                  <a:pt x="1289" y="233"/>
                  <a:pt x="1178" y="264"/>
                </a:cubicBezTo>
                <a:cubicBezTo>
                  <a:pt x="1067" y="44"/>
                  <a:pt x="1067" y="44"/>
                  <a:pt x="1067" y="44"/>
                </a:cubicBezTo>
                <a:cubicBezTo>
                  <a:pt x="933" y="111"/>
                  <a:pt x="933" y="111"/>
                  <a:pt x="933" y="111"/>
                </a:cubicBezTo>
                <a:cubicBezTo>
                  <a:pt x="789" y="155"/>
                  <a:pt x="789" y="155"/>
                  <a:pt x="789" y="155"/>
                </a:cubicBezTo>
                <a:cubicBezTo>
                  <a:pt x="864" y="399"/>
                  <a:pt x="864" y="399"/>
                  <a:pt x="864" y="399"/>
                </a:cubicBezTo>
                <a:cubicBezTo>
                  <a:pt x="765" y="458"/>
                  <a:pt x="674" y="530"/>
                  <a:pt x="595" y="612"/>
                </a:cubicBezTo>
                <a:cubicBezTo>
                  <a:pt x="414" y="467"/>
                  <a:pt x="414" y="467"/>
                  <a:pt x="414" y="467"/>
                </a:cubicBezTo>
                <a:cubicBezTo>
                  <a:pt x="307" y="601"/>
                  <a:pt x="307" y="601"/>
                  <a:pt x="307" y="601"/>
                </a:cubicBezTo>
                <a:cubicBezTo>
                  <a:pt x="212" y="743"/>
                  <a:pt x="212" y="743"/>
                  <a:pt x="212" y="743"/>
                </a:cubicBezTo>
                <a:cubicBezTo>
                  <a:pt x="401" y="869"/>
                  <a:pt x="401" y="869"/>
                  <a:pt x="401" y="869"/>
                </a:cubicBezTo>
                <a:cubicBezTo>
                  <a:pt x="342" y="971"/>
                  <a:pt x="297" y="1081"/>
                  <a:pt x="268" y="1198"/>
                </a:cubicBezTo>
                <a:cubicBezTo>
                  <a:pt x="38" y="1165"/>
                  <a:pt x="38" y="1165"/>
                  <a:pt x="38" y="1165"/>
                </a:cubicBezTo>
                <a:cubicBezTo>
                  <a:pt x="14" y="1332"/>
                  <a:pt x="14" y="1332"/>
                  <a:pt x="14" y="1332"/>
                </a:cubicBezTo>
                <a:cubicBezTo>
                  <a:pt x="0" y="1501"/>
                  <a:pt x="0" y="1501"/>
                  <a:pt x="0" y="1501"/>
                </a:cubicBezTo>
                <a:cubicBezTo>
                  <a:pt x="229" y="1520"/>
                  <a:pt x="229" y="1520"/>
                  <a:pt x="229" y="1520"/>
                </a:cubicBezTo>
                <a:cubicBezTo>
                  <a:pt x="230" y="1641"/>
                  <a:pt x="247" y="1758"/>
                  <a:pt x="278" y="1869"/>
                </a:cubicBezTo>
                <a:cubicBezTo>
                  <a:pt x="61" y="1959"/>
                  <a:pt x="61" y="1959"/>
                  <a:pt x="61" y="1959"/>
                </a:cubicBezTo>
                <a:cubicBezTo>
                  <a:pt x="124" y="2111"/>
                  <a:pt x="124" y="2111"/>
                  <a:pt x="124" y="2111"/>
                </a:cubicBezTo>
                <a:cubicBezTo>
                  <a:pt x="190" y="2263"/>
                  <a:pt x="190" y="2263"/>
                  <a:pt x="190" y="2263"/>
                </a:cubicBezTo>
                <a:cubicBezTo>
                  <a:pt x="407" y="2170"/>
                  <a:pt x="407" y="2170"/>
                  <a:pt x="407" y="2170"/>
                </a:cubicBezTo>
                <a:cubicBezTo>
                  <a:pt x="466" y="2271"/>
                  <a:pt x="538" y="2363"/>
                  <a:pt x="621" y="2444"/>
                </a:cubicBezTo>
                <a:cubicBezTo>
                  <a:pt x="480" y="2638"/>
                  <a:pt x="480" y="2638"/>
                  <a:pt x="480" y="2638"/>
                </a:cubicBezTo>
                <a:cubicBezTo>
                  <a:pt x="610" y="2732"/>
                  <a:pt x="610" y="2732"/>
                  <a:pt x="610" y="2732"/>
                </a:cubicBezTo>
                <a:cubicBezTo>
                  <a:pt x="735" y="2833"/>
                  <a:pt x="735" y="2833"/>
                  <a:pt x="735" y="2833"/>
                </a:cubicBezTo>
                <a:cubicBezTo>
                  <a:pt x="886" y="2644"/>
                  <a:pt x="886" y="2644"/>
                  <a:pt x="886" y="2644"/>
                </a:cubicBezTo>
                <a:cubicBezTo>
                  <a:pt x="987" y="2701"/>
                  <a:pt x="1096" y="2745"/>
                  <a:pt x="1211" y="2774"/>
                </a:cubicBezTo>
                <a:cubicBezTo>
                  <a:pt x="1176" y="3002"/>
                  <a:pt x="1176" y="3002"/>
                  <a:pt x="1176" y="3002"/>
                </a:cubicBezTo>
                <a:cubicBezTo>
                  <a:pt x="1350" y="3029"/>
                  <a:pt x="1350" y="3029"/>
                  <a:pt x="1350" y="3029"/>
                </a:cubicBezTo>
                <a:cubicBezTo>
                  <a:pt x="1527" y="3029"/>
                  <a:pt x="1527" y="3029"/>
                  <a:pt x="1527" y="3029"/>
                </a:cubicBezTo>
                <a:cubicBezTo>
                  <a:pt x="1527" y="2813"/>
                  <a:pt x="1527" y="2813"/>
                  <a:pt x="1527" y="2813"/>
                </a:cubicBezTo>
                <a:cubicBezTo>
                  <a:pt x="1527" y="2813"/>
                  <a:pt x="1527" y="2813"/>
                  <a:pt x="1527" y="2813"/>
                </a:cubicBezTo>
                <a:cubicBezTo>
                  <a:pt x="1648" y="2813"/>
                  <a:pt x="1765" y="2796"/>
                  <a:pt x="1876" y="2765"/>
                </a:cubicBezTo>
                <a:cubicBezTo>
                  <a:pt x="1986" y="2986"/>
                  <a:pt x="1986" y="2986"/>
                  <a:pt x="1986" y="2986"/>
                </a:cubicBezTo>
                <a:cubicBezTo>
                  <a:pt x="2119" y="2920"/>
                  <a:pt x="2119" y="2920"/>
                  <a:pt x="2119" y="2920"/>
                </a:cubicBezTo>
                <a:cubicBezTo>
                  <a:pt x="2262" y="2879"/>
                  <a:pt x="2262" y="2879"/>
                  <a:pt x="2262" y="2879"/>
                </a:cubicBezTo>
                <a:cubicBezTo>
                  <a:pt x="2191" y="2630"/>
                  <a:pt x="2191" y="2630"/>
                  <a:pt x="2191" y="2630"/>
                </a:cubicBezTo>
                <a:cubicBezTo>
                  <a:pt x="2290" y="2571"/>
                  <a:pt x="2380" y="2500"/>
                  <a:pt x="2459" y="2418"/>
                </a:cubicBezTo>
                <a:cubicBezTo>
                  <a:pt x="2640" y="2563"/>
                  <a:pt x="2640" y="2563"/>
                  <a:pt x="2640" y="2563"/>
                </a:cubicBezTo>
                <a:cubicBezTo>
                  <a:pt x="2747" y="2430"/>
                  <a:pt x="2747" y="2430"/>
                  <a:pt x="2747" y="2430"/>
                </a:cubicBezTo>
                <a:cubicBezTo>
                  <a:pt x="2842" y="2287"/>
                  <a:pt x="2842" y="2287"/>
                  <a:pt x="2842" y="2287"/>
                </a:cubicBezTo>
                <a:cubicBezTo>
                  <a:pt x="2653" y="2161"/>
                  <a:pt x="2653" y="2161"/>
                  <a:pt x="2653" y="2161"/>
                </a:cubicBezTo>
                <a:cubicBezTo>
                  <a:pt x="2711" y="2060"/>
                  <a:pt x="2757" y="1949"/>
                  <a:pt x="2786" y="1832"/>
                </a:cubicBezTo>
                <a:cubicBezTo>
                  <a:pt x="3017" y="1865"/>
                  <a:pt x="3017" y="1865"/>
                  <a:pt x="3017" y="1865"/>
                </a:cubicBezTo>
                <a:cubicBezTo>
                  <a:pt x="3041" y="1691"/>
                  <a:pt x="3041" y="1691"/>
                  <a:pt x="3041" y="1691"/>
                </a:cubicBezTo>
                <a:cubicBezTo>
                  <a:pt x="3041" y="1516"/>
                  <a:pt x="3041" y="1516"/>
                  <a:pt x="3041" y="1516"/>
                </a:cubicBezTo>
                <a:lnTo>
                  <a:pt x="2825" y="1516"/>
                </a:lnTo>
                <a:close/>
                <a:moveTo>
                  <a:pt x="1962" y="2545"/>
                </a:moveTo>
                <a:cubicBezTo>
                  <a:pt x="1825" y="2603"/>
                  <a:pt x="1678" y="2633"/>
                  <a:pt x="1527" y="2633"/>
                </a:cubicBezTo>
                <a:cubicBezTo>
                  <a:pt x="1376" y="2633"/>
                  <a:pt x="1230" y="2603"/>
                  <a:pt x="1092" y="2545"/>
                </a:cubicBezTo>
                <a:cubicBezTo>
                  <a:pt x="959" y="2489"/>
                  <a:pt x="839" y="2408"/>
                  <a:pt x="737" y="2305"/>
                </a:cubicBezTo>
                <a:cubicBezTo>
                  <a:pt x="634" y="2203"/>
                  <a:pt x="553" y="2083"/>
                  <a:pt x="497" y="1950"/>
                </a:cubicBezTo>
                <a:cubicBezTo>
                  <a:pt x="439" y="1812"/>
                  <a:pt x="409" y="1666"/>
                  <a:pt x="409" y="1515"/>
                </a:cubicBezTo>
                <a:cubicBezTo>
                  <a:pt x="409" y="1364"/>
                  <a:pt x="439" y="1217"/>
                  <a:pt x="497" y="1080"/>
                </a:cubicBezTo>
                <a:cubicBezTo>
                  <a:pt x="553" y="947"/>
                  <a:pt x="634" y="827"/>
                  <a:pt x="737" y="724"/>
                </a:cubicBezTo>
                <a:cubicBezTo>
                  <a:pt x="839" y="621"/>
                  <a:pt x="959" y="541"/>
                  <a:pt x="1092" y="485"/>
                </a:cubicBezTo>
                <a:cubicBezTo>
                  <a:pt x="1230" y="426"/>
                  <a:pt x="1376" y="397"/>
                  <a:pt x="1527" y="397"/>
                </a:cubicBezTo>
                <a:cubicBezTo>
                  <a:pt x="1678" y="397"/>
                  <a:pt x="1825" y="426"/>
                  <a:pt x="1962" y="485"/>
                </a:cubicBezTo>
                <a:cubicBezTo>
                  <a:pt x="2095" y="541"/>
                  <a:pt x="2215" y="621"/>
                  <a:pt x="2318" y="724"/>
                </a:cubicBezTo>
                <a:cubicBezTo>
                  <a:pt x="2420" y="827"/>
                  <a:pt x="2501" y="947"/>
                  <a:pt x="2557" y="1080"/>
                </a:cubicBezTo>
                <a:cubicBezTo>
                  <a:pt x="2616" y="1217"/>
                  <a:pt x="2645" y="1364"/>
                  <a:pt x="2645" y="1515"/>
                </a:cubicBezTo>
                <a:cubicBezTo>
                  <a:pt x="2645" y="1666"/>
                  <a:pt x="2616" y="1812"/>
                  <a:pt x="2557" y="1950"/>
                </a:cubicBezTo>
                <a:cubicBezTo>
                  <a:pt x="2501" y="2083"/>
                  <a:pt x="2420" y="2203"/>
                  <a:pt x="2318" y="2305"/>
                </a:cubicBezTo>
                <a:cubicBezTo>
                  <a:pt x="2215" y="2408"/>
                  <a:pt x="2095" y="2489"/>
                  <a:pt x="1962" y="2545"/>
                </a:cubicBezTo>
                <a:close/>
              </a:path>
            </a:pathLst>
          </a:custGeom>
          <a:gradFill>
            <a:gsLst>
              <a:gs pos="0">
                <a:srgbClr val="032145">
                  <a:lumMod val="25000"/>
                  <a:lumOff val="75000"/>
                </a:srgbClr>
              </a:gs>
              <a:gs pos="100000">
                <a:srgbClr val="032145">
                  <a:alpha val="27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5" name="Freeform 17"/>
          <p:cNvSpPr>
            <a:spLocks noEditPoints="1"/>
          </p:cNvSpPr>
          <p:nvPr userDrawn="1"/>
        </p:nvSpPr>
        <p:spPr bwMode="auto">
          <a:xfrm rot="1144636">
            <a:off x="1274471" y="3042352"/>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6" name="Freeform 17"/>
          <p:cNvSpPr>
            <a:spLocks noEditPoints="1"/>
          </p:cNvSpPr>
          <p:nvPr userDrawn="1"/>
        </p:nvSpPr>
        <p:spPr bwMode="auto">
          <a:xfrm>
            <a:off x="8310319" y="1227001"/>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7" name="Freeform 38"/>
          <p:cNvSpPr>
            <a:spLocks noEditPoints="1"/>
          </p:cNvSpPr>
          <p:nvPr userDrawn="1"/>
        </p:nvSpPr>
        <p:spPr bwMode="auto">
          <a:xfrm>
            <a:off x="4529669" y="1939152"/>
            <a:ext cx="3096684" cy="2982384"/>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8" name="Freeform 39"/>
          <p:cNvSpPr>
            <a:spLocks noEditPoints="1"/>
          </p:cNvSpPr>
          <p:nvPr userDrawn="1"/>
        </p:nvSpPr>
        <p:spPr bwMode="auto">
          <a:xfrm>
            <a:off x="4891617" y="2241837"/>
            <a:ext cx="2372784" cy="237701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9" name="Freeform 40"/>
          <p:cNvSpPr>
            <a:spLocks noEditPoints="1"/>
          </p:cNvSpPr>
          <p:nvPr userDrawn="1"/>
        </p:nvSpPr>
        <p:spPr bwMode="auto">
          <a:xfrm>
            <a:off x="5164668" y="2521236"/>
            <a:ext cx="1820333" cy="1824567"/>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rgbClr val="3B3C40"/>
              </a:solidFill>
              <a:effectLst/>
              <a:uLnTx/>
              <a:uFillTx/>
            </a:endParaRPr>
          </a:p>
        </p:txBody>
      </p:sp>
      <p:sp>
        <p:nvSpPr>
          <p:cNvPr id="4" name="Rectangle 3"/>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2" name="Titre 1"/>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3" name="Espace réservé du numéro de diapositive 2"/>
          <p:cNvSpPr>
            <a:spLocks noGrp="1"/>
          </p:cNvSpPr>
          <p:nvPr>
            <p:ph type="sldNum" sz="quarter" idx="10"/>
          </p:nvPr>
        </p:nvSpPr>
        <p:spPr/>
        <p:txBody>
          <a:bodyPr/>
          <a:lstStyle/>
          <a:p>
            <a:fld id="{88A6B057-71F2-43BA-98BD-164F4E914A39}" type="slidenum">
              <a:rPr lang="en-GB" smtClean="0"/>
              <a:pPr/>
              <a:t>‹#›</a:t>
            </a:fld>
            <a:endParaRPr lang="en-GB" dirty="0"/>
          </a:p>
        </p:txBody>
      </p:sp>
      <p:sp>
        <p:nvSpPr>
          <p:cNvPr id="16" name="Espace réservé du texte 15"/>
          <p:cNvSpPr>
            <a:spLocks noGrp="1" noChangeAspect="1"/>
          </p:cNvSpPr>
          <p:nvPr userDrawn="1">
            <p:ph type="body" sz="quarter" idx="11" hasCustomPrompt="1"/>
          </p:nvPr>
        </p:nvSpPr>
        <p:spPr>
          <a:xfrm>
            <a:off x="6867211"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7" name="Espace réservé du texte 15"/>
          <p:cNvSpPr>
            <a:spLocks noGrp="1" noChangeAspect="1"/>
          </p:cNvSpPr>
          <p:nvPr userDrawn="1">
            <p:ph type="body" sz="quarter" idx="12" hasCustomPrompt="1"/>
          </p:nvPr>
        </p:nvSpPr>
        <p:spPr>
          <a:xfrm>
            <a:off x="7556960" y="3408859"/>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8" name="Espace réservé du texte 15"/>
          <p:cNvSpPr>
            <a:spLocks noGrp="1" noChangeAspect="1"/>
          </p:cNvSpPr>
          <p:nvPr userDrawn="1">
            <p:ph type="body" sz="quarter" idx="13" hasCustomPrompt="1"/>
          </p:nvPr>
        </p:nvSpPr>
        <p:spPr>
          <a:xfrm>
            <a:off x="5859164" y="4900176"/>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9" name="Espace réservé du texte 15"/>
          <p:cNvSpPr>
            <a:spLocks noGrp="1" noChangeAspect="1"/>
          </p:cNvSpPr>
          <p:nvPr userDrawn="1">
            <p:ph type="body" sz="quarter" idx="14" hasCustomPrompt="1"/>
          </p:nvPr>
        </p:nvSpPr>
        <p:spPr>
          <a:xfrm>
            <a:off x="4165600" y="3438381"/>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6" name="Espace réservé du texte 15"/>
          <p:cNvSpPr>
            <a:spLocks noGrp="1" noChangeAspect="1"/>
          </p:cNvSpPr>
          <p:nvPr userDrawn="1">
            <p:ph type="body" sz="quarter" idx="15" hasCustomPrompt="1"/>
          </p:nvPr>
        </p:nvSpPr>
        <p:spPr>
          <a:xfrm>
            <a:off x="4796367"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8" name="Espace réservé du texte 27"/>
          <p:cNvSpPr>
            <a:spLocks noGrp="1"/>
          </p:cNvSpPr>
          <p:nvPr userDrawn="1">
            <p:ph type="body" sz="quarter" idx="16"/>
          </p:nvPr>
        </p:nvSpPr>
        <p:spPr>
          <a:xfrm>
            <a:off x="1307448" y="1742617"/>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29" name="Espace réservé du texte 27"/>
          <p:cNvSpPr>
            <a:spLocks noGrp="1"/>
          </p:cNvSpPr>
          <p:nvPr userDrawn="1">
            <p:ph type="body" sz="quarter" idx="17"/>
          </p:nvPr>
        </p:nvSpPr>
        <p:spPr>
          <a:xfrm>
            <a:off x="701688" y="3307518"/>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0" name="Espace réservé du texte 27"/>
          <p:cNvSpPr>
            <a:spLocks noGrp="1"/>
          </p:cNvSpPr>
          <p:nvPr userDrawn="1">
            <p:ph type="body" sz="quarter" idx="18"/>
          </p:nvPr>
        </p:nvSpPr>
        <p:spPr>
          <a:xfrm>
            <a:off x="2370245" y="4781269"/>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1" name="Espace réservé du texte 27"/>
          <p:cNvSpPr>
            <a:spLocks noGrp="1"/>
          </p:cNvSpPr>
          <p:nvPr userDrawn="1">
            <p:ph type="body" sz="quarter" idx="19"/>
          </p:nvPr>
        </p:nvSpPr>
        <p:spPr>
          <a:xfrm>
            <a:off x="7454476" y="1742617"/>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2" name="Espace réservé du texte 27"/>
          <p:cNvSpPr>
            <a:spLocks noGrp="1"/>
          </p:cNvSpPr>
          <p:nvPr userDrawn="1">
            <p:ph type="body" sz="quarter" idx="20"/>
          </p:nvPr>
        </p:nvSpPr>
        <p:spPr>
          <a:xfrm>
            <a:off x="8113484" y="3277995"/>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6" name="Espace réservé du pied de page 5"/>
          <p:cNvSpPr>
            <a:spLocks noGrp="1"/>
          </p:cNvSpPr>
          <p:nvPr>
            <p:ph type="ftr" sz="quarter" idx="2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1350793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par>
                                <p:cTn id="14" presetID="8" presetClass="emph" presetSubtype="0" decel="62500" fill="hold" grpId="0" nodeType="withEffect">
                                  <p:stCondLst>
                                    <p:cond delay="0"/>
                                  </p:stCondLst>
                                  <p:childTnLst>
                                    <p:animRot by="21600000">
                                      <p:cBhvr>
                                        <p:cTn id="15" dur="4000" fill="hold"/>
                                        <p:tgtEl>
                                          <p:spTgt spid="45"/>
                                        </p:tgtEl>
                                        <p:attrNameLst>
                                          <p:attrName>r</p:attrName>
                                        </p:attrNameLst>
                                      </p:cBhvr>
                                    </p:animRot>
                                  </p:childTnLst>
                                </p:cTn>
                              </p:par>
                              <p:par>
                                <p:cTn id="16" presetID="8" presetClass="emph" presetSubtype="0" decel="62500" fill="hold" grpId="0" nodeType="withEffect">
                                  <p:stCondLst>
                                    <p:cond delay="0"/>
                                  </p:stCondLst>
                                  <p:childTnLst>
                                    <p:animRot by="-12660000">
                                      <p:cBhvr>
                                        <p:cTn id="17" dur="4000" fill="hold"/>
                                        <p:tgtEl>
                                          <p:spTgt spid="44"/>
                                        </p:tgtEl>
                                        <p:attrNameLst>
                                          <p:attrName>r</p:attrName>
                                        </p:attrNameLst>
                                      </p:cBhvr>
                                    </p:animRot>
                                  </p:childTnLst>
                                </p:cTn>
                              </p:par>
                              <p:par>
                                <p:cTn id="18" presetID="8" presetClass="emph" presetSubtype="0" decel="62500" fill="hold" grpId="0" nodeType="withEffect">
                                  <p:stCondLst>
                                    <p:cond delay="0"/>
                                  </p:stCondLst>
                                  <p:childTnLst>
                                    <p:animRot by="21600000">
                                      <p:cBhvr>
                                        <p:cTn id="19" dur="4000" fill="hold"/>
                                        <p:tgtEl>
                                          <p:spTgt spid="46"/>
                                        </p:tgtEl>
                                        <p:attrNameLst>
                                          <p:attrName>r</p:attrName>
                                        </p:attrNameLst>
                                      </p:cBhvr>
                                    </p:animRot>
                                  </p:childTnLst>
                                </p:cTn>
                              </p:par>
                              <p:par>
                                <p:cTn id="20" presetID="10" presetClass="entr" presetSubtype="0" fill="hold" grpId="1" nodeType="with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fade">
                                      <p:cBhvr>
                                        <p:cTn id="25" dur="500"/>
                                        <p:tgtEl>
                                          <p:spTgt spid="4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8" presetClass="emph" presetSubtype="0" fill="hold" grpId="0" nodeType="withEffect">
                                  <p:stCondLst>
                                    <p:cond delay="0"/>
                                  </p:stCondLst>
                                  <p:childTnLst>
                                    <p:animRot by="21600000">
                                      <p:cBhvr>
                                        <p:cTn id="30" dur="4000" fill="hold"/>
                                        <p:tgtEl>
                                          <p:spTgt spid="49"/>
                                        </p:tgtEl>
                                        <p:attrNameLst>
                                          <p:attrName>r</p:attrName>
                                        </p:attrNameLst>
                                      </p:cBhvr>
                                    </p:animRot>
                                  </p:childTnLst>
                                </p:cTn>
                              </p:par>
                              <p:par>
                                <p:cTn id="31" presetID="8" presetClass="emph" presetSubtype="0" fill="hold" grpId="0" nodeType="withEffect">
                                  <p:stCondLst>
                                    <p:cond delay="0"/>
                                  </p:stCondLst>
                                  <p:childTnLst>
                                    <p:animRot by="-21600000">
                                      <p:cBhvr>
                                        <p:cTn id="32" dur="4000" fill="hold"/>
                                        <p:tgtEl>
                                          <p:spTgt spid="48"/>
                                        </p:tgtEl>
                                        <p:attrNameLst>
                                          <p:attrName>r</p:attrName>
                                        </p:attrNameLst>
                                      </p:cBhvr>
                                    </p:animRot>
                                  </p:childTnLst>
                                </p:cTn>
                              </p:par>
                              <p:par>
                                <p:cTn id="33" presetID="8" presetClass="emph" presetSubtype="0" fill="hold" grpId="0" nodeType="withEffect">
                                  <p:stCondLst>
                                    <p:cond delay="0"/>
                                  </p:stCondLst>
                                  <p:childTnLst>
                                    <p:animRot by="21600000">
                                      <p:cBhvr>
                                        <p:cTn id="34" dur="4000" fill="hold"/>
                                        <p:tgtEl>
                                          <p:spTgt spid="47"/>
                                        </p:tgtEl>
                                        <p:attrNameLst>
                                          <p:attrName>r</p:attrName>
                                        </p:attrNameLst>
                                      </p:cBhvr>
                                    </p:animRot>
                                  </p:childTnLst>
                                </p:cTn>
                              </p:par>
                              <p:par>
                                <p:cTn id="35" presetID="10" presetClass="entr" presetSubtype="0" fill="hold" grpId="0" nodeType="withEffect" nodePh="1">
                                  <p:stCondLst>
                                    <p:cond delay="500"/>
                                  </p:stCondLst>
                                  <p:endCondLst>
                                    <p:cond evt="begin" delay="0">
                                      <p:tn val="35"/>
                                    </p:cond>
                                  </p:end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10" presetClass="entr" presetSubtype="0" fill="hold" grpId="0" nodeType="withEffect" nodePh="1">
                                  <p:stCondLst>
                                    <p:cond delay="1000"/>
                                  </p:stCondLst>
                                  <p:endCondLst>
                                    <p:cond evt="begin" delay="0">
                                      <p:tn val="38"/>
                                    </p:cond>
                                  </p:end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grpId="0" nodeType="withEffect" nodePh="1">
                                  <p:stCondLst>
                                    <p:cond delay="1500"/>
                                  </p:stCondLst>
                                  <p:endCondLst>
                                    <p:cond evt="begin" delay="0">
                                      <p:tn val="41"/>
                                    </p:cond>
                                  </p:endCondLst>
                                  <p:childTnLst>
                                    <p:set>
                                      <p:cBhvr>
                                        <p:cTn id="42" dur="1" fill="hold">
                                          <p:stCondLst>
                                            <p:cond delay="0"/>
                                          </p:stCondLst>
                                        </p:cTn>
                                        <p:tgtEl>
                                          <p:spTgt spid="30"/>
                                        </p:tgtEl>
                                        <p:attrNameLst>
                                          <p:attrName>style.visibility</p:attrName>
                                        </p:attrNameLst>
                                      </p:cBhvr>
                                      <p:to>
                                        <p:strVal val="visible"/>
                                      </p:to>
                                    </p:set>
                                    <p:animEffect transition="in" filter="fade">
                                      <p:cBhvr>
                                        <p:cTn id="43" dur="500"/>
                                        <p:tgtEl>
                                          <p:spTgt spid="30"/>
                                        </p:tgtEl>
                                      </p:cBhvr>
                                    </p:animEffect>
                                  </p:childTnLst>
                                </p:cTn>
                              </p:par>
                              <p:par>
                                <p:cTn id="44" presetID="10" presetClass="entr" presetSubtype="0" fill="hold" grpId="0" nodeType="withEffect" nodePh="1">
                                  <p:stCondLst>
                                    <p:cond delay="2000"/>
                                  </p:stCondLst>
                                  <p:endCondLst>
                                    <p:cond evt="begin" delay="0">
                                      <p:tn val="44"/>
                                    </p:cond>
                                  </p:end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nodePh="1">
                                  <p:stCondLst>
                                    <p:cond delay="2500"/>
                                  </p:stCondLst>
                                  <p:endCondLst>
                                    <p:cond evt="begin" delay="0">
                                      <p:tn val="47"/>
                                    </p:cond>
                                  </p:endCondLst>
                                  <p:childTnLst>
                                    <p:set>
                                      <p:cBhvr>
                                        <p:cTn id="48" dur="1" fill="hold">
                                          <p:stCondLst>
                                            <p:cond delay="0"/>
                                          </p:stCondLst>
                                        </p:cTn>
                                        <p:tgtEl>
                                          <p:spTgt spid="28"/>
                                        </p:tgtEl>
                                        <p:attrNameLst>
                                          <p:attrName>style.visibility</p:attrName>
                                        </p:attrNameLst>
                                      </p:cBhvr>
                                      <p:to>
                                        <p:strVal val="visible"/>
                                      </p:to>
                                    </p:set>
                                    <p:animEffect transition="in" filter="fade">
                                      <p:cBhvr>
                                        <p:cTn id="49" dur="500"/>
                                        <p:tgtEl>
                                          <p:spTgt spid="28"/>
                                        </p:tgtEl>
                                      </p:cBhvr>
                                    </p:animEffect>
                                  </p:childTnLst>
                                </p:cTn>
                              </p:par>
                              <p:par>
                                <p:cTn id="50" presetID="10" presetClass="entr" presetSubtype="0" fill="hold" grpId="0" nodeType="withEffect">
                                  <p:stCondLst>
                                    <p:cond delay="250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200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par>
                                <p:cTn id="62" presetID="10" presetClass="entr" presetSubtype="0" fill="hold" grpId="0" nodeType="withEffect">
                                  <p:stCondLst>
                                    <p:cond delay="150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16" grpId="0" animBg="1">
        <p:tmplLst>
          <p:tmpl>
            <p:tnLst>
              <p:par>
                <p:cTn presetID="10" presetClass="entr" presetSubtype="0" fill="hold" nodeType="withEffect">
                  <p:stCondLst>
                    <p:cond delay="5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animBg="1">
        <p:tmplLst>
          <p:tmpl>
            <p:tnLst>
              <p:par>
                <p:cTn presetID="10" presetClass="entr" presetSubtype="0" fill="hold" nodeType="withEffect">
                  <p:stCondLst>
                    <p:cond delay="100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animBg="1">
        <p:tmplLst>
          <p:tmpl>
            <p:tnLst>
              <p:par>
                <p:cTn presetID="10" presetClass="entr" presetSubtype="0" fill="hold" nodeType="withEffect">
                  <p:stCondLst>
                    <p:cond delay="150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9" grpId="0" animBg="1">
        <p:tmplLst>
          <p:tmpl>
            <p:tnLst>
              <p:par>
                <p:cTn presetID="10" presetClass="entr" presetSubtype="0" fill="hold" nodeType="withEffect">
                  <p:stCondLst>
                    <p:cond delay="200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6" grpId="0" animBg="1">
        <p:tmplLst>
          <p:tmpl>
            <p:tnLst>
              <p:par>
                <p:cTn presetID="10" presetClass="entr" presetSubtype="0" fill="hold" nodeType="withEffect">
                  <p:stCondLst>
                    <p:cond delay="250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P spid="28" grpId="0">
        <p:tmplLst>
          <p:tmpl>
            <p:tnLst>
              <p:par>
                <p:cTn presetID="10" presetClass="entr" presetSubtype="0" fill="hold" nodeType="withEffect" nodePh="1">
                  <p:stCondLst>
                    <p:cond delay="2500"/>
                  </p:stCondLst>
                  <p:endCondLst>
                    <p:cond delay="0"/>
                  </p:end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29" grpId="0">
        <p:tmplLst>
          <p:tmpl>
            <p:tnLst>
              <p:par>
                <p:cTn presetID="10" presetClass="entr" presetSubtype="0" fill="hold" nodeType="withEffect" nodePh="1">
                  <p:stCondLst>
                    <p:cond delay="2000"/>
                  </p:stCondLst>
                  <p:endCondLst>
                    <p:cond delay="0"/>
                  </p:end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childTnLst>
                </p:cTn>
              </p:par>
            </p:tnLst>
          </p:tmpl>
        </p:tmplLst>
      </p:bldP>
      <p:bldP spid="30" grpId="0">
        <p:tmplLst>
          <p:tmpl>
            <p:tnLst>
              <p:par>
                <p:cTn presetID="10" presetClass="entr" presetSubtype="0" fill="hold" nodeType="withEffect" nodePh="1">
                  <p:stCondLst>
                    <p:cond delay="1500"/>
                  </p:stCondLst>
                  <p:endCondLst>
                    <p:cond delay="0"/>
                  </p:endCondLst>
                  <p:childTnLst>
                    <p:set>
                      <p:cBhvr>
                        <p:cTn dur="1" fill="hold">
                          <p:stCondLst>
                            <p:cond delay="0"/>
                          </p:stCondLst>
                        </p:cTn>
                        <p:tgtEl>
                          <p:spTgt spid="30"/>
                        </p:tgtEl>
                        <p:attrNameLst>
                          <p:attrName>style.visibility</p:attrName>
                        </p:attrNameLst>
                      </p:cBhvr>
                      <p:to>
                        <p:strVal val="visible"/>
                      </p:to>
                    </p:set>
                    <p:animEffect transition="in" filter="fade">
                      <p:cBhvr>
                        <p:cTn dur="500"/>
                        <p:tgtEl>
                          <p:spTgt spid="30"/>
                        </p:tgtEl>
                      </p:cBhvr>
                    </p:animEffect>
                  </p:childTnLst>
                </p:cTn>
              </p:par>
            </p:tnLst>
          </p:tmpl>
        </p:tmplLst>
      </p:bldP>
      <p:bldP spid="31" grpId="0">
        <p:tmplLst>
          <p:tmpl>
            <p:tnLst>
              <p:par>
                <p:cTn presetID="10" presetClass="entr" presetSubtype="0" fill="hold" nodeType="withEffect" nodePh="1">
                  <p:stCondLst>
                    <p:cond delay="500"/>
                  </p:stCondLst>
                  <p:endCondLst>
                    <p:cond delay="0"/>
                  </p:end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2" grpId="0">
        <p:tmplLst>
          <p:tmpl>
            <p:tnLst>
              <p:par>
                <p:cTn presetID="10" presetClass="entr" presetSubtype="0" fill="hold" nodeType="withEffect" nodePh="1">
                  <p:stCondLst>
                    <p:cond delay="1000"/>
                  </p:stCondLst>
                  <p:endCondLst>
                    <p:cond delay="0"/>
                  </p:end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content &amp; image">
    <p:spTree>
      <p:nvGrpSpPr>
        <p:cNvPr id="1" name=""/>
        <p:cNvGrpSpPr/>
        <p:nvPr/>
      </p:nvGrpSpPr>
      <p:grpSpPr>
        <a:xfrm>
          <a:off x="0" y="0"/>
          <a:ext cx="0" cy="0"/>
          <a:chOff x="0" y="0"/>
          <a:chExt cx="0" cy="0"/>
        </a:xfrm>
      </p:grpSpPr>
      <p:sp>
        <p:nvSpPr>
          <p:cNvPr id="13"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4"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6"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7" name="Rectangle 16"/>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18"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Content Placeholder 2"/>
          <p:cNvSpPr>
            <a:spLocks noGrp="1"/>
          </p:cNvSpPr>
          <p:nvPr>
            <p:ph idx="1" hasCustomPrompt="1"/>
          </p:nvPr>
        </p:nvSpPr>
        <p:spPr>
          <a:xfrm>
            <a:off x="363166" y="1600202"/>
            <a:ext cx="5556725" cy="4325076"/>
          </a:xfrm>
        </p:spPr>
        <p:txBody>
          <a:body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p:txBody>
      </p:sp>
      <p:sp>
        <p:nvSpPr>
          <p:cNvPr id="4" name="Titre 3"/>
          <p:cNvSpPr>
            <a:spLocks noGrp="1"/>
          </p:cNvSpPr>
          <p:nvPr>
            <p:ph type="title"/>
          </p:nvPr>
        </p:nvSpPr>
        <p:spPr/>
        <p:txBody>
          <a:bodyPr/>
          <a:lstStyle>
            <a:lvl1pPr>
              <a:defRPr>
                <a:solidFill>
                  <a:schemeClr val="accent1"/>
                </a:solidFill>
              </a:defRPr>
            </a:lvl1pPr>
          </a:lstStyle>
          <a:p>
            <a:r>
              <a:rPr lang="en-GB"/>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15" name="Picture Placeholder 6"/>
          <p:cNvSpPr>
            <a:spLocks noGrp="1"/>
          </p:cNvSpPr>
          <p:nvPr>
            <p:ph type="pic" sz="quarter" idx="10"/>
          </p:nvPr>
        </p:nvSpPr>
        <p:spPr>
          <a:xfrm>
            <a:off x="6286364" y="1600202"/>
            <a:ext cx="5556725" cy="4325076"/>
          </a:xfrm>
          <a:prstGeom prst="roundRect">
            <a:avLst>
              <a:gd name="adj" fmla="val 1452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Tree>
    <p:extLst>
      <p:ext uri="{BB962C8B-B14F-4D97-AF65-F5344CB8AC3E}">
        <p14:creationId xmlns:p14="http://schemas.microsoft.com/office/powerpoint/2010/main" val="365431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2"/>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6086247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57" name="Espace réservé pour une image  56"/>
          <p:cNvSpPr>
            <a:spLocks noGrp="1"/>
          </p:cNvSpPr>
          <p:nvPr>
            <p:ph type="pic" sz="quarter" idx="10"/>
          </p:nvPr>
        </p:nvSpPr>
        <p:spPr>
          <a:xfrm>
            <a:off x="1761067" y="1198443"/>
            <a:ext cx="8669867" cy="4346255"/>
          </a:xfrm>
          <a:custGeom>
            <a:avLst/>
            <a:gdLst>
              <a:gd name="connsiteX0" fmla="*/ 6107487 w 6502400"/>
              <a:gd name="connsiteY0" fmla="*/ 3159716 h 3259691"/>
              <a:gd name="connsiteX1" fmla="*/ 6160585 w 6502400"/>
              <a:gd name="connsiteY1" fmla="*/ 3170436 h 3259691"/>
              <a:gd name="connsiteX2" fmla="*/ 6107488 w 6502400"/>
              <a:gd name="connsiteY2" fmla="*/ 3159716 h 3259691"/>
              <a:gd name="connsiteX3" fmla="*/ 152362 w 6502400"/>
              <a:gd name="connsiteY3" fmla="*/ 2752632 h 3259691"/>
              <a:gd name="connsiteX4" fmla="*/ 140361 w 6502400"/>
              <a:gd name="connsiteY4" fmla="*/ 2760723 h 3259691"/>
              <a:gd name="connsiteX5" fmla="*/ 55105 w 6502400"/>
              <a:gd name="connsiteY5" fmla="*/ 2777935 h 3259691"/>
              <a:gd name="connsiteX6" fmla="*/ 55105 w 6502400"/>
              <a:gd name="connsiteY6" fmla="*/ 2777935 h 3259691"/>
              <a:gd name="connsiteX7" fmla="*/ 99246 w 6502400"/>
              <a:gd name="connsiteY7" fmla="*/ 2773485 h 3259691"/>
              <a:gd name="connsiteX8" fmla="*/ 192667 w 6502400"/>
              <a:gd name="connsiteY8" fmla="*/ 2725457 h 3259691"/>
              <a:gd name="connsiteX9" fmla="*/ 168679 w 6502400"/>
              <a:gd name="connsiteY9" fmla="*/ 2746225 h 3259691"/>
              <a:gd name="connsiteX10" fmla="*/ 152362 w 6502400"/>
              <a:gd name="connsiteY10" fmla="*/ 2752632 h 3259691"/>
              <a:gd name="connsiteX11" fmla="*/ 215354 w 6502400"/>
              <a:gd name="connsiteY11" fmla="*/ 2705816 h 3259691"/>
              <a:gd name="connsiteX12" fmla="*/ 209982 w 6502400"/>
              <a:gd name="connsiteY12" fmla="*/ 2713783 h 3259691"/>
              <a:gd name="connsiteX13" fmla="*/ 192667 w 6502400"/>
              <a:gd name="connsiteY13" fmla="*/ 2725457 h 3259691"/>
              <a:gd name="connsiteX14" fmla="*/ 227647 w 6502400"/>
              <a:gd name="connsiteY14" fmla="*/ 2687582 h 3259691"/>
              <a:gd name="connsiteX15" fmla="*/ 229221 w 6502400"/>
              <a:gd name="connsiteY15" fmla="*/ 2689333 h 3259691"/>
              <a:gd name="connsiteX16" fmla="*/ 224118 w 6502400"/>
              <a:gd name="connsiteY16" fmla="*/ 2698229 h 3259691"/>
              <a:gd name="connsiteX17" fmla="*/ 215354 w 6502400"/>
              <a:gd name="connsiteY17" fmla="*/ 2705816 h 3259691"/>
              <a:gd name="connsiteX18" fmla="*/ 473157 w 6502400"/>
              <a:gd name="connsiteY18" fmla="*/ 0 h 3259691"/>
              <a:gd name="connsiteX19" fmla="*/ 6029243 w 6502400"/>
              <a:gd name="connsiteY19" fmla="*/ 0 h 3259691"/>
              <a:gd name="connsiteX20" fmla="*/ 6502400 w 6502400"/>
              <a:gd name="connsiteY20" fmla="*/ 473157 h 3259691"/>
              <a:gd name="connsiteX21" fmla="*/ 6502400 w 6502400"/>
              <a:gd name="connsiteY21" fmla="*/ 2784153 h 3259691"/>
              <a:gd name="connsiteX22" fmla="*/ 6492787 w 6502400"/>
              <a:gd name="connsiteY22" fmla="*/ 2879511 h 3259691"/>
              <a:gd name="connsiteX23" fmla="*/ 6471027 w 6502400"/>
              <a:gd name="connsiteY23" fmla="*/ 2949612 h 3259691"/>
              <a:gd name="connsiteX24" fmla="*/ 6289795 w 6502400"/>
              <a:gd name="connsiteY24" fmla="*/ 2997917 h 3259691"/>
              <a:gd name="connsiteX25" fmla="*/ 6289716 w 6502400"/>
              <a:gd name="connsiteY25" fmla="*/ 2997951 h 3259691"/>
              <a:gd name="connsiteX26" fmla="*/ 6296998 w 6502400"/>
              <a:gd name="connsiteY26" fmla="*/ 3034023 h 3259691"/>
              <a:gd name="connsiteX27" fmla="*/ 6160585 w 6502400"/>
              <a:gd name="connsiteY27" fmla="*/ 2897610 h 3259691"/>
              <a:gd name="connsiteX28" fmla="*/ 6024172 w 6502400"/>
              <a:gd name="connsiteY28" fmla="*/ 3034023 h 3259691"/>
              <a:gd name="connsiteX29" fmla="*/ 6034892 w 6502400"/>
              <a:gd name="connsiteY29" fmla="*/ 3087121 h 3259691"/>
              <a:gd name="connsiteX30" fmla="*/ 6054023 w 6502400"/>
              <a:gd name="connsiteY30" fmla="*/ 3115496 h 3259691"/>
              <a:gd name="connsiteX31" fmla="*/ 6045354 w 6502400"/>
              <a:gd name="connsiteY31" fmla="*/ 3102639 h 3259691"/>
              <a:gd name="connsiteX32" fmla="*/ 6044375 w 6502400"/>
              <a:gd name="connsiteY32" fmla="*/ 3103058 h 3259691"/>
              <a:gd name="connsiteX33" fmla="*/ 5794026 w 6502400"/>
              <a:gd name="connsiteY33" fmla="*/ 3259691 h 3259691"/>
              <a:gd name="connsiteX34" fmla="*/ 739866 w 6502400"/>
              <a:gd name="connsiteY34" fmla="*/ 3257310 h 3259691"/>
              <a:gd name="connsiteX35" fmla="*/ 229221 w 6502400"/>
              <a:gd name="connsiteY35" fmla="*/ 2689333 h 3259691"/>
              <a:gd name="connsiteX36" fmla="*/ 260843 w 6502400"/>
              <a:gd name="connsiteY36" fmla="*/ 2634216 h 3259691"/>
              <a:gd name="connsiteX37" fmla="*/ 274133 w 6502400"/>
              <a:gd name="connsiteY37" fmla="*/ 2558906 h 3259691"/>
              <a:gd name="connsiteX38" fmla="*/ 55104 w 6502400"/>
              <a:gd name="connsiteY38" fmla="*/ 2339877 h 3259691"/>
              <a:gd name="connsiteX39" fmla="*/ 10962 w 6502400"/>
              <a:gd name="connsiteY39" fmla="*/ 2344327 h 3259691"/>
              <a:gd name="connsiteX40" fmla="*/ 0 w 6502400"/>
              <a:gd name="connsiteY40" fmla="*/ 2347730 h 3259691"/>
              <a:gd name="connsiteX41" fmla="*/ 0 w 6502400"/>
              <a:gd name="connsiteY41" fmla="*/ 473157 h 3259691"/>
              <a:gd name="connsiteX42" fmla="*/ 473157 w 6502400"/>
              <a:gd name="connsiteY42" fmla="*/ 0 h 325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02400" h="3259691">
                <a:moveTo>
                  <a:pt x="6107487" y="3159716"/>
                </a:moveTo>
                <a:lnTo>
                  <a:pt x="6160585" y="3170436"/>
                </a:lnTo>
                <a:cubicBezTo>
                  <a:pt x="6141751" y="3170436"/>
                  <a:pt x="6123808" y="3166619"/>
                  <a:pt x="6107488" y="3159716"/>
                </a:cubicBezTo>
                <a:close/>
                <a:moveTo>
                  <a:pt x="152362" y="2752632"/>
                </a:moveTo>
                <a:lnTo>
                  <a:pt x="140361" y="2760723"/>
                </a:lnTo>
                <a:cubicBezTo>
                  <a:pt x="114157" y="2771806"/>
                  <a:pt x="85347" y="2777935"/>
                  <a:pt x="55105" y="2777935"/>
                </a:cubicBezTo>
                <a:lnTo>
                  <a:pt x="55105" y="2777935"/>
                </a:lnTo>
                <a:lnTo>
                  <a:pt x="99246" y="2773485"/>
                </a:lnTo>
                <a:close/>
                <a:moveTo>
                  <a:pt x="192667" y="2725457"/>
                </a:moveTo>
                <a:lnTo>
                  <a:pt x="168679" y="2746225"/>
                </a:lnTo>
                <a:lnTo>
                  <a:pt x="152362" y="2752632"/>
                </a:lnTo>
                <a:close/>
                <a:moveTo>
                  <a:pt x="215354" y="2705816"/>
                </a:moveTo>
                <a:lnTo>
                  <a:pt x="209982" y="2713783"/>
                </a:lnTo>
                <a:lnTo>
                  <a:pt x="192667" y="2725457"/>
                </a:lnTo>
                <a:close/>
                <a:moveTo>
                  <a:pt x="227647" y="2687582"/>
                </a:moveTo>
                <a:lnTo>
                  <a:pt x="229221" y="2689333"/>
                </a:lnTo>
                <a:lnTo>
                  <a:pt x="224118" y="2698229"/>
                </a:lnTo>
                <a:lnTo>
                  <a:pt x="215354" y="2705816"/>
                </a:lnTo>
                <a:close/>
                <a:moveTo>
                  <a:pt x="473157" y="0"/>
                </a:moveTo>
                <a:lnTo>
                  <a:pt x="6029243" y="0"/>
                </a:lnTo>
                <a:cubicBezTo>
                  <a:pt x="6290560" y="0"/>
                  <a:pt x="6502400" y="211840"/>
                  <a:pt x="6502400" y="473157"/>
                </a:cubicBezTo>
                <a:lnTo>
                  <a:pt x="6502400" y="2784153"/>
                </a:lnTo>
                <a:cubicBezTo>
                  <a:pt x="6502400" y="2816818"/>
                  <a:pt x="6499090" y="2848709"/>
                  <a:pt x="6492787" y="2879511"/>
                </a:cubicBezTo>
                <a:lnTo>
                  <a:pt x="6471027" y="2949612"/>
                </a:lnTo>
                <a:lnTo>
                  <a:pt x="6289795" y="2997917"/>
                </a:lnTo>
                <a:lnTo>
                  <a:pt x="6289716" y="2997951"/>
                </a:lnTo>
                <a:lnTo>
                  <a:pt x="6296998" y="3034023"/>
                </a:lnTo>
                <a:cubicBezTo>
                  <a:pt x="6296998" y="2958684"/>
                  <a:pt x="6235924" y="2897610"/>
                  <a:pt x="6160585" y="2897610"/>
                </a:cubicBezTo>
                <a:cubicBezTo>
                  <a:pt x="6085246" y="2897610"/>
                  <a:pt x="6024172" y="2958684"/>
                  <a:pt x="6024172" y="3034023"/>
                </a:cubicBezTo>
                <a:cubicBezTo>
                  <a:pt x="6024172" y="3052858"/>
                  <a:pt x="6027989" y="3070801"/>
                  <a:pt x="6034892" y="3087121"/>
                </a:cubicBezTo>
                <a:lnTo>
                  <a:pt x="6054023" y="3115496"/>
                </a:lnTo>
                <a:lnTo>
                  <a:pt x="6045354" y="3102639"/>
                </a:lnTo>
                <a:lnTo>
                  <a:pt x="6044375" y="3103058"/>
                </a:lnTo>
                <a:lnTo>
                  <a:pt x="5794026" y="3259691"/>
                </a:lnTo>
                <a:lnTo>
                  <a:pt x="739866" y="3257310"/>
                </a:lnTo>
                <a:lnTo>
                  <a:pt x="229221" y="2689333"/>
                </a:lnTo>
                <a:lnTo>
                  <a:pt x="260843" y="2634216"/>
                </a:lnTo>
                <a:cubicBezTo>
                  <a:pt x="269441" y="2610733"/>
                  <a:pt x="274133" y="2585367"/>
                  <a:pt x="274133" y="2558906"/>
                </a:cubicBezTo>
                <a:cubicBezTo>
                  <a:pt x="274133" y="2437940"/>
                  <a:pt x="176070" y="2339877"/>
                  <a:pt x="55104" y="2339877"/>
                </a:cubicBezTo>
                <a:cubicBezTo>
                  <a:pt x="39984" y="2339877"/>
                  <a:pt x="25221" y="2341409"/>
                  <a:pt x="10962" y="2344327"/>
                </a:cubicBezTo>
                <a:lnTo>
                  <a:pt x="0" y="2347730"/>
                </a:lnTo>
                <a:lnTo>
                  <a:pt x="0" y="473157"/>
                </a:lnTo>
                <a:cubicBezTo>
                  <a:pt x="0" y="211840"/>
                  <a:pt x="211840" y="0"/>
                  <a:pt x="473157"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dirty="0"/>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pic>
        <p:nvPicPr>
          <p:cNvPr id="104" name="Image 103"/>
          <p:cNvPicPr>
            <a:picLocks noChangeAspect="1"/>
          </p:cNvPicPr>
          <p:nvPr userDrawn="1"/>
        </p:nvPicPr>
        <p:blipFill>
          <a:blip r:embed="rId3"/>
          <a:srcRect/>
          <a:stretch>
            <a:fillRect/>
          </a:stretch>
        </p:blipFill>
        <p:spPr>
          <a:xfrm>
            <a:off x="-467455" y="-397260"/>
            <a:ext cx="3194581" cy="3194581"/>
          </a:xfrm>
          <a:custGeom>
            <a:avLst/>
            <a:gdLst>
              <a:gd name="connsiteX0" fmla="*/ 0 w 2395936"/>
              <a:gd name="connsiteY0" fmla="*/ 0 h 2395936"/>
              <a:gd name="connsiteX1" fmla="*/ 2395936 w 2395936"/>
              <a:gd name="connsiteY1" fmla="*/ 0 h 2395936"/>
              <a:gd name="connsiteX2" fmla="*/ 2395936 w 2395936"/>
              <a:gd name="connsiteY2" fmla="*/ 1196777 h 2395936"/>
              <a:gd name="connsiteX3" fmla="*/ 2133017 w 2395936"/>
              <a:gd name="connsiteY3" fmla="*/ 1196777 h 2395936"/>
              <a:gd name="connsiteX4" fmla="*/ 1671391 w 2395936"/>
              <a:gd name="connsiteY4" fmla="*/ 1658403 h 2395936"/>
              <a:gd name="connsiteX5" fmla="*/ 1671391 w 2395936"/>
              <a:gd name="connsiteY5" fmla="*/ 2395936 h 2395936"/>
              <a:gd name="connsiteX6" fmla="*/ 0 w 2395936"/>
              <a:gd name="connsiteY6" fmla="*/ 2395936 h 239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936" h="2395936">
                <a:moveTo>
                  <a:pt x="0" y="0"/>
                </a:moveTo>
                <a:lnTo>
                  <a:pt x="2395936" y="0"/>
                </a:lnTo>
                <a:lnTo>
                  <a:pt x="2395936" y="1196777"/>
                </a:lnTo>
                <a:lnTo>
                  <a:pt x="2133017" y="1196777"/>
                </a:lnTo>
                <a:cubicBezTo>
                  <a:pt x="1878068" y="1196777"/>
                  <a:pt x="1671391" y="1403454"/>
                  <a:pt x="1671391" y="1658403"/>
                </a:cubicBezTo>
                <a:lnTo>
                  <a:pt x="1671391" y="2395936"/>
                </a:lnTo>
                <a:lnTo>
                  <a:pt x="0" y="2395936"/>
                </a:lnTo>
                <a:close/>
              </a:path>
            </a:pathLst>
          </a:custGeom>
        </p:spPr>
      </p:pic>
      <p:grpSp>
        <p:nvGrpSpPr>
          <p:cNvPr id="58" name="Groupe 57"/>
          <p:cNvGrpSpPr/>
          <p:nvPr userDrawn="1"/>
        </p:nvGrpSpPr>
        <p:grpSpPr>
          <a:xfrm>
            <a:off x="-278372" y="4318279"/>
            <a:ext cx="12653659" cy="1237084"/>
            <a:chOff x="-208779" y="3238709"/>
            <a:chExt cx="9490244" cy="927813"/>
          </a:xfrm>
        </p:grpSpPr>
        <p:grpSp>
          <p:nvGrpSpPr>
            <p:cNvPr id="59" name="Groupe 58"/>
            <p:cNvGrpSpPr/>
            <p:nvPr/>
          </p:nvGrpSpPr>
          <p:grpSpPr>
            <a:xfrm>
              <a:off x="-208779" y="3720857"/>
              <a:ext cx="366612" cy="366612"/>
              <a:chOff x="1611689" y="1398034"/>
              <a:chExt cx="2388572" cy="2388572"/>
            </a:xfrm>
          </p:grpSpPr>
          <p:sp>
            <p:nvSpPr>
              <p:cNvPr id="88" name="Ellipse 87"/>
              <p:cNvSpPr/>
              <p:nvPr/>
            </p:nvSpPr>
            <p:spPr>
              <a:xfrm>
                <a:off x="1611689" y="1398034"/>
                <a:ext cx="2388572" cy="238857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9"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90"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1"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2"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3"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4"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0" name="Groupe 59"/>
            <p:cNvGrpSpPr/>
            <p:nvPr/>
          </p:nvGrpSpPr>
          <p:grpSpPr>
            <a:xfrm>
              <a:off x="155575" y="3238709"/>
              <a:ext cx="9125890" cy="830559"/>
              <a:chOff x="155575" y="3238709"/>
              <a:chExt cx="9125890" cy="830559"/>
            </a:xfrm>
          </p:grpSpPr>
          <p:grpSp>
            <p:nvGrpSpPr>
              <p:cNvPr id="62" name="Groupe 61"/>
              <p:cNvGrpSpPr/>
              <p:nvPr/>
            </p:nvGrpSpPr>
            <p:grpSpPr>
              <a:xfrm>
                <a:off x="1156875" y="3238709"/>
                <a:ext cx="438058" cy="438058"/>
                <a:chOff x="1611689" y="1398034"/>
                <a:chExt cx="2388572" cy="2388572"/>
              </a:xfrm>
            </p:grpSpPr>
            <p:sp>
              <p:nvSpPr>
                <p:cNvPr id="81" name="Ellipse 80"/>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2"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83"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4"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5"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6"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7"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3" name="Groupe 62"/>
              <p:cNvGrpSpPr/>
              <p:nvPr/>
            </p:nvGrpSpPr>
            <p:grpSpPr>
              <a:xfrm>
                <a:off x="7344972" y="3796442"/>
                <a:ext cx="272826" cy="272826"/>
                <a:chOff x="1611689" y="1398034"/>
                <a:chExt cx="2388572" cy="2388572"/>
              </a:xfrm>
            </p:grpSpPr>
            <p:sp>
              <p:nvSpPr>
                <p:cNvPr id="74" name="Ellipse 73"/>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75"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76"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7"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8"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9"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0"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4" name="Groupe 63"/>
              <p:cNvGrpSpPr/>
              <p:nvPr/>
            </p:nvGrpSpPr>
            <p:grpSpPr>
              <a:xfrm>
                <a:off x="8850665" y="3296625"/>
                <a:ext cx="430800" cy="430800"/>
                <a:chOff x="1611689" y="1398034"/>
                <a:chExt cx="2388572" cy="2388572"/>
              </a:xfrm>
            </p:grpSpPr>
            <p:sp>
              <p:nvSpPr>
                <p:cNvPr id="67" name="Ellipse 66"/>
                <p:cNvSpPr/>
                <p:nvPr/>
              </p:nvSpPr>
              <p:spPr>
                <a:xfrm>
                  <a:off x="1611689" y="1398034"/>
                  <a:ext cx="2388572" cy="2388572"/>
                </a:xfrm>
                <a:prstGeom prst="ellipse">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68"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69"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0"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1"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2"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3"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cxnSp>
            <p:nvCxnSpPr>
              <p:cNvPr id="65" name="Connecteur droit 64"/>
              <p:cNvCxnSpPr/>
              <p:nvPr/>
            </p:nvCxnSpPr>
            <p:spPr>
              <a:xfrm flipV="1">
                <a:off x="155575" y="3524250"/>
                <a:ext cx="1009650" cy="339727"/>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6" name="Connecteur droit 65"/>
              <p:cNvCxnSpPr/>
              <p:nvPr/>
            </p:nvCxnSpPr>
            <p:spPr>
              <a:xfrm flipH="1">
                <a:off x="7616537" y="3562350"/>
                <a:ext cx="1241713" cy="349225"/>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61" name="Forme libre : forme 60"/>
            <p:cNvSpPr/>
            <p:nvPr/>
          </p:nvSpPr>
          <p:spPr>
            <a:xfrm>
              <a:off x="1549400" y="3588672"/>
              <a:ext cx="5816600" cy="577850"/>
            </a:xfrm>
            <a:custGeom>
              <a:avLst/>
              <a:gdLst>
                <a:gd name="connsiteX0" fmla="*/ 0 w 5816600"/>
                <a:gd name="connsiteY0" fmla="*/ 0 h 577850"/>
                <a:gd name="connsiteX1" fmla="*/ 520700 w 5816600"/>
                <a:gd name="connsiteY1" fmla="*/ 577850 h 577850"/>
                <a:gd name="connsiteX2" fmla="*/ 5556250 w 5816600"/>
                <a:gd name="connsiteY2" fmla="*/ 577850 h 577850"/>
                <a:gd name="connsiteX3" fmla="*/ 5816600 w 5816600"/>
                <a:gd name="connsiteY3" fmla="*/ 425450 h 577850"/>
              </a:gdLst>
              <a:ahLst/>
              <a:cxnLst>
                <a:cxn ang="0">
                  <a:pos x="connsiteX0" y="connsiteY0"/>
                </a:cxn>
                <a:cxn ang="0">
                  <a:pos x="connsiteX1" y="connsiteY1"/>
                </a:cxn>
                <a:cxn ang="0">
                  <a:pos x="connsiteX2" y="connsiteY2"/>
                </a:cxn>
                <a:cxn ang="0">
                  <a:pos x="connsiteX3" y="connsiteY3"/>
                </a:cxn>
              </a:cxnLst>
              <a:rect l="l" t="t" r="r" b="b"/>
              <a:pathLst>
                <a:path w="5816600" h="577850">
                  <a:moveTo>
                    <a:pt x="0" y="0"/>
                  </a:moveTo>
                  <a:lnTo>
                    <a:pt x="520700" y="577850"/>
                  </a:lnTo>
                  <a:lnTo>
                    <a:pt x="5556250" y="577850"/>
                  </a:lnTo>
                  <a:lnTo>
                    <a:pt x="5816600" y="425450"/>
                  </a:lnTo>
                </a:path>
              </a:pathLst>
            </a:cu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grpSp>
      <p:sp>
        <p:nvSpPr>
          <p:cNvPr id="5" name="Espace réservé du texte 4"/>
          <p:cNvSpPr>
            <a:spLocks noGrp="1"/>
          </p:cNvSpPr>
          <p:nvPr>
            <p:ph type="body" sz="quarter" idx="11" hasCustomPrompt="1"/>
          </p:nvPr>
        </p:nvSpPr>
        <p:spPr>
          <a:xfrm>
            <a:off x="2800216" y="5106329"/>
            <a:ext cx="6591600" cy="807879"/>
          </a:xfrm>
          <a:prstGeom prst="roundRect">
            <a:avLst>
              <a:gd name="adj" fmla="val 50000"/>
            </a:avLst>
          </a:prstGeom>
          <a:gradFill>
            <a:gsLst>
              <a:gs pos="53000">
                <a:schemeClr val="tx2">
                  <a:lumMod val="75000"/>
                  <a:lumOff val="25000"/>
                </a:schemeClr>
              </a:gs>
              <a:gs pos="100000">
                <a:schemeClr val="accent1"/>
              </a:gs>
              <a:gs pos="0">
                <a:srgbClr val="4891A0"/>
              </a:gs>
            </a:gsLst>
            <a:path path="circle">
              <a:fillToRect l="100000" t="100000"/>
            </a:path>
          </a:gradFill>
        </p:spPr>
        <p:txBody>
          <a:bodyPr wrap="none" lIns="72000" tIns="0" rIns="72000" bIns="0" anchor="ctr">
            <a:spAutoFit/>
          </a:bodyPr>
          <a:lstStyle>
            <a:lvl1pPr marL="0" indent="0" algn="ctr">
              <a:buNone/>
              <a:defRPr sz="3733" baseline="0">
                <a:solidFill>
                  <a:schemeClr val="bg1"/>
                </a:solidFill>
              </a:defRPr>
            </a:lvl1pPr>
            <a:lvl2pPr marL="133347" indent="0">
              <a:buFont typeface="Arial" panose="020B0604020202020204" pitchFamily="34" charset="0"/>
              <a:buNone/>
              <a:defRPr/>
            </a:lvl2pPr>
            <a:lvl3pPr marL="478355" indent="0">
              <a:buNone/>
              <a:defRPr/>
            </a:lvl3pPr>
            <a:lvl4pPr marL="831830" indent="0">
              <a:buNone/>
              <a:defRPr/>
            </a:lvl4pPr>
            <a:lvl5pPr marL="1195887" indent="0">
              <a:buNone/>
              <a:defRPr/>
            </a:lvl5pPr>
          </a:lstStyle>
          <a:p>
            <a:pPr lvl="0"/>
            <a:r>
              <a:rPr lang="fr-FR" dirty="0"/>
              <a:t>Click pour rajouter du texte</a:t>
            </a:r>
          </a:p>
        </p:txBody>
      </p:sp>
      <p:sp>
        <p:nvSpPr>
          <p:cNvPr id="3" name="Espace réservé du pied de page 2"/>
          <p:cNvSpPr>
            <a:spLocks noGrp="1"/>
          </p:cNvSpPr>
          <p:nvPr>
            <p:ph type="ftr" sz="quarter" idx="12"/>
          </p:nvPr>
        </p:nvSpPr>
        <p:spPr/>
        <p:txBody>
          <a:bodyPr/>
          <a:lstStyle/>
          <a:p>
            <a:r>
              <a:rPr lang="fr-FR"/>
              <a:t>| Titre de la présentation</a:t>
            </a:r>
            <a:endParaRPr lang="fr-FR" dirty="0"/>
          </a:p>
        </p:txBody>
      </p:sp>
    </p:spTree>
    <p:extLst>
      <p:ext uri="{BB962C8B-B14F-4D97-AF65-F5344CB8AC3E}">
        <p14:creationId xmlns:p14="http://schemas.microsoft.com/office/powerpoint/2010/main" val="33037013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7"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8"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9"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20" name="Rectangle 19"/>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1"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87391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Tree>
    <p:extLst>
      <p:ext uri="{BB962C8B-B14F-4D97-AF65-F5344CB8AC3E}">
        <p14:creationId xmlns:p14="http://schemas.microsoft.com/office/powerpoint/2010/main" val="1500533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pic>
        <p:nvPicPr>
          <p:cNvPr id="4" name="Picture 3"/>
          <p:cNvPicPr>
            <a:picLocks noChangeAspect="1"/>
          </p:cNvPicPr>
          <p:nvPr userDrawn="1"/>
        </p:nvPicPr>
        <p:blipFill>
          <a:blip r:embed="rId2"/>
          <a:stretch>
            <a:fillRect/>
          </a:stretch>
        </p:blipFill>
        <p:spPr>
          <a:xfrm>
            <a:off x="0" y="-440012"/>
            <a:ext cx="12192000" cy="8132064"/>
          </a:xfrm>
          <a:prstGeom prst="rect">
            <a:avLst/>
          </a:prstGeom>
        </p:spPr>
      </p:pic>
    </p:spTree>
    <p:extLst>
      <p:ext uri="{BB962C8B-B14F-4D97-AF65-F5344CB8AC3E}">
        <p14:creationId xmlns:p14="http://schemas.microsoft.com/office/powerpoint/2010/main" val="4037481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40" y="1562102"/>
            <a:ext cx="11653523" cy="2127164"/>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05" indent="0">
              <a:buNone/>
              <a:defRPr/>
            </a:lvl3pPr>
            <a:lvl4pPr marL="448010" indent="0">
              <a:buNone/>
              <a:defRPr/>
            </a:lvl4pPr>
            <a:lvl5pPr marL="67201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7640332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90751103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08551" y="3575431"/>
            <a:ext cx="11192219" cy="3076192"/>
          </a:xfrm>
          <a:prstGeom prst="rect">
            <a:avLst/>
          </a:prstGeom>
          <a:solidFill>
            <a:schemeClr val="tx2"/>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297803" y="1796853"/>
            <a:ext cx="9402967" cy="1737875"/>
          </a:xfrm>
          <a:prstGeom prst="rect">
            <a:avLst/>
          </a:prstGeom>
          <a:solidFill>
            <a:schemeClr val="tx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08551" y="1832856"/>
            <a:ext cx="1789252" cy="1586325"/>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309465" y="1996632"/>
            <a:ext cx="0" cy="1313987"/>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28132" y="2476621"/>
            <a:ext cx="1701872"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2" y="2104244"/>
            <a:ext cx="1149351" cy="1098634"/>
          </a:xfrm>
        </p:spPr>
        <p:txBody>
          <a:bodyPr/>
          <a:lstStyle>
            <a:lvl1pPr marL="0" indent="0" algn="ctr">
              <a:buNone/>
              <a:defRPr sz="6599"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2" y="2225484"/>
            <a:ext cx="2659303" cy="886397"/>
          </a:xfrm>
        </p:spPr>
        <p:txBody>
          <a:bodyPr lIns="0" tIns="0" rIns="0" bIns="0" anchor="ctr"/>
          <a:lstStyle>
            <a:lvl1pPr marL="0" indent="0">
              <a:buNone/>
              <a:defRPr sz="3200">
                <a:solidFill>
                  <a:schemeClr val="bg1"/>
                </a:solidFill>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68" name="Text Placeholder 66"/>
          <p:cNvSpPr>
            <a:spLocks noGrp="1"/>
          </p:cNvSpPr>
          <p:nvPr>
            <p:ph type="body" sz="quarter" idx="12"/>
          </p:nvPr>
        </p:nvSpPr>
        <p:spPr>
          <a:xfrm>
            <a:off x="5455755" y="2530185"/>
            <a:ext cx="5996440" cy="276999"/>
          </a:xfrm>
        </p:spPr>
        <p:txBody>
          <a:bodyPr lIns="0" tIns="0" rIns="0" bIns="0" anchor="ctr"/>
          <a:lstStyle>
            <a:lvl1pPr marL="0" indent="0">
              <a:buNone/>
              <a:defRPr sz="2000">
                <a:solidFill>
                  <a:schemeClr val="bg1"/>
                </a:solidFill>
                <a:latin typeface="+mn-lt"/>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69" name="Text Placeholder 7"/>
          <p:cNvSpPr>
            <a:spLocks noGrp="1"/>
          </p:cNvSpPr>
          <p:nvPr>
            <p:ph type="body" sz="quarter" idx="13"/>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4219724612"/>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575431"/>
            <a:ext cx="12192000" cy="3282571"/>
          </a:xfrm>
          <a:prstGeom prst="rect">
            <a:avLst/>
          </a:prstGeom>
          <a:solidFill>
            <a:schemeClr val="tx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3"/>
            <a:ext cx="10386672" cy="1737875"/>
          </a:xfrm>
          <a:prstGeom prst="rect">
            <a:avLst/>
          </a:prstGeom>
          <a:solidFill>
            <a:schemeClr val="tx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9" y="1796852"/>
            <a:ext cx="1789252" cy="1737875"/>
          </a:xfrm>
          <a:prstGeom prst="rect">
            <a:avLst/>
          </a:prstGeom>
          <a:solidFill>
            <a:schemeClr val="bg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59" y="2473079"/>
            <a:ext cx="1694788"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1" cy="1098634"/>
          </a:xfrm>
        </p:spPr>
        <p:txBody>
          <a:bodyPr/>
          <a:lstStyle>
            <a:lvl1pPr marL="0" indent="0" algn="ctr">
              <a:buNone/>
              <a:defRPr sz="6599"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7" cy="443199"/>
          </a:xfrm>
        </p:spPr>
        <p:txBody>
          <a:bodyPr lIns="0" tIns="0" rIns="0" bIns="0" anchor="ctr"/>
          <a:lstStyle>
            <a:lvl1pPr marL="0" indent="0">
              <a:buNone/>
              <a:defRPr sz="3200">
                <a:solidFill>
                  <a:schemeClr val="bg1"/>
                </a:solidFill>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68" name="Text Placeholder 66"/>
          <p:cNvSpPr>
            <a:spLocks noGrp="1"/>
          </p:cNvSpPr>
          <p:nvPr>
            <p:ph type="body" sz="quarter" idx="12"/>
          </p:nvPr>
        </p:nvSpPr>
        <p:spPr>
          <a:xfrm>
            <a:off x="1938928" y="2530185"/>
            <a:ext cx="9513267" cy="276999"/>
          </a:xfrm>
        </p:spPr>
        <p:txBody>
          <a:bodyPr lIns="0" tIns="0" rIns="0" bIns="0" anchor="t" anchorCtr="0"/>
          <a:lstStyle>
            <a:lvl1pPr marL="0" indent="0">
              <a:buNone/>
              <a:defRPr sz="2000">
                <a:solidFill>
                  <a:schemeClr val="bg1"/>
                </a:solidFill>
                <a:latin typeface="+mn-lt"/>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724963494"/>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65450209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lue background">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4" name="Titre 3"/>
          <p:cNvSpPr>
            <a:spLocks noGrp="1"/>
          </p:cNvSpPr>
          <p:nvPr>
            <p:ph type="title"/>
          </p:nvPr>
        </p:nvSpPr>
        <p:spPr/>
        <p:txBody>
          <a:bodyPr/>
          <a:lstStyle>
            <a:lvl1pPr>
              <a:defRPr>
                <a:solidFill>
                  <a:schemeClr val="bg1"/>
                </a:solidFill>
              </a:defRPr>
            </a:lvl1pPr>
          </a:lstStyle>
          <a:p>
            <a:r>
              <a:rPr lang="en-GB" err="1"/>
              <a:t>Modifiez</a:t>
            </a:r>
            <a:r>
              <a:rPr lang="en-GB"/>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2" name="Espace réservé du contenu 2"/>
          <p:cNvSpPr>
            <a:spLocks noGrp="1"/>
          </p:cNvSpPr>
          <p:nvPr>
            <p:ph idx="1" hasCustomPrompt="1"/>
          </p:nvPr>
        </p:nvSpPr>
        <p:spPr>
          <a:xfrm>
            <a:off x="363166" y="1600202"/>
            <a:ext cx="11465668" cy="43250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6" name="Image 6" descr="Log_AXIANS_CRVB.jpg">
            <a:extLst>
              <a:ext uri="{FF2B5EF4-FFF2-40B4-BE49-F238E27FC236}">
                <a16:creationId xmlns:a16="http://schemas.microsoft.com/office/drawing/2014/main" id="{5980A5BA-309E-4C55-AC8E-1054624991D1}"/>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86311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3514057"/>
            <a:ext cx="4572000" cy="880819"/>
          </a:xfrm>
        </p:spPr>
        <p:txBody>
          <a:bodyPr vert="horz" wrap="square" lIns="146304" tIns="91440" rIns="146304" bIns="91440" rtlCol="0" anchor="ctr">
            <a:spAutoFit/>
          </a:bodyPr>
          <a:lstStyle>
            <a:lvl1pPr marL="457101" indent="-457101">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51"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74640" y="1052514"/>
            <a:ext cx="11704637" cy="572464"/>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953120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9" y="3042119"/>
            <a:ext cx="4572000" cy="880819"/>
          </a:xfrm>
        </p:spPr>
        <p:txBody>
          <a:bodyPr vert="horz" wrap="square" lIns="146304" tIns="91440" rIns="146304" bIns="91440" rtlCol="0" anchor="ctr">
            <a:spAutoFit/>
          </a:bodyPr>
          <a:lstStyle>
            <a:lvl1pPr marL="457101" indent="-457101">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51"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29347750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57200" y="1757363"/>
            <a:ext cx="5650637" cy="2049195"/>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394231" y="1757363"/>
            <a:ext cx="5530851" cy="1979068"/>
          </a:xfrm>
        </p:spPr>
        <p:txBody>
          <a:bodyPr/>
          <a:lstStyle>
            <a:lvl1pPr marL="0" indent="0">
              <a:spcBef>
                <a:spcPts val="2400"/>
              </a:spcBef>
              <a:buFont typeface="Arial" panose="020B0604020202020204" pitchFamily="34" charset="0"/>
              <a:buNone/>
              <a:defRPr lang="en-US" sz="3919"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00" kern="1200" spc="0" baseline="0" dirty="0" smtClean="0">
                <a:solidFill>
                  <a:schemeClr val="tx1"/>
                </a:solidFill>
                <a:latin typeface="+mn-lt"/>
                <a:ea typeface="+mn-ea"/>
                <a:cs typeface="+mn-cs"/>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marL="571376" marR="0" lvl="0" indent="-571376" algn="l" defTabSz="913993" rtl="0" eaLnBrk="1" fontAlgn="auto" latinLnBrk="0" hangingPunct="1">
              <a:lnSpc>
                <a:spcPct val="90000"/>
              </a:lnSpc>
              <a:spcBef>
                <a:spcPts val="2400"/>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5854406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06" lvl="0" indent="-336006"/>
            <a:r>
              <a:rPr lang="en-US" dirty="0"/>
              <a:t>Click to edit Master text styles</a:t>
            </a:r>
          </a:p>
        </p:txBody>
      </p:sp>
    </p:spTree>
    <p:extLst>
      <p:ext uri="{BB962C8B-B14F-4D97-AF65-F5344CB8AC3E}">
        <p14:creationId xmlns:p14="http://schemas.microsoft.com/office/powerpoint/2010/main" val="229910463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9" y="2125663"/>
            <a:ext cx="11704637" cy="1875727"/>
          </a:xfrm>
        </p:spPr>
        <p:txBody>
          <a:bodyPr/>
          <a:lstStyle>
            <a:lvl1pPr marL="0" indent="0">
              <a:buFontTx/>
              <a:buNone/>
              <a:defRPr sz="3600">
                <a:solidFill>
                  <a:srgbClr val="00BCF2"/>
                </a:solidFill>
              </a:defRPr>
            </a:lvl1pPr>
            <a:lvl2pPr marL="0" indent="0">
              <a:spcAft>
                <a:spcPts val="600"/>
              </a:spcAft>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416630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9" y="2125664"/>
            <a:ext cx="5486400" cy="2374325"/>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6525141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9" y="2125664"/>
            <a:ext cx="5486400" cy="2374325"/>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258187" y="2125664"/>
            <a:ext cx="5486400" cy="2374325"/>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3332332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562102"/>
            <a:ext cx="11653523" cy="212716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05" indent="0">
              <a:buNone/>
              <a:defRPr/>
            </a:lvl3pPr>
            <a:lvl4pPr marL="448010" indent="0">
              <a:buNone/>
              <a:defRPr/>
            </a:lvl4pPr>
            <a:lvl5pPr marL="67201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2202968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9936" y="1562102"/>
            <a:ext cx="11653523" cy="2181452"/>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246114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562102"/>
            <a:ext cx="11653523" cy="2181452"/>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5313776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Infographic">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4" name="Titre 3"/>
          <p:cNvSpPr>
            <a:spLocks noGrp="1"/>
          </p:cNvSpPr>
          <p:nvPr>
            <p:ph type="title"/>
          </p:nvPr>
        </p:nvSpPr>
        <p:spPr/>
        <p:txBody>
          <a:bodyPr/>
          <a:lstStyle>
            <a:lvl1pPr>
              <a:defRPr>
                <a:solidFill>
                  <a:schemeClr val="bg1"/>
                </a:solidFill>
              </a:defRPr>
            </a:lvl1pPr>
          </a:lstStyle>
          <a:p>
            <a:r>
              <a:rPr lang="en-GB" err="1"/>
              <a:t>Modifiez</a:t>
            </a:r>
            <a:r>
              <a:rPr lang="en-GB"/>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cxnSp>
        <p:nvCxnSpPr>
          <p:cNvPr id="42" name="Connecteur droit 41"/>
          <p:cNvCxnSpPr/>
          <p:nvPr/>
        </p:nvCxnSpPr>
        <p:spPr>
          <a:xfrm flipV="1">
            <a:off x="6607132" y="2956097"/>
            <a:ext cx="451565" cy="187894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3" name="Connecteur droit 42"/>
          <p:cNvCxnSpPr/>
          <p:nvPr/>
        </p:nvCxnSpPr>
        <p:spPr>
          <a:xfrm flipV="1">
            <a:off x="736367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4" name="Connecteur droit 43"/>
          <p:cNvCxnSpPr/>
          <p:nvPr/>
        </p:nvCxnSpPr>
        <p:spPr>
          <a:xfrm flipV="1">
            <a:off x="818896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45" name="Groupe 44"/>
          <p:cNvGrpSpPr/>
          <p:nvPr/>
        </p:nvGrpSpPr>
        <p:grpSpPr>
          <a:xfrm>
            <a:off x="6851684" y="2303473"/>
            <a:ext cx="611509" cy="611507"/>
            <a:chOff x="129161" y="1153251"/>
            <a:chExt cx="458632" cy="458630"/>
          </a:xfrm>
        </p:grpSpPr>
        <p:grpSp>
          <p:nvGrpSpPr>
            <p:cNvPr id="58" name="Groupe 57"/>
            <p:cNvGrpSpPr/>
            <p:nvPr/>
          </p:nvGrpSpPr>
          <p:grpSpPr>
            <a:xfrm>
              <a:off x="129161" y="1153251"/>
              <a:ext cx="458632" cy="458630"/>
              <a:chOff x="2984203" y="2099374"/>
              <a:chExt cx="313070" cy="313070"/>
            </a:xfrm>
          </p:grpSpPr>
          <p:sp>
            <p:nvSpPr>
              <p:cNvPr id="60" name="Ellipse 5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1" name="Ellipse 6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2" name="Ellipse 6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6" name="Groupe 45"/>
          <p:cNvGrpSpPr/>
          <p:nvPr/>
        </p:nvGrpSpPr>
        <p:grpSpPr>
          <a:xfrm>
            <a:off x="8617758" y="2162173"/>
            <a:ext cx="611509" cy="611507"/>
            <a:chOff x="129161" y="1153251"/>
            <a:chExt cx="458632" cy="458630"/>
          </a:xfrm>
        </p:grpSpPr>
        <p:grpSp>
          <p:nvGrpSpPr>
            <p:cNvPr id="53" name="Groupe 52"/>
            <p:cNvGrpSpPr/>
            <p:nvPr/>
          </p:nvGrpSpPr>
          <p:grpSpPr>
            <a:xfrm>
              <a:off x="129161" y="1153251"/>
              <a:ext cx="458632" cy="458630"/>
              <a:chOff x="2984203" y="2099374"/>
              <a:chExt cx="313070" cy="313070"/>
            </a:xfrm>
          </p:grpSpPr>
          <p:sp>
            <p:nvSpPr>
              <p:cNvPr id="55" name="Ellipse 54"/>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6" name="Ellipse 55"/>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7" name="Ellipse 56"/>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4"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7" name="Groupe 46"/>
          <p:cNvGrpSpPr/>
          <p:nvPr/>
        </p:nvGrpSpPr>
        <p:grpSpPr>
          <a:xfrm>
            <a:off x="8694859" y="4034813"/>
            <a:ext cx="611509" cy="611507"/>
            <a:chOff x="129161" y="1153251"/>
            <a:chExt cx="458632" cy="458630"/>
          </a:xfrm>
        </p:grpSpPr>
        <p:grpSp>
          <p:nvGrpSpPr>
            <p:cNvPr id="48" name="Groupe 47"/>
            <p:cNvGrpSpPr/>
            <p:nvPr/>
          </p:nvGrpSpPr>
          <p:grpSpPr>
            <a:xfrm>
              <a:off x="129161" y="1153251"/>
              <a:ext cx="458632" cy="458630"/>
              <a:chOff x="2984203" y="2099374"/>
              <a:chExt cx="313070" cy="313070"/>
            </a:xfrm>
          </p:grpSpPr>
          <p:sp>
            <p:nvSpPr>
              <p:cNvPr id="50" name="Ellipse 4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1" name="Ellipse 5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2" name="Ellipse 5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4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cxnSp>
        <p:nvCxnSpPr>
          <p:cNvPr id="20" name="Connecteur droit 19"/>
          <p:cNvCxnSpPr/>
          <p:nvPr/>
        </p:nvCxnSpPr>
        <p:spPr>
          <a:xfrm flipH="1" flipV="1">
            <a:off x="5221770" y="3792119"/>
            <a:ext cx="250645" cy="1042925"/>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2" name="Connecteur droit 21"/>
          <p:cNvCxnSpPr/>
          <p:nvPr/>
        </p:nvCxnSpPr>
        <p:spPr>
          <a:xfrm flipH="1" flipV="1">
            <a:off x="334163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3" name="Connecteur droit 22"/>
          <p:cNvCxnSpPr/>
          <p:nvPr/>
        </p:nvCxnSpPr>
        <p:spPr>
          <a:xfrm flipH="1" flipV="1">
            <a:off x="337611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4" name="Groupe 23"/>
          <p:cNvGrpSpPr/>
          <p:nvPr/>
        </p:nvGrpSpPr>
        <p:grpSpPr>
          <a:xfrm flipH="1">
            <a:off x="4823371" y="3159646"/>
            <a:ext cx="611509" cy="611507"/>
            <a:chOff x="129161" y="1153251"/>
            <a:chExt cx="458632" cy="458630"/>
          </a:xfrm>
        </p:grpSpPr>
        <p:grpSp>
          <p:nvGrpSpPr>
            <p:cNvPr id="37" name="Groupe 36"/>
            <p:cNvGrpSpPr/>
            <p:nvPr/>
          </p:nvGrpSpPr>
          <p:grpSpPr>
            <a:xfrm>
              <a:off x="129161" y="1153251"/>
              <a:ext cx="458632" cy="458630"/>
              <a:chOff x="2984203" y="2099374"/>
              <a:chExt cx="313070" cy="313070"/>
            </a:xfrm>
          </p:grpSpPr>
          <p:sp>
            <p:nvSpPr>
              <p:cNvPr id="39" name="Ellipse 3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0" name="Ellipse 3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1" name="Ellipse 4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5" name="Groupe 24"/>
          <p:cNvGrpSpPr/>
          <p:nvPr/>
        </p:nvGrpSpPr>
        <p:grpSpPr>
          <a:xfrm flipH="1">
            <a:off x="2850280" y="2162173"/>
            <a:ext cx="611509" cy="611507"/>
            <a:chOff x="129161" y="1153251"/>
            <a:chExt cx="458632" cy="458630"/>
          </a:xfrm>
        </p:grpSpPr>
        <p:grpSp>
          <p:nvGrpSpPr>
            <p:cNvPr id="32" name="Groupe 31"/>
            <p:cNvGrpSpPr/>
            <p:nvPr/>
          </p:nvGrpSpPr>
          <p:grpSpPr>
            <a:xfrm>
              <a:off x="129161" y="1153251"/>
              <a:ext cx="458632" cy="458630"/>
              <a:chOff x="2984203" y="2099374"/>
              <a:chExt cx="313070" cy="313070"/>
            </a:xfrm>
          </p:grpSpPr>
          <p:sp>
            <p:nvSpPr>
              <p:cNvPr id="34" name="Ellipse 33"/>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5" name="Ellipse 34"/>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6" name="Ellipse 35"/>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3"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6" name="Groupe 25"/>
          <p:cNvGrpSpPr/>
          <p:nvPr/>
        </p:nvGrpSpPr>
        <p:grpSpPr>
          <a:xfrm flipH="1">
            <a:off x="2773179" y="4034813"/>
            <a:ext cx="611509" cy="611507"/>
            <a:chOff x="129161" y="1153251"/>
            <a:chExt cx="458632" cy="458630"/>
          </a:xfrm>
        </p:grpSpPr>
        <p:grpSp>
          <p:nvGrpSpPr>
            <p:cNvPr id="27" name="Groupe 26"/>
            <p:cNvGrpSpPr/>
            <p:nvPr/>
          </p:nvGrpSpPr>
          <p:grpSpPr>
            <a:xfrm>
              <a:off x="129161" y="1153251"/>
              <a:ext cx="458632" cy="458630"/>
              <a:chOff x="2984203" y="2099374"/>
              <a:chExt cx="313070" cy="313070"/>
            </a:xfrm>
          </p:grpSpPr>
          <p:sp>
            <p:nvSpPr>
              <p:cNvPr id="29" name="Ellipse 2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0" name="Ellipse 2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1" name="Ellipse 3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2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 name="Espace réservé du texte 4"/>
          <p:cNvSpPr>
            <a:spLocks noGrp="1"/>
          </p:cNvSpPr>
          <p:nvPr>
            <p:ph type="body" sz="quarter" idx="10" hasCustomPrompt="1"/>
          </p:nvPr>
        </p:nvSpPr>
        <p:spPr>
          <a:xfrm>
            <a:off x="363166" y="4007076"/>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4" name="Espace réservé du texte 4"/>
          <p:cNvSpPr>
            <a:spLocks noGrp="1"/>
          </p:cNvSpPr>
          <p:nvPr>
            <p:ph type="body" sz="quarter" idx="11" hasCustomPrompt="1"/>
          </p:nvPr>
        </p:nvSpPr>
        <p:spPr>
          <a:xfrm>
            <a:off x="9313386" y="400707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5" name="Espace réservé du texte 4"/>
          <p:cNvSpPr>
            <a:spLocks noGrp="1"/>
          </p:cNvSpPr>
          <p:nvPr>
            <p:ph type="body" sz="quarter" idx="12" hasCustomPrompt="1"/>
          </p:nvPr>
        </p:nvSpPr>
        <p:spPr>
          <a:xfrm>
            <a:off x="9249903" y="213443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6" name="Espace réservé du texte 4"/>
          <p:cNvSpPr>
            <a:spLocks noGrp="1"/>
          </p:cNvSpPr>
          <p:nvPr>
            <p:ph type="body" sz="quarter" idx="13" hasCustomPrompt="1"/>
          </p:nvPr>
        </p:nvSpPr>
        <p:spPr>
          <a:xfrm>
            <a:off x="5914230" y="15844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7" name="Espace réservé du texte 4"/>
          <p:cNvSpPr>
            <a:spLocks noGrp="1"/>
          </p:cNvSpPr>
          <p:nvPr>
            <p:ph type="body" sz="quarter" idx="14" hasCustomPrompt="1"/>
          </p:nvPr>
        </p:nvSpPr>
        <p:spPr>
          <a:xfrm>
            <a:off x="3873917" y="24668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8" name="Espace réservé du texte 4"/>
          <p:cNvSpPr>
            <a:spLocks noGrp="1"/>
          </p:cNvSpPr>
          <p:nvPr>
            <p:ph type="body" sz="quarter" idx="15" hasCustomPrompt="1"/>
          </p:nvPr>
        </p:nvSpPr>
        <p:spPr>
          <a:xfrm>
            <a:off x="423687" y="2141064"/>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grpSp>
        <p:nvGrpSpPr>
          <p:cNvPr id="69" name="Groupe 68"/>
          <p:cNvGrpSpPr/>
          <p:nvPr userDrawn="1"/>
        </p:nvGrpSpPr>
        <p:grpSpPr>
          <a:xfrm>
            <a:off x="3752428" y="4737046"/>
            <a:ext cx="4687147" cy="1004381"/>
            <a:chOff x="2814321" y="3552784"/>
            <a:chExt cx="3515360" cy="753286"/>
          </a:xfrm>
        </p:grpSpPr>
        <p:sp>
          <p:nvSpPr>
            <p:cNvPr id="71" name="Rectangle à coins arrondis 3"/>
            <p:cNvSpPr/>
            <p:nvPr/>
          </p:nvSpPr>
          <p:spPr>
            <a:xfrm>
              <a:off x="2814321" y="3552784"/>
              <a:ext cx="3515360" cy="75328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pic>
          <p:nvPicPr>
            <p:cNvPr id="72" name="Image 7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04723" y="3678199"/>
              <a:ext cx="2530712" cy="462756"/>
            </a:xfrm>
            <a:prstGeom prst="rect">
              <a:avLst/>
            </a:prstGeom>
          </p:spPr>
        </p:pic>
      </p:grpSp>
      <p:pic>
        <p:nvPicPr>
          <p:cNvPr id="73" name="Image 6" descr="Log_AXIANS_CRVB.jpg">
            <a:extLst>
              <a:ext uri="{FF2B5EF4-FFF2-40B4-BE49-F238E27FC236}">
                <a16:creationId xmlns:a16="http://schemas.microsoft.com/office/drawing/2014/main" id="{54644375-FC21-4952-8EE6-C569E3B3479A}"/>
              </a:ext>
            </a:extLst>
          </p:cNvPr>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2619981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6" presetClass="emph" presetSubtype="0" fill="hold" nodeType="withEffect">
                                  <p:stCondLst>
                                    <p:cond delay="0"/>
                                  </p:stCondLst>
                                  <p:childTnLst>
                                    <p:animScale>
                                      <p:cBhvr>
                                        <p:cTn id="9" dur="10" fill="hold"/>
                                        <p:tgtEl>
                                          <p:spTgt spid="69"/>
                                        </p:tgtEl>
                                      </p:cBhvr>
                                      <p:by x="50000" y="50000"/>
                                    </p:animScale>
                                  </p:childTnLst>
                                </p:cTn>
                              </p:par>
                              <p:par>
                                <p:cTn id="10" presetID="6" presetClass="emph" presetSubtype="0" decel="100000" fill="hold" nodeType="withEffect">
                                  <p:stCondLst>
                                    <p:cond delay="0"/>
                                  </p:stCondLst>
                                  <p:childTnLst>
                                    <p:animScale>
                                      <p:cBhvr>
                                        <p:cTn id="11" dur="1000" fill="hold"/>
                                        <p:tgtEl>
                                          <p:spTgt spid="69"/>
                                        </p:tgtEl>
                                      </p:cBhvr>
                                      <p:by x="200000" y="200000"/>
                                    </p:animScale>
                                  </p:childTnLst>
                                </p:cTn>
                              </p:par>
                              <p:par>
                                <p:cTn id="12" presetID="22" presetClass="entr" presetSubtype="4" fill="hold" nodeType="withEffect">
                                  <p:stCondLst>
                                    <p:cond delay="500"/>
                                  </p:stCondLst>
                                  <p:childTnLst>
                                    <p:set>
                                      <p:cBhvr>
                                        <p:cTn id="13" dur="1" fill="hold">
                                          <p:stCondLst>
                                            <p:cond delay="0"/>
                                          </p:stCondLst>
                                        </p:cTn>
                                        <p:tgtEl>
                                          <p:spTgt spid="23"/>
                                        </p:tgtEl>
                                        <p:attrNameLst>
                                          <p:attrName>style.visibility</p:attrName>
                                        </p:attrNameLst>
                                      </p:cBhvr>
                                      <p:to>
                                        <p:strVal val="visible"/>
                                      </p:to>
                                    </p:set>
                                    <p:animEffect transition="in" filter="wipe(down)">
                                      <p:cBhvr>
                                        <p:cTn id="14" dur="500"/>
                                        <p:tgtEl>
                                          <p:spTgt spid="23"/>
                                        </p:tgtEl>
                                      </p:cBhvr>
                                    </p:animEffect>
                                  </p:childTnLst>
                                </p:cTn>
                              </p:par>
                              <p:par>
                                <p:cTn id="15" presetID="22" presetClass="entr" presetSubtype="4" fill="hold" nodeType="withEffect">
                                  <p:stCondLst>
                                    <p:cond delay="600"/>
                                  </p:stCondLst>
                                  <p:childTnLst>
                                    <p:set>
                                      <p:cBhvr>
                                        <p:cTn id="16" dur="1" fill="hold">
                                          <p:stCondLst>
                                            <p:cond delay="0"/>
                                          </p:stCondLst>
                                        </p:cTn>
                                        <p:tgtEl>
                                          <p:spTgt spid="22"/>
                                        </p:tgtEl>
                                        <p:attrNameLst>
                                          <p:attrName>style.visibility</p:attrName>
                                        </p:attrNameLst>
                                      </p:cBhvr>
                                      <p:to>
                                        <p:strVal val="visible"/>
                                      </p:to>
                                    </p:set>
                                    <p:animEffect transition="in" filter="wipe(down)">
                                      <p:cBhvr>
                                        <p:cTn id="17" dur="500"/>
                                        <p:tgtEl>
                                          <p:spTgt spid="22"/>
                                        </p:tgtEl>
                                      </p:cBhvr>
                                    </p:animEffect>
                                  </p:childTnLst>
                                </p:cTn>
                              </p:par>
                              <p:par>
                                <p:cTn id="18" presetID="22" presetClass="entr" presetSubtype="4" fill="hold" nodeType="withEffect">
                                  <p:stCondLst>
                                    <p:cond delay="700"/>
                                  </p:stCondLst>
                                  <p:childTnLst>
                                    <p:set>
                                      <p:cBhvr>
                                        <p:cTn id="19" dur="1" fill="hold">
                                          <p:stCondLst>
                                            <p:cond delay="0"/>
                                          </p:stCondLst>
                                        </p:cTn>
                                        <p:tgtEl>
                                          <p:spTgt spid="20"/>
                                        </p:tgtEl>
                                        <p:attrNameLst>
                                          <p:attrName>style.visibility</p:attrName>
                                        </p:attrNameLst>
                                      </p:cBhvr>
                                      <p:to>
                                        <p:strVal val="visible"/>
                                      </p:to>
                                    </p:set>
                                    <p:animEffect transition="in" filter="wipe(down)">
                                      <p:cBhvr>
                                        <p:cTn id="20" dur="500"/>
                                        <p:tgtEl>
                                          <p:spTgt spid="20"/>
                                        </p:tgtEl>
                                      </p:cBhvr>
                                    </p:animEffect>
                                  </p:childTnLst>
                                </p:cTn>
                              </p:par>
                              <p:par>
                                <p:cTn id="21" presetID="22" presetClass="entr" presetSubtype="4" fill="hold" nodeType="withEffect">
                                  <p:stCondLst>
                                    <p:cond delay="800"/>
                                  </p:stCondLst>
                                  <p:childTnLst>
                                    <p:set>
                                      <p:cBhvr>
                                        <p:cTn id="22" dur="1" fill="hold">
                                          <p:stCondLst>
                                            <p:cond delay="0"/>
                                          </p:stCondLst>
                                        </p:cTn>
                                        <p:tgtEl>
                                          <p:spTgt spid="42"/>
                                        </p:tgtEl>
                                        <p:attrNameLst>
                                          <p:attrName>style.visibility</p:attrName>
                                        </p:attrNameLst>
                                      </p:cBhvr>
                                      <p:to>
                                        <p:strVal val="visible"/>
                                      </p:to>
                                    </p:set>
                                    <p:animEffect transition="in" filter="wipe(down)">
                                      <p:cBhvr>
                                        <p:cTn id="23" dur="500"/>
                                        <p:tgtEl>
                                          <p:spTgt spid="42"/>
                                        </p:tgtEl>
                                      </p:cBhvr>
                                    </p:animEffect>
                                  </p:childTnLst>
                                </p:cTn>
                              </p:par>
                              <p:par>
                                <p:cTn id="24" presetID="22" presetClass="entr" presetSubtype="4" fill="hold" nodeType="withEffect">
                                  <p:stCondLst>
                                    <p:cond delay="900"/>
                                  </p:stCondLst>
                                  <p:childTnLst>
                                    <p:set>
                                      <p:cBhvr>
                                        <p:cTn id="25" dur="1" fill="hold">
                                          <p:stCondLst>
                                            <p:cond delay="0"/>
                                          </p:stCondLst>
                                        </p:cTn>
                                        <p:tgtEl>
                                          <p:spTgt spid="43"/>
                                        </p:tgtEl>
                                        <p:attrNameLst>
                                          <p:attrName>style.visibility</p:attrName>
                                        </p:attrNameLst>
                                      </p:cBhvr>
                                      <p:to>
                                        <p:strVal val="visible"/>
                                      </p:to>
                                    </p:set>
                                    <p:animEffect transition="in" filter="wipe(down)">
                                      <p:cBhvr>
                                        <p:cTn id="26" dur="500"/>
                                        <p:tgtEl>
                                          <p:spTgt spid="43"/>
                                        </p:tgtEl>
                                      </p:cBhvr>
                                    </p:animEffect>
                                  </p:childTnLst>
                                </p:cTn>
                              </p:par>
                              <p:par>
                                <p:cTn id="27" presetID="22" presetClass="entr" presetSubtype="4" fill="hold" nodeType="withEffect">
                                  <p:stCondLst>
                                    <p:cond delay="1000"/>
                                  </p:stCondLst>
                                  <p:childTnLst>
                                    <p:set>
                                      <p:cBhvr>
                                        <p:cTn id="28" dur="1" fill="hold">
                                          <p:stCondLst>
                                            <p:cond delay="0"/>
                                          </p:stCondLst>
                                        </p:cTn>
                                        <p:tgtEl>
                                          <p:spTgt spid="44"/>
                                        </p:tgtEl>
                                        <p:attrNameLst>
                                          <p:attrName>style.visibility</p:attrName>
                                        </p:attrNameLst>
                                      </p:cBhvr>
                                      <p:to>
                                        <p:strVal val="visible"/>
                                      </p:to>
                                    </p:set>
                                    <p:animEffect transition="in" filter="wipe(down)">
                                      <p:cBhvr>
                                        <p:cTn id="29" dur="500"/>
                                        <p:tgtEl>
                                          <p:spTgt spid="44"/>
                                        </p:tgtEl>
                                      </p:cBhvr>
                                    </p:animEffect>
                                  </p:childTnLst>
                                </p:cTn>
                              </p:par>
                              <p:par>
                                <p:cTn id="30" presetID="53" presetClass="entr" presetSubtype="16" fill="hold" nodeType="withEffect">
                                  <p:stCondLst>
                                    <p:cond delay="75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par>
                                <p:cTn id="35" presetID="53" presetClass="entr" presetSubtype="16" fill="hold" nodeType="withEffect">
                                  <p:stCondLst>
                                    <p:cond delay="850"/>
                                  </p:stCondLst>
                                  <p:childTnLst>
                                    <p:set>
                                      <p:cBhvr>
                                        <p:cTn id="36" dur="1" fill="hold">
                                          <p:stCondLst>
                                            <p:cond delay="0"/>
                                          </p:stCondLst>
                                        </p:cTn>
                                        <p:tgtEl>
                                          <p:spTgt spid="25"/>
                                        </p:tgtEl>
                                        <p:attrNameLst>
                                          <p:attrName>style.visibility</p:attrName>
                                        </p:attrNameLst>
                                      </p:cBhvr>
                                      <p:to>
                                        <p:strVal val="visible"/>
                                      </p:to>
                                    </p:set>
                                    <p:anim calcmode="lin" valueType="num">
                                      <p:cBhvr>
                                        <p:cTn id="37" dur="500" fill="hold"/>
                                        <p:tgtEl>
                                          <p:spTgt spid="25"/>
                                        </p:tgtEl>
                                        <p:attrNameLst>
                                          <p:attrName>ppt_w</p:attrName>
                                        </p:attrNameLst>
                                      </p:cBhvr>
                                      <p:tavLst>
                                        <p:tav tm="0">
                                          <p:val>
                                            <p:fltVal val="0"/>
                                          </p:val>
                                        </p:tav>
                                        <p:tav tm="100000">
                                          <p:val>
                                            <p:strVal val="#ppt_w"/>
                                          </p:val>
                                        </p:tav>
                                      </p:tavLst>
                                    </p:anim>
                                    <p:anim calcmode="lin" valueType="num">
                                      <p:cBhvr>
                                        <p:cTn id="38" dur="500" fill="hold"/>
                                        <p:tgtEl>
                                          <p:spTgt spid="25"/>
                                        </p:tgtEl>
                                        <p:attrNameLst>
                                          <p:attrName>ppt_h</p:attrName>
                                        </p:attrNameLst>
                                      </p:cBhvr>
                                      <p:tavLst>
                                        <p:tav tm="0">
                                          <p:val>
                                            <p:fltVal val="0"/>
                                          </p:val>
                                        </p:tav>
                                        <p:tav tm="100000">
                                          <p:val>
                                            <p:strVal val="#ppt_h"/>
                                          </p:val>
                                        </p:tav>
                                      </p:tavLst>
                                    </p:anim>
                                    <p:animEffect transition="in" filter="fade">
                                      <p:cBhvr>
                                        <p:cTn id="39" dur="500"/>
                                        <p:tgtEl>
                                          <p:spTgt spid="25"/>
                                        </p:tgtEl>
                                      </p:cBhvr>
                                    </p:animEffect>
                                  </p:childTnLst>
                                </p:cTn>
                              </p:par>
                              <p:par>
                                <p:cTn id="40" presetID="53" presetClass="entr" presetSubtype="16" fill="hold" nodeType="withEffect">
                                  <p:stCondLst>
                                    <p:cond delay="950"/>
                                  </p:stCondLst>
                                  <p:childTnLst>
                                    <p:set>
                                      <p:cBhvr>
                                        <p:cTn id="41" dur="1" fill="hold">
                                          <p:stCondLst>
                                            <p:cond delay="0"/>
                                          </p:stCondLst>
                                        </p:cTn>
                                        <p:tgtEl>
                                          <p:spTgt spid="24"/>
                                        </p:tgtEl>
                                        <p:attrNameLst>
                                          <p:attrName>style.visibility</p:attrName>
                                        </p:attrNameLst>
                                      </p:cBhvr>
                                      <p:to>
                                        <p:strVal val="visible"/>
                                      </p:to>
                                    </p:set>
                                    <p:anim calcmode="lin" valueType="num">
                                      <p:cBhvr>
                                        <p:cTn id="42" dur="500" fill="hold"/>
                                        <p:tgtEl>
                                          <p:spTgt spid="24"/>
                                        </p:tgtEl>
                                        <p:attrNameLst>
                                          <p:attrName>ppt_w</p:attrName>
                                        </p:attrNameLst>
                                      </p:cBhvr>
                                      <p:tavLst>
                                        <p:tav tm="0">
                                          <p:val>
                                            <p:fltVal val="0"/>
                                          </p:val>
                                        </p:tav>
                                        <p:tav tm="100000">
                                          <p:val>
                                            <p:strVal val="#ppt_w"/>
                                          </p:val>
                                        </p:tav>
                                      </p:tavLst>
                                    </p:anim>
                                    <p:anim calcmode="lin" valueType="num">
                                      <p:cBhvr>
                                        <p:cTn id="43" dur="500" fill="hold"/>
                                        <p:tgtEl>
                                          <p:spTgt spid="24"/>
                                        </p:tgtEl>
                                        <p:attrNameLst>
                                          <p:attrName>ppt_h</p:attrName>
                                        </p:attrNameLst>
                                      </p:cBhvr>
                                      <p:tavLst>
                                        <p:tav tm="0">
                                          <p:val>
                                            <p:fltVal val="0"/>
                                          </p:val>
                                        </p:tav>
                                        <p:tav tm="100000">
                                          <p:val>
                                            <p:strVal val="#ppt_h"/>
                                          </p:val>
                                        </p:tav>
                                      </p:tavLst>
                                    </p:anim>
                                    <p:animEffect transition="in" filter="fade">
                                      <p:cBhvr>
                                        <p:cTn id="44" dur="500"/>
                                        <p:tgtEl>
                                          <p:spTgt spid="24"/>
                                        </p:tgtEl>
                                      </p:cBhvr>
                                    </p:animEffect>
                                  </p:childTnLst>
                                </p:cTn>
                              </p:par>
                              <p:par>
                                <p:cTn id="45" presetID="53" presetClass="entr" presetSubtype="16" fill="hold" nodeType="withEffect">
                                  <p:stCondLst>
                                    <p:cond delay="1050"/>
                                  </p:stCondLst>
                                  <p:childTnLst>
                                    <p:set>
                                      <p:cBhvr>
                                        <p:cTn id="46" dur="1" fill="hold">
                                          <p:stCondLst>
                                            <p:cond delay="0"/>
                                          </p:stCondLst>
                                        </p:cTn>
                                        <p:tgtEl>
                                          <p:spTgt spid="45"/>
                                        </p:tgtEl>
                                        <p:attrNameLst>
                                          <p:attrName>style.visibility</p:attrName>
                                        </p:attrNameLst>
                                      </p:cBhvr>
                                      <p:to>
                                        <p:strVal val="visible"/>
                                      </p:to>
                                    </p:set>
                                    <p:anim calcmode="lin" valueType="num">
                                      <p:cBhvr>
                                        <p:cTn id="47" dur="500" fill="hold"/>
                                        <p:tgtEl>
                                          <p:spTgt spid="45"/>
                                        </p:tgtEl>
                                        <p:attrNameLst>
                                          <p:attrName>ppt_w</p:attrName>
                                        </p:attrNameLst>
                                      </p:cBhvr>
                                      <p:tavLst>
                                        <p:tav tm="0">
                                          <p:val>
                                            <p:fltVal val="0"/>
                                          </p:val>
                                        </p:tav>
                                        <p:tav tm="100000">
                                          <p:val>
                                            <p:strVal val="#ppt_w"/>
                                          </p:val>
                                        </p:tav>
                                      </p:tavLst>
                                    </p:anim>
                                    <p:anim calcmode="lin" valueType="num">
                                      <p:cBhvr>
                                        <p:cTn id="48" dur="500" fill="hold"/>
                                        <p:tgtEl>
                                          <p:spTgt spid="45"/>
                                        </p:tgtEl>
                                        <p:attrNameLst>
                                          <p:attrName>ppt_h</p:attrName>
                                        </p:attrNameLst>
                                      </p:cBhvr>
                                      <p:tavLst>
                                        <p:tav tm="0">
                                          <p:val>
                                            <p:fltVal val="0"/>
                                          </p:val>
                                        </p:tav>
                                        <p:tav tm="100000">
                                          <p:val>
                                            <p:strVal val="#ppt_h"/>
                                          </p:val>
                                        </p:tav>
                                      </p:tavLst>
                                    </p:anim>
                                    <p:animEffect transition="in" filter="fade">
                                      <p:cBhvr>
                                        <p:cTn id="49" dur="500"/>
                                        <p:tgtEl>
                                          <p:spTgt spid="45"/>
                                        </p:tgtEl>
                                      </p:cBhvr>
                                    </p:animEffect>
                                  </p:childTnLst>
                                </p:cTn>
                              </p:par>
                              <p:par>
                                <p:cTn id="50" presetID="53" presetClass="entr" presetSubtype="16" fill="hold" nodeType="withEffect">
                                  <p:stCondLst>
                                    <p:cond delay="1150"/>
                                  </p:stCondLst>
                                  <p:childTnLst>
                                    <p:set>
                                      <p:cBhvr>
                                        <p:cTn id="51" dur="1" fill="hold">
                                          <p:stCondLst>
                                            <p:cond delay="0"/>
                                          </p:stCondLst>
                                        </p:cTn>
                                        <p:tgtEl>
                                          <p:spTgt spid="46"/>
                                        </p:tgtEl>
                                        <p:attrNameLst>
                                          <p:attrName>style.visibility</p:attrName>
                                        </p:attrNameLst>
                                      </p:cBhvr>
                                      <p:to>
                                        <p:strVal val="visible"/>
                                      </p:to>
                                    </p:set>
                                    <p:anim calcmode="lin" valueType="num">
                                      <p:cBhvr>
                                        <p:cTn id="52" dur="500" fill="hold"/>
                                        <p:tgtEl>
                                          <p:spTgt spid="46"/>
                                        </p:tgtEl>
                                        <p:attrNameLst>
                                          <p:attrName>ppt_w</p:attrName>
                                        </p:attrNameLst>
                                      </p:cBhvr>
                                      <p:tavLst>
                                        <p:tav tm="0">
                                          <p:val>
                                            <p:fltVal val="0"/>
                                          </p:val>
                                        </p:tav>
                                        <p:tav tm="100000">
                                          <p:val>
                                            <p:strVal val="#ppt_w"/>
                                          </p:val>
                                        </p:tav>
                                      </p:tavLst>
                                    </p:anim>
                                    <p:anim calcmode="lin" valueType="num">
                                      <p:cBhvr>
                                        <p:cTn id="53" dur="500" fill="hold"/>
                                        <p:tgtEl>
                                          <p:spTgt spid="46"/>
                                        </p:tgtEl>
                                        <p:attrNameLst>
                                          <p:attrName>ppt_h</p:attrName>
                                        </p:attrNameLst>
                                      </p:cBhvr>
                                      <p:tavLst>
                                        <p:tav tm="0">
                                          <p:val>
                                            <p:fltVal val="0"/>
                                          </p:val>
                                        </p:tav>
                                        <p:tav tm="100000">
                                          <p:val>
                                            <p:strVal val="#ppt_h"/>
                                          </p:val>
                                        </p:tav>
                                      </p:tavLst>
                                    </p:anim>
                                    <p:animEffect transition="in" filter="fade">
                                      <p:cBhvr>
                                        <p:cTn id="54" dur="500"/>
                                        <p:tgtEl>
                                          <p:spTgt spid="46"/>
                                        </p:tgtEl>
                                      </p:cBhvr>
                                    </p:animEffect>
                                  </p:childTnLst>
                                </p:cTn>
                              </p:par>
                              <p:par>
                                <p:cTn id="55" presetID="53" presetClass="entr" presetSubtype="16" fill="hold" nodeType="withEffect">
                                  <p:stCondLst>
                                    <p:cond delay="1250"/>
                                  </p:stCondLst>
                                  <p:childTnLst>
                                    <p:set>
                                      <p:cBhvr>
                                        <p:cTn id="56" dur="1" fill="hold">
                                          <p:stCondLst>
                                            <p:cond delay="0"/>
                                          </p:stCondLst>
                                        </p:cTn>
                                        <p:tgtEl>
                                          <p:spTgt spid="47"/>
                                        </p:tgtEl>
                                        <p:attrNameLst>
                                          <p:attrName>style.visibility</p:attrName>
                                        </p:attrNameLst>
                                      </p:cBhvr>
                                      <p:to>
                                        <p:strVal val="visible"/>
                                      </p:to>
                                    </p:set>
                                    <p:anim calcmode="lin" valueType="num">
                                      <p:cBhvr>
                                        <p:cTn id="57" dur="500" fill="hold"/>
                                        <p:tgtEl>
                                          <p:spTgt spid="47"/>
                                        </p:tgtEl>
                                        <p:attrNameLst>
                                          <p:attrName>ppt_w</p:attrName>
                                        </p:attrNameLst>
                                      </p:cBhvr>
                                      <p:tavLst>
                                        <p:tav tm="0">
                                          <p:val>
                                            <p:fltVal val="0"/>
                                          </p:val>
                                        </p:tav>
                                        <p:tav tm="100000">
                                          <p:val>
                                            <p:strVal val="#ppt_w"/>
                                          </p:val>
                                        </p:tav>
                                      </p:tavLst>
                                    </p:anim>
                                    <p:anim calcmode="lin" valueType="num">
                                      <p:cBhvr>
                                        <p:cTn id="58" dur="500" fill="hold"/>
                                        <p:tgtEl>
                                          <p:spTgt spid="47"/>
                                        </p:tgtEl>
                                        <p:attrNameLst>
                                          <p:attrName>ppt_h</p:attrName>
                                        </p:attrNameLst>
                                      </p:cBhvr>
                                      <p:tavLst>
                                        <p:tav tm="0">
                                          <p:val>
                                            <p:fltVal val="0"/>
                                          </p:val>
                                        </p:tav>
                                        <p:tav tm="100000">
                                          <p:val>
                                            <p:strVal val="#ppt_h"/>
                                          </p:val>
                                        </p:tav>
                                      </p:tavLst>
                                    </p:anim>
                                    <p:animEffect transition="in" filter="fade">
                                      <p:cBhvr>
                                        <p:cTn id="59" dur="500"/>
                                        <p:tgtEl>
                                          <p:spTgt spid="47"/>
                                        </p:tgtEl>
                                      </p:cBhvr>
                                    </p:animEffect>
                                  </p:childTnLst>
                                </p:cTn>
                              </p:par>
                              <p:par>
                                <p:cTn id="60" presetID="10" presetClass="entr" presetSubtype="0" fill="hold" grpId="0" nodeType="withEffect">
                                  <p:stCondLst>
                                    <p:cond delay="1000"/>
                                  </p:stCondLst>
                                  <p:childTnLst>
                                    <p:set>
                                      <p:cBhvr>
                                        <p:cTn id="61" dur="1" fill="hold">
                                          <p:stCondLst>
                                            <p:cond delay="0"/>
                                          </p:stCondLst>
                                        </p:cTn>
                                        <p:tgtEl>
                                          <p:spTgt spid="5"/>
                                        </p:tgtEl>
                                        <p:attrNameLst>
                                          <p:attrName>style.visibility</p:attrName>
                                        </p:attrNameLst>
                                      </p:cBhvr>
                                      <p:to>
                                        <p:strVal val="visible"/>
                                      </p:to>
                                    </p:set>
                                    <p:animEffect transition="in" filter="fade">
                                      <p:cBhvr>
                                        <p:cTn id="62" dur="250"/>
                                        <p:tgtEl>
                                          <p:spTgt spid="5"/>
                                        </p:tgtEl>
                                      </p:cBhvr>
                                    </p:animEffect>
                                  </p:childTnLst>
                                </p:cTn>
                              </p:par>
                              <p:par>
                                <p:cTn id="63" presetID="10" presetClass="entr" presetSubtype="0" fill="hold" grpId="0" nodeType="withEffect">
                                  <p:stCondLst>
                                    <p:cond delay="1100"/>
                                  </p:stCondLst>
                                  <p:childTnLst>
                                    <p:set>
                                      <p:cBhvr>
                                        <p:cTn id="64" dur="1" fill="hold">
                                          <p:stCondLst>
                                            <p:cond delay="0"/>
                                          </p:stCondLst>
                                        </p:cTn>
                                        <p:tgtEl>
                                          <p:spTgt spid="68"/>
                                        </p:tgtEl>
                                        <p:attrNameLst>
                                          <p:attrName>style.visibility</p:attrName>
                                        </p:attrNameLst>
                                      </p:cBhvr>
                                      <p:to>
                                        <p:strVal val="visible"/>
                                      </p:to>
                                    </p:set>
                                    <p:animEffect transition="in" filter="fade">
                                      <p:cBhvr>
                                        <p:cTn id="65" dur="250"/>
                                        <p:tgtEl>
                                          <p:spTgt spid="68"/>
                                        </p:tgtEl>
                                      </p:cBhvr>
                                    </p:animEffect>
                                  </p:childTnLst>
                                </p:cTn>
                              </p:par>
                              <p:par>
                                <p:cTn id="66" presetID="10" presetClass="entr" presetSubtype="0" fill="hold" grpId="0" nodeType="withEffect">
                                  <p:stCondLst>
                                    <p:cond delay="1200"/>
                                  </p:stCondLst>
                                  <p:childTnLst>
                                    <p:set>
                                      <p:cBhvr>
                                        <p:cTn id="67" dur="1" fill="hold">
                                          <p:stCondLst>
                                            <p:cond delay="0"/>
                                          </p:stCondLst>
                                        </p:cTn>
                                        <p:tgtEl>
                                          <p:spTgt spid="67"/>
                                        </p:tgtEl>
                                        <p:attrNameLst>
                                          <p:attrName>style.visibility</p:attrName>
                                        </p:attrNameLst>
                                      </p:cBhvr>
                                      <p:to>
                                        <p:strVal val="visible"/>
                                      </p:to>
                                    </p:set>
                                    <p:animEffect transition="in" filter="fade">
                                      <p:cBhvr>
                                        <p:cTn id="68" dur="250"/>
                                        <p:tgtEl>
                                          <p:spTgt spid="67"/>
                                        </p:tgtEl>
                                      </p:cBhvr>
                                    </p:animEffect>
                                  </p:childTnLst>
                                </p:cTn>
                              </p:par>
                              <p:par>
                                <p:cTn id="69" presetID="10" presetClass="entr" presetSubtype="0" fill="hold" grpId="0" nodeType="withEffect">
                                  <p:stCondLst>
                                    <p:cond delay="1300"/>
                                  </p:stCondLst>
                                  <p:childTnLst>
                                    <p:set>
                                      <p:cBhvr>
                                        <p:cTn id="70" dur="1" fill="hold">
                                          <p:stCondLst>
                                            <p:cond delay="0"/>
                                          </p:stCondLst>
                                        </p:cTn>
                                        <p:tgtEl>
                                          <p:spTgt spid="66"/>
                                        </p:tgtEl>
                                        <p:attrNameLst>
                                          <p:attrName>style.visibility</p:attrName>
                                        </p:attrNameLst>
                                      </p:cBhvr>
                                      <p:to>
                                        <p:strVal val="visible"/>
                                      </p:to>
                                    </p:set>
                                    <p:animEffect transition="in" filter="fade">
                                      <p:cBhvr>
                                        <p:cTn id="71" dur="250"/>
                                        <p:tgtEl>
                                          <p:spTgt spid="66"/>
                                        </p:tgtEl>
                                      </p:cBhvr>
                                    </p:animEffect>
                                  </p:childTnLst>
                                </p:cTn>
                              </p:par>
                              <p:par>
                                <p:cTn id="72" presetID="10" presetClass="entr" presetSubtype="0" fill="hold" grpId="0" nodeType="withEffect">
                                  <p:stCondLst>
                                    <p:cond delay="1400"/>
                                  </p:stCondLst>
                                  <p:childTnLst>
                                    <p:set>
                                      <p:cBhvr>
                                        <p:cTn id="73" dur="1" fill="hold">
                                          <p:stCondLst>
                                            <p:cond delay="0"/>
                                          </p:stCondLst>
                                        </p:cTn>
                                        <p:tgtEl>
                                          <p:spTgt spid="65"/>
                                        </p:tgtEl>
                                        <p:attrNameLst>
                                          <p:attrName>style.visibility</p:attrName>
                                        </p:attrNameLst>
                                      </p:cBhvr>
                                      <p:to>
                                        <p:strVal val="visible"/>
                                      </p:to>
                                    </p:set>
                                    <p:animEffect transition="in" filter="fade">
                                      <p:cBhvr>
                                        <p:cTn id="74" dur="250"/>
                                        <p:tgtEl>
                                          <p:spTgt spid="65"/>
                                        </p:tgtEl>
                                      </p:cBhvr>
                                    </p:animEffect>
                                  </p:childTnLst>
                                </p:cTn>
                              </p:par>
                              <p:par>
                                <p:cTn id="75" presetID="10" presetClass="entr" presetSubtype="0" fill="hold" grpId="0" nodeType="withEffect">
                                  <p:stCondLst>
                                    <p:cond delay="1500"/>
                                  </p:stCondLst>
                                  <p:childTnLst>
                                    <p:set>
                                      <p:cBhvr>
                                        <p:cTn id="76" dur="1" fill="hold">
                                          <p:stCondLst>
                                            <p:cond delay="0"/>
                                          </p:stCondLst>
                                        </p:cTn>
                                        <p:tgtEl>
                                          <p:spTgt spid="64"/>
                                        </p:tgtEl>
                                        <p:attrNameLst>
                                          <p:attrName>style.visibility</p:attrName>
                                        </p:attrNameLst>
                                      </p:cBhvr>
                                      <p:to>
                                        <p:strVal val="visible"/>
                                      </p:to>
                                    </p:set>
                                    <p:animEffect transition="in" filter="fade">
                                      <p:cBhvr>
                                        <p:cTn id="77" dur="25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250"/>
                        <p:tgtEl>
                          <p:spTgt spid="5"/>
                        </p:tgtEl>
                      </p:cBhvr>
                    </p:animEffect>
                  </p:childTnLst>
                </p:cTn>
              </p:par>
            </p:tnLst>
          </p:tmpl>
        </p:tmplLst>
      </p:bldP>
      <p:bldP spid="64" grpId="0">
        <p:tmplLst>
          <p:tmpl>
            <p:tnLst>
              <p:par>
                <p:cTn presetID="10" presetClass="entr" presetSubtype="0" fill="hold" nodeType="withEffect">
                  <p:stCondLst>
                    <p:cond delay="1500"/>
                  </p:stCondLst>
                  <p:childTnLst>
                    <p:set>
                      <p:cBhvr>
                        <p:cTn dur="1" fill="hold">
                          <p:stCondLst>
                            <p:cond delay="0"/>
                          </p:stCondLst>
                        </p:cTn>
                        <p:tgtEl>
                          <p:spTgt spid="64"/>
                        </p:tgtEl>
                        <p:attrNameLst>
                          <p:attrName>style.visibility</p:attrName>
                        </p:attrNameLst>
                      </p:cBhvr>
                      <p:to>
                        <p:strVal val="visible"/>
                      </p:to>
                    </p:set>
                    <p:animEffect transition="in" filter="fade">
                      <p:cBhvr>
                        <p:cTn dur="250"/>
                        <p:tgtEl>
                          <p:spTgt spid="64"/>
                        </p:tgtEl>
                      </p:cBhvr>
                    </p:animEffect>
                  </p:childTnLst>
                </p:cTn>
              </p:par>
            </p:tnLst>
          </p:tmpl>
        </p:tmplLst>
      </p:bldP>
      <p:bldP spid="65" grpId="0">
        <p:tmplLst>
          <p:tmpl>
            <p:tnLst>
              <p:par>
                <p:cTn presetID="10" presetClass="entr" presetSubtype="0" fill="hold" nodeType="withEffect">
                  <p:stCondLst>
                    <p:cond delay="1400"/>
                  </p:stCondLst>
                  <p:childTnLst>
                    <p:set>
                      <p:cBhvr>
                        <p:cTn dur="1" fill="hold">
                          <p:stCondLst>
                            <p:cond delay="0"/>
                          </p:stCondLst>
                        </p:cTn>
                        <p:tgtEl>
                          <p:spTgt spid="65"/>
                        </p:tgtEl>
                        <p:attrNameLst>
                          <p:attrName>style.visibility</p:attrName>
                        </p:attrNameLst>
                      </p:cBhvr>
                      <p:to>
                        <p:strVal val="visible"/>
                      </p:to>
                    </p:set>
                    <p:animEffect transition="in" filter="fade">
                      <p:cBhvr>
                        <p:cTn dur="250"/>
                        <p:tgtEl>
                          <p:spTgt spid="65"/>
                        </p:tgtEl>
                      </p:cBhvr>
                    </p:animEffect>
                  </p:childTnLst>
                </p:cTn>
              </p:par>
            </p:tnLst>
          </p:tmpl>
        </p:tmplLst>
      </p:bldP>
      <p:bldP spid="66" grpId="0">
        <p:tmplLst>
          <p:tmpl>
            <p:tnLst>
              <p:par>
                <p:cTn presetID="10" presetClass="entr" presetSubtype="0" fill="hold" nodeType="withEffect">
                  <p:stCondLst>
                    <p:cond delay="1300"/>
                  </p:stCondLst>
                  <p:childTnLst>
                    <p:set>
                      <p:cBhvr>
                        <p:cTn dur="1" fill="hold">
                          <p:stCondLst>
                            <p:cond delay="0"/>
                          </p:stCondLst>
                        </p:cTn>
                        <p:tgtEl>
                          <p:spTgt spid="66"/>
                        </p:tgtEl>
                        <p:attrNameLst>
                          <p:attrName>style.visibility</p:attrName>
                        </p:attrNameLst>
                      </p:cBhvr>
                      <p:to>
                        <p:strVal val="visible"/>
                      </p:to>
                    </p:set>
                    <p:animEffect transition="in" filter="fade">
                      <p:cBhvr>
                        <p:cTn dur="250"/>
                        <p:tgtEl>
                          <p:spTgt spid="66"/>
                        </p:tgtEl>
                      </p:cBhvr>
                    </p:animEffect>
                  </p:childTnLst>
                </p:cTn>
              </p:par>
            </p:tnLst>
          </p:tmpl>
        </p:tmplLst>
      </p:bldP>
      <p:bldP spid="67" grpId="0">
        <p:tmplLst>
          <p:tmpl>
            <p:tnLst>
              <p:par>
                <p:cTn presetID="10" presetClass="entr" presetSubtype="0" fill="hold" nodeType="withEffect">
                  <p:stCondLst>
                    <p:cond delay="1200"/>
                  </p:stCondLst>
                  <p:childTnLst>
                    <p:set>
                      <p:cBhvr>
                        <p:cTn presetID="59" presetClass="entr" dur="1" fill="hold">
                          <p:stCondLst>
                            <p:cond delay="0"/>
                          </p:stCondLst>
                        </p:cTn>
                        <p:tgtEl>
                          <p:spTgt spid="67"/>
                        </p:tgtEl>
                        <p:attrNameLst>
                          <p:attrName>style.visibility</p:attrName>
                        </p:attrNameLst>
                      </p:cBhvr>
                      <p:to>
                        <p:strVal val="visible"/>
                      </p:to>
                    </p:set>
                    <p:animEffect transition="in" filter="fade">
                      <p:cBhvr>
                        <p:cTn dur="250"/>
                        <p:tgtEl>
                          <p:spTgt spid="67"/>
                        </p:tgtEl>
                      </p:cBhvr>
                    </p:animEffect>
                  </p:childTnLst>
                </p:cTn>
              </p:par>
            </p:tnLst>
          </p:tmpl>
        </p:tmplLst>
      </p:bldP>
      <p:bldP spid="68" grpId="0">
        <p:tmplLst>
          <p:tmpl>
            <p:tnLst>
              <p:par>
                <p:cTn presetID="10" presetClass="entr" presetSubtype="0" fill="hold" nodeType="withEffect">
                  <p:stCondLst>
                    <p:cond delay="1100"/>
                  </p:stCondLst>
                  <p:childTnLst>
                    <p:set>
                      <p:cBhvr>
                        <p:cTn dur="1" fill="hold">
                          <p:stCondLst>
                            <p:cond delay="0"/>
                          </p:stCondLst>
                        </p:cTn>
                        <p:tgtEl>
                          <p:spTgt spid="68"/>
                        </p:tgtEl>
                        <p:attrNameLst>
                          <p:attrName>style.visibility</p:attrName>
                        </p:attrNameLst>
                      </p:cBhvr>
                      <p:to>
                        <p:strVal val="visible"/>
                      </p:to>
                    </p:set>
                    <p:animEffect transition="in" filter="fade">
                      <p:cBhvr>
                        <p:cTn dur="250"/>
                        <p:tgtEl>
                          <p:spTgt spid="68"/>
                        </p:tgtEl>
                      </p:cBhvr>
                    </p:animEffect>
                  </p:childTnLst>
                </p:cTn>
              </p:par>
            </p:tnLst>
          </p:tmpl>
        </p:tmplLst>
      </p:bldP>
    </p:bld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2"/>
            <a:ext cx="5378548" cy="2018501"/>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62102"/>
            <a:ext cx="5378548" cy="2018501"/>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0220476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2"/>
            <a:ext cx="5378548" cy="2018501"/>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62102"/>
            <a:ext cx="5378548" cy="2018501"/>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922743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2506927"/>
          </a:xfrm>
        </p:spPr>
        <p:txBody>
          <a:bodyPr wrap="square">
            <a:spAutoFit/>
          </a:bodyPr>
          <a:lstStyle>
            <a:lvl1pPr marL="281562" indent="-281562">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62101"/>
            <a:ext cx="5378548" cy="2506927"/>
          </a:xfrm>
        </p:spPr>
        <p:txBody>
          <a:bodyPr wrap="square">
            <a:spAutoFit/>
          </a:bodyPr>
          <a:lstStyle>
            <a:lvl1pPr marL="281562" indent="-281562">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9344994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3" y="1576523"/>
            <a:ext cx="5378548" cy="2506927"/>
          </a:xfrm>
        </p:spPr>
        <p:txBody>
          <a:bodyPr wrap="square">
            <a:spAutoFit/>
          </a:bodyPr>
          <a:lstStyle>
            <a:lvl1pPr marL="281562" indent="-281562">
              <a:spcBef>
                <a:spcPts val="1200"/>
              </a:spcBef>
              <a:buClr>
                <a:schemeClr val="tx1"/>
              </a:buClr>
              <a:buFont typeface="Arial" pitchFamily="34" charset="0"/>
              <a:buChar char="•"/>
              <a:defRPr sz="3135"/>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76523"/>
            <a:ext cx="5378548" cy="2506927"/>
          </a:xfrm>
        </p:spPr>
        <p:txBody>
          <a:bodyPr wrap="square">
            <a:spAutoFit/>
          </a:bodyPr>
          <a:lstStyle>
            <a:lvl1pPr marL="281562" indent="-281562">
              <a:spcBef>
                <a:spcPts val="1200"/>
              </a:spcBef>
              <a:buClr>
                <a:schemeClr val="tx1"/>
              </a:buClr>
              <a:buFont typeface="Arial" pitchFamily="34" charset="0"/>
              <a:buChar char="•"/>
              <a:defRPr sz="3135"/>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92257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965655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6"/>
            <a:ext cx="11294896" cy="1161665"/>
          </a:xfrm>
          <a:noFill/>
        </p:spPr>
        <p:txBody>
          <a:bodyPr wrap="square" tIns="91440" bIns="91440" anchor="t" anchorCtr="0">
            <a:spAutoFit/>
          </a:bodyPr>
          <a:lstStyle>
            <a:lvl1pPr>
              <a:defRPr sz="7054" spc="-99" baseline="0">
                <a:solidFill>
                  <a:schemeClr val="tx1"/>
                </a:solidFill>
              </a:defRPr>
            </a:lvl1pPr>
          </a:lstStyle>
          <a:p>
            <a:r>
              <a:rPr lang="en-US" dirty="0"/>
              <a:t>Section title</a:t>
            </a:r>
          </a:p>
        </p:txBody>
      </p:sp>
    </p:spTree>
    <p:extLst>
      <p:ext uri="{BB962C8B-B14F-4D97-AF65-F5344CB8AC3E}">
        <p14:creationId xmlns:p14="http://schemas.microsoft.com/office/powerpoint/2010/main" val="1784741587"/>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6"/>
            <a:ext cx="11175844" cy="1161665"/>
          </a:xfrm>
          <a:noFill/>
        </p:spPr>
        <p:txBody>
          <a:bodyPr wrap="square" tIns="91440" bIns="91440" anchor="t" anchorCtr="0">
            <a:spAutoFit/>
          </a:bodyPr>
          <a:lstStyle>
            <a:lvl1pPr>
              <a:defRPr sz="7054" spc="-99"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10" y="4146553"/>
            <a:ext cx="10487801" cy="914866"/>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230164491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62093" y="2084174"/>
            <a:ext cx="8067823" cy="1793105"/>
          </a:xfrm>
          <a:noFill/>
        </p:spPr>
        <p:txBody>
          <a:bodyPr wrap="square" tIns="91440" bIns="91440" anchor="t" anchorCtr="0">
            <a:noAutofit/>
          </a:bodyPr>
          <a:lstStyle>
            <a:lvl1pPr>
              <a:defRPr sz="5880" spc="-99"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23144243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321822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20"/>
            <a:ext cx="11653523" cy="395309"/>
          </a:xfrm>
          <a:prstGeom prst="rect">
            <a:avLst/>
          </a:prstGeom>
          <a:noFill/>
          <a:ln w="12700">
            <a:noFill/>
            <a:miter lim="800000"/>
            <a:headEnd type="none" w="sm" len="sm"/>
            <a:tailEnd type="none" w="sm" len="sm"/>
          </a:ln>
          <a:effectLst/>
        </p:spPr>
        <p:txBody>
          <a:bodyPr vert="horz" wrap="square" lIns="179235" tIns="143387" rIns="179235" bIns="143387" numCol="1" anchor="t" anchorCtr="0" compatLnSpc="1">
            <a:prstTxWarp prst="textNoShape">
              <a:avLst/>
            </a:prstTxWarp>
            <a:spAutoFit/>
          </a:bodyPr>
          <a:lstStyle/>
          <a:p>
            <a:pPr marL="0" marR="0" lvl="0" indent="0" algn="l" defTabSz="913550" rtl="0" eaLnBrk="0" fontAlgn="auto" latinLnBrk="0" hangingPunct="0">
              <a:lnSpc>
                <a:spcPct val="100000"/>
              </a:lnSpc>
              <a:spcBef>
                <a:spcPts val="0"/>
              </a:spcBef>
              <a:spcAft>
                <a:spcPts val="0"/>
              </a:spcAft>
              <a:buClrTx/>
              <a:buSzTx/>
              <a:buFontTx/>
              <a:buNone/>
              <a:tabLst/>
              <a:defRPr/>
            </a:pPr>
            <a:r>
              <a:rPr kumimoji="0" lang="en-US" sz="687"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0205" y="3083653"/>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90122460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Ighlights">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44" name="Freeform 13"/>
          <p:cNvSpPr>
            <a:spLocks noEditPoints="1"/>
          </p:cNvSpPr>
          <p:nvPr userDrawn="1"/>
        </p:nvSpPr>
        <p:spPr bwMode="auto">
          <a:xfrm rot="21197796">
            <a:off x="3634317" y="977902"/>
            <a:ext cx="4921251" cy="4904317"/>
          </a:xfrm>
          <a:custGeom>
            <a:avLst/>
            <a:gdLst>
              <a:gd name="T0" fmla="*/ 2825 w 3041"/>
              <a:gd name="T1" fmla="*/ 1515 h 3029"/>
              <a:gd name="T2" fmla="*/ 2999 w 3041"/>
              <a:gd name="T3" fmla="*/ 1056 h 3029"/>
              <a:gd name="T4" fmla="*/ 2998 w 3041"/>
              <a:gd name="T5" fmla="*/ 1054 h 3029"/>
              <a:gd name="T6" fmla="*/ 2891 w 3041"/>
              <a:gd name="T7" fmla="*/ 780 h 3029"/>
              <a:gd name="T8" fmla="*/ 2891 w 3041"/>
              <a:gd name="T9" fmla="*/ 778 h 3029"/>
              <a:gd name="T10" fmla="*/ 2430 w 3041"/>
              <a:gd name="T11" fmla="*/ 582 h 3029"/>
              <a:gd name="T12" fmla="*/ 2441 w 3041"/>
              <a:gd name="T13" fmla="*/ 294 h 3029"/>
              <a:gd name="T14" fmla="*/ 2173 w 3041"/>
              <a:gd name="T15" fmla="*/ 388 h 3029"/>
              <a:gd name="T16" fmla="*/ 1876 w 3041"/>
              <a:gd name="T17" fmla="*/ 25 h 3029"/>
              <a:gd name="T18" fmla="*/ 1527 w 3041"/>
              <a:gd name="T19" fmla="*/ 0 h 3029"/>
              <a:gd name="T20" fmla="*/ 1178 w 3041"/>
              <a:gd name="T21" fmla="*/ 264 h 3029"/>
              <a:gd name="T22" fmla="*/ 933 w 3041"/>
              <a:gd name="T23" fmla="*/ 111 h 3029"/>
              <a:gd name="T24" fmla="*/ 864 w 3041"/>
              <a:gd name="T25" fmla="*/ 399 h 3029"/>
              <a:gd name="T26" fmla="*/ 414 w 3041"/>
              <a:gd name="T27" fmla="*/ 467 h 3029"/>
              <a:gd name="T28" fmla="*/ 212 w 3041"/>
              <a:gd name="T29" fmla="*/ 743 h 3029"/>
              <a:gd name="T30" fmla="*/ 268 w 3041"/>
              <a:gd name="T31" fmla="*/ 1198 h 3029"/>
              <a:gd name="T32" fmla="*/ 14 w 3041"/>
              <a:gd name="T33" fmla="*/ 1332 h 3029"/>
              <a:gd name="T34" fmla="*/ 229 w 3041"/>
              <a:gd name="T35" fmla="*/ 1520 h 3029"/>
              <a:gd name="T36" fmla="*/ 61 w 3041"/>
              <a:gd name="T37" fmla="*/ 1959 h 3029"/>
              <a:gd name="T38" fmla="*/ 190 w 3041"/>
              <a:gd name="T39" fmla="*/ 2263 h 3029"/>
              <a:gd name="T40" fmla="*/ 621 w 3041"/>
              <a:gd name="T41" fmla="*/ 2444 h 3029"/>
              <a:gd name="T42" fmla="*/ 610 w 3041"/>
              <a:gd name="T43" fmla="*/ 2732 h 3029"/>
              <a:gd name="T44" fmla="*/ 886 w 3041"/>
              <a:gd name="T45" fmla="*/ 2644 h 3029"/>
              <a:gd name="T46" fmla="*/ 1176 w 3041"/>
              <a:gd name="T47" fmla="*/ 3002 h 3029"/>
              <a:gd name="T48" fmla="*/ 1527 w 3041"/>
              <a:gd name="T49" fmla="*/ 3029 h 3029"/>
              <a:gd name="T50" fmla="*/ 1527 w 3041"/>
              <a:gd name="T51" fmla="*/ 2813 h 3029"/>
              <a:gd name="T52" fmla="*/ 1986 w 3041"/>
              <a:gd name="T53" fmla="*/ 2986 h 3029"/>
              <a:gd name="T54" fmla="*/ 2262 w 3041"/>
              <a:gd name="T55" fmla="*/ 2879 h 3029"/>
              <a:gd name="T56" fmla="*/ 2459 w 3041"/>
              <a:gd name="T57" fmla="*/ 2418 h 3029"/>
              <a:gd name="T58" fmla="*/ 2747 w 3041"/>
              <a:gd name="T59" fmla="*/ 2430 h 3029"/>
              <a:gd name="T60" fmla="*/ 2653 w 3041"/>
              <a:gd name="T61" fmla="*/ 2161 h 3029"/>
              <a:gd name="T62" fmla="*/ 3017 w 3041"/>
              <a:gd name="T63" fmla="*/ 1865 h 3029"/>
              <a:gd name="T64" fmla="*/ 3041 w 3041"/>
              <a:gd name="T65" fmla="*/ 1516 h 3029"/>
              <a:gd name="T66" fmla="*/ 1962 w 3041"/>
              <a:gd name="T67" fmla="*/ 2545 h 3029"/>
              <a:gd name="T68" fmla="*/ 1092 w 3041"/>
              <a:gd name="T69" fmla="*/ 2545 h 3029"/>
              <a:gd name="T70" fmla="*/ 497 w 3041"/>
              <a:gd name="T71" fmla="*/ 1950 h 3029"/>
              <a:gd name="T72" fmla="*/ 497 w 3041"/>
              <a:gd name="T73" fmla="*/ 1080 h 3029"/>
              <a:gd name="T74" fmla="*/ 1092 w 3041"/>
              <a:gd name="T75" fmla="*/ 485 h 3029"/>
              <a:gd name="T76" fmla="*/ 1962 w 3041"/>
              <a:gd name="T77" fmla="*/ 485 h 3029"/>
              <a:gd name="T78" fmla="*/ 2557 w 3041"/>
              <a:gd name="T79" fmla="*/ 1080 h 3029"/>
              <a:gd name="T80" fmla="*/ 2557 w 3041"/>
              <a:gd name="T81" fmla="*/ 1950 h 3029"/>
              <a:gd name="T82" fmla="*/ 1962 w 3041"/>
              <a:gd name="T83" fmla="*/ 2545 h 3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1" h="3029">
                <a:moveTo>
                  <a:pt x="2825" y="1516"/>
                </a:moveTo>
                <a:cubicBezTo>
                  <a:pt x="2825" y="1515"/>
                  <a:pt x="2825" y="1515"/>
                  <a:pt x="2825" y="1515"/>
                </a:cubicBezTo>
                <a:cubicBezTo>
                  <a:pt x="2825" y="1394"/>
                  <a:pt x="2809" y="1277"/>
                  <a:pt x="2778" y="1167"/>
                </a:cubicBezTo>
                <a:cubicBezTo>
                  <a:pt x="2999" y="1056"/>
                  <a:pt x="2999" y="1056"/>
                  <a:pt x="2999" y="1056"/>
                </a:cubicBezTo>
                <a:cubicBezTo>
                  <a:pt x="2998" y="1054"/>
                  <a:pt x="2998" y="1054"/>
                  <a:pt x="2998" y="1054"/>
                </a:cubicBezTo>
                <a:cubicBezTo>
                  <a:pt x="2998" y="1054"/>
                  <a:pt x="2998" y="1054"/>
                  <a:pt x="2998" y="1054"/>
                </a:cubicBezTo>
                <a:cubicBezTo>
                  <a:pt x="2932" y="922"/>
                  <a:pt x="2932" y="922"/>
                  <a:pt x="2932" y="922"/>
                </a:cubicBezTo>
                <a:cubicBezTo>
                  <a:pt x="2891" y="780"/>
                  <a:pt x="2891" y="780"/>
                  <a:pt x="2891" y="780"/>
                </a:cubicBezTo>
                <a:cubicBezTo>
                  <a:pt x="2891" y="780"/>
                  <a:pt x="2891" y="780"/>
                  <a:pt x="2891" y="780"/>
                </a:cubicBezTo>
                <a:cubicBezTo>
                  <a:pt x="2891" y="778"/>
                  <a:pt x="2891" y="778"/>
                  <a:pt x="2891" y="778"/>
                </a:cubicBezTo>
                <a:cubicBezTo>
                  <a:pt x="2642" y="849"/>
                  <a:pt x="2642" y="849"/>
                  <a:pt x="2642" y="849"/>
                </a:cubicBezTo>
                <a:cubicBezTo>
                  <a:pt x="2583" y="751"/>
                  <a:pt x="2512" y="661"/>
                  <a:pt x="2430" y="582"/>
                </a:cubicBezTo>
                <a:cubicBezTo>
                  <a:pt x="2574" y="401"/>
                  <a:pt x="2574" y="401"/>
                  <a:pt x="2574" y="401"/>
                </a:cubicBezTo>
                <a:cubicBezTo>
                  <a:pt x="2441" y="294"/>
                  <a:pt x="2441" y="294"/>
                  <a:pt x="2441" y="294"/>
                </a:cubicBezTo>
                <a:cubicBezTo>
                  <a:pt x="2298" y="199"/>
                  <a:pt x="2298" y="199"/>
                  <a:pt x="2298" y="199"/>
                </a:cubicBezTo>
                <a:cubicBezTo>
                  <a:pt x="2173" y="388"/>
                  <a:pt x="2173" y="388"/>
                  <a:pt x="2173" y="388"/>
                </a:cubicBezTo>
                <a:cubicBezTo>
                  <a:pt x="2071" y="330"/>
                  <a:pt x="1960" y="285"/>
                  <a:pt x="1843" y="256"/>
                </a:cubicBezTo>
                <a:cubicBezTo>
                  <a:pt x="1876" y="25"/>
                  <a:pt x="1876" y="25"/>
                  <a:pt x="1876" y="25"/>
                </a:cubicBezTo>
                <a:cubicBezTo>
                  <a:pt x="1702" y="0"/>
                  <a:pt x="1702" y="0"/>
                  <a:pt x="1702" y="0"/>
                </a:cubicBezTo>
                <a:cubicBezTo>
                  <a:pt x="1527" y="0"/>
                  <a:pt x="1527" y="0"/>
                  <a:pt x="1527" y="0"/>
                </a:cubicBezTo>
                <a:cubicBezTo>
                  <a:pt x="1527" y="217"/>
                  <a:pt x="1527" y="217"/>
                  <a:pt x="1527" y="217"/>
                </a:cubicBezTo>
                <a:cubicBezTo>
                  <a:pt x="1406" y="217"/>
                  <a:pt x="1289" y="233"/>
                  <a:pt x="1178" y="264"/>
                </a:cubicBezTo>
                <a:cubicBezTo>
                  <a:pt x="1067" y="44"/>
                  <a:pt x="1067" y="44"/>
                  <a:pt x="1067" y="44"/>
                </a:cubicBezTo>
                <a:cubicBezTo>
                  <a:pt x="933" y="111"/>
                  <a:pt x="933" y="111"/>
                  <a:pt x="933" y="111"/>
                </a:cubicBezTo>
                <a:cubicBezTo>
                  <a:pt x="789" y="155"/>
                  <a:pt x="789" y="155"/>
                  <a:pt x="789" y="155"/>
                </a:cubicBezTo>
                <a:cubicBezTo>
                  <a:pt x="864" y="399"/>
                  <a:pt x="864" y="399"/>
                  <a:pt x="864" y="399"/>
                </a:cubicBezTo>
                <a:cubicBezTo>
                  <a:pt x="765" y="458"/>
                  <a:pt x="674" y="530"/>
                  <a:pt x="595" y="612"/>
                </a:cubicBezTo>
                <a:cubicBezTo>
                  <a:pt x="414" y="467"/>
                  <a:pt x="414" y="467"/>
                  <a:pt x="414" y="467"/>
                </a:cubicBezTo>
                <a:cubicBezTo>
                  <a:pt x="307" y="601"/>
                  <a:pt x="307" y="601"/>
                  <a:pt x="307" y="601"/>
                </a:cubicBezTo>
                <a:cubicBezTo>
                  <a:pt x="212" y="743"/>
                  <a:pt x="212" y="743"/>
                  <a:pt x="212" y="743"/>
                </a:cubicBezTo>
                <a:cubicBezTo>
                  <a:pt x="401" y="869"/>
                  <a:pt x="401" y="869"/>
                  <a:pt x="401" y="869"/>
                </a:cubicBezTo>
                <a:cubicBezTo>
                  <a:pt x="342" y="971"/>
                  <a:pt x="297" y="1081"/>
                  <a:pt x="268" y="1198"/>
                </a:cubicBezTo>
                <a:cubicBezTo>
                  <a:pt x="38" y="1165"/>
                  <a:pt x="38" y="1165"/>
                  <a:pt x="38" y="1165"/>
                </a:cubicBezTo>
                <a:cubicBezTo>
                  <a:pt x="14" y="1332"/>
                  <a:pt x="14" y="1332"/>
                  <a:pt x="14" y="1332"/>
                </a:cubicBezTo>
                <a:cubicBezTo>
                  <a:pt x="0" y="1501"/>
                  <a:pt x="0" y="1501"/>
                  <a:pt x="0" y="1501"/>
                </a:cubicBezTo>
                <a:cubicBezTo>
                  <a:pt x="229" y="1520"/>
                  <a:pt x="229" y="1520"/>
                  <a:pt x="229" y="1520"/>
                </a:cubicBezTo>
                <a:cubicBezTo>
                  <a:pt x="230" y="1641"/>
                  <a:pt x="247" y="1758"/>
                  <a:pt x="278" y="1869"/>
                </a:cubicBezTo>
                <a:cubicBezTo>
                  <a:pt x="61" y="1959"/>
                  <a:pt x="61" y="1959"/>
                  <a:pt x="61" y="1959"/>
                </a:cubicBezTo>
                <a:cubicBezTo>
                  <a:pt x="124" y="2111"/>
                  <a:pt x="124" y="2111"/>
                  <a:pt x="124" y="2111"/>
                </a:cubicBezTo>
                <a:cubicBezTo>
                  <a:pt x="190" y="2263"/>
                  <a:pt x="190" y="2263"/>
                  <a:pt x="190" y="2263"/>
                </a:cubicBezTo>
                <a:cubicBezTo>
                  <a:pt x="407" y="2170"/>
                  <a:pt x="407" y="2170"/>
                  <a:pt x="407" y="2170"/>
                </a:cubicBezTo>
                <a:cubicBezTo>
                  <a:pt x="466" y="2271"/>
                  <a:pt x="538" y="2363"/>
                  <a:pt x="621" y="2444"/>
                </a:cubicBezTo>
                <a:cubicBezTo>
                  <a:pt x="480" y="2638"/>
                  <a:pt x="480" y="2638"/>
                  <a:pt x="480" y="2638"/>
                </a:cubicBezTo>
                <a:cubicBezTo>
                  <a:pt x="610" y="2732"/>
                  <a:pt x="610" y="2732"/>
                  <a:pt x="610" y="2732"/>
                </a:cubicBezTo>
                <a:cubicBezTo>
                  <a:pt x="735" y="2833"/>
                  <a:pt x="735" y="2833"/>
                  <a:pt x="735" y="2833"/>
                </a:cubicBezTo>
                <a:cubicBezTo>
                  <a:pt x="886" y="2644"/>
                  <a:pt x="886" y="2644"/>
                  <a:pt x="886" y="2644"/>
                </a:cubicBezTo>
                <a:cubicBezTo>
                  <a:pt x="987" y="2701"/>
                  <a:pt x="1096" y="2745"/>
                  <a:pt x="1211" y="2774"/>
                </a:cubicBezTo>
                <a:cubicBezTo>
                  <a:pt x="1176" y="3002"/>
                  <a:pt x="1176" y="3002"/>
                  <a:pt x="1176" y="3002"/>
                </a:cubicBezTo>
                <a:cubicBezTo>
                  <a:pt x="1350" y="3029"/>
                  <a:pt x="1350" y="3029"/>
                  <a:pt x="1350" y="3029"/>
                </a:cubicBezTo>
                <a:cubicBezTo>
                  <a:pt x="1527" y="3029"/>
                  <a:pt x="1527" y="3029"/>
                  <a:pt x="1527" y="3029"/>
                </a:cubicBezTo>
                <a:cubicBezTo>
                  <a:pt x="1527" y="2813"/>
                  <a:pt x="1527" y="2813"/>
                  <a:pt x="1527" y="2813"/>
                </a:cubicBezTo>
                <a:cubicBezTo>
                  <a:pt x="1527" y="2813"/>
                  <a:pt x="1527" y="2813"/>
                  <a:pt x="1527" y="2813"/>
                </a:cubicBezTo>
                <a:cubicBezTo>
                  <a:pt x="1648" y="2813"/>
                  <a:pt x="1765" y="2796"/>
                  <a:pt x="1876" y="2765"/>
                </a:cubicBezTo>
                <a:cubicBezTo>
                  <a:pt x="1986" y="2986"/>
                  <a:pt x="1986" y="2986"/>
                  <a:pt x="1986" y="2986"/>
                </a:cubicBezTo>
                <a:cubicBezTo>
                  <a:pt x="2119" y="2920"/>
                  <a:pt x="2119" y="2920"/>
                  <a:pt x="2119" y="2920"/>
                </a:cubicBezTo>
                <a:cubicBezTo>
                  <a:pt x="2262" y="2879"/>
                  <a:pt x="2262" y="2879"/>
                  <a:pt x="2262" y="2879"/>
                </a:cubicBezTo>
                <a:cubicBezTo>
                  <a:pt x="2191" y="2630"/>
                  <a:pt x="2191" y="2630"/>
                  <a:pt x="2191" y="2630"/>
                </a:cubicBezTo>
                <a:cubicBezTo>
                  <a:pt x="2290" y="2571"/>
                  <a:pt x="2380" y="2500"/>
                  <a:pt x="2459" y="2418"/>
                </a:cubicBezTo>
                <a:cubicBezTo>
                  <a:pt x="2640" y="2563"/>
                  <a:pt x="2640" y="2563"/>
                  <a:pt x="2640" y="2563"/>
                </a:cubicBezTo>
                <a:cubicBezTo>
                  <a:pt x="2747" y="2430"/>
                  <a:pt x="2747" y="2430"/>
                  <a:pt x="2747" y="2430"/>
                </a:cubicBezTo>
                <a:cubicBezTo>
                  <a:pt x="2842" y="2287"/>
                  <a:pt x="2842" y="2287"/>
                  <a:pt x="2842" y="2287"/>
                </a:cubicBezTo>
                <a:cubicBezTo>
                  <a:pt x="2653" y="2161"/>
                  <a:pt x="2653" y="2161"/>
                  <a:pt x="2653" y="2161"/>
                </a:cubicBezTo>
                <a:cubicBezTo>
                  <a:pt x="2711" y="2060"/>
                  <a:pt x="2757" y="1949"/>
                  <a:pt x="2786" y="1832"/>
                </a:cubicBezTo>
                <a:cubicBezTo>
                  <a:pt x="3017" y="1865"/>
                  <a:pt x="3017" y="1865"/>
                  <a:pt x="3017" y="1865"/>
                </a:cubicBezTo>
                <a:cubicBezTo>
                  <a:pt x="3041" y="1691"/>
                  <a:pt x="3041" y="1691"/>
                  <a:pt x="3041" y="1691"/>
                </a:cubicBezTo>
                <a:cubicBezTo>
                  <a:pt x="3041" y="1516"/>
                  <a:pt x="3041" y="1516"/>
                  <a:pt x="3041" y="1516"/>
                </a:cubicBezTo>
                <a:lnTo>
                  <a:pt x="2825" y="1516"/>
                </a:lnTo>
                <a:close/>
                <a:moveTo>
                  <a:pt x="1962" y="2545"/>
                </a:moveTo>
                <a:cubicBezTo>
                  <a:pt x="1825" y="2603"/>
                  <a:pt x="1678" y="2633"/>
                  <a:pt x="1527" y="2633"/>
                </a:cubicBezTo>
                <a:cubicBezTo>
                  <a:pt x="1376" y="2633"/>
                  <a:pt x="1230" y="2603"/>
                  <a:pt x="1092" y="2545"/>
                </a:cubicBezTo>
                <a:cubicBezTo>
                  <a:pt x="959" y="2489"/>
                  <a:pt x="839" y="2408"/>
                  <a:pt x="737" y="2305"/>
                </a:cubicBezTo>
                <a:cubicBezTo>
                  <a:pt x="634" y="2203"/>
                  <a:pt x="553" y="2083"/>
                  <a:pt x="497" y="1950"/>
                </a:cubicBezTo>
                <a:cubicBezTo>
                  <a:pt x="439" y="1812"/>
                  <a:pt x="409" y="1666"/>
                  <a:pt x="409" y="1515"/>
                </a:cubicBezTo>
                <a:cubicBezTo>
                  <a:pt x="409" y="1364"/>
                  <a:pt x="439" y="1217"/>
                  <a:pt x="497" y="1080"/>
                </a:cubicBezTo>
                <a:cubicBezTo>
                  <a:pt x="553" y="947"/>
                  <a:pt x="634" y="827"/>
                  <a:pt x="737" y="724"/>
                </a:cubicBezTo>
                <a:cubicBezTo>
                  <a:pt x="839" y="621"/>
                  <a:pt x="959" y="541"/>
                  <a:pt x="1092" y="485"/>
                </a:cubicBezTo>
                <a:cubicBezTo>
                  <a:pt x="1230" y="426"/>
                  <a:pt x="1376" y="397"/>
                  <a:pt x="1527" y="397"/>
                </a:cubicBezTo>
                <a:cubicBezTo>
                  <a:pt x="1678" y="397"/>
                  <a:pt x="1825" y="426"/>
                  <a:pt x="1962" y="485"/>
                </a:cubicBezTo>
                <a:cubicBezTo>
                  <a:pt x="2095" y="541"/>
                  <a:pt x="2215" y="621"/>
                  <a:pt x="2318" y="724"/>
                </a:cubicBezTo>
                <a:cubicBezTo>
                  <a:pt x="2420" y="827"/>
                  <a:pt x="2501" y="947"/>
                  <a:pt x="2557" y="1080"/>
                </a:cubicBezTo>
                <a:cubicBezTo>
                  <a:pt x="2616" y="1217"/>
                  <a:pt x="2645" y="1364"/>
                  <a:pt x="2645" y="1515"/>
                </a:cubicBezTo>
                <a:cubicBezTo>
                  <a:pt x="2645" y="1666"/>
                  <a:pt x="2616" y="1812"/>
                  <a:pt x="2557" y="1950"/>
                </a:cubicBezTo>
                <a:cubicBezTo>
                  <a:pt x="2501" y="2083"/>
                  <a:pt x="2420" y="2203"/>
                  <a:pt x="2318" y="2305"/>
                </a:cubicBezTo>
                <a:cubicBezTo>
                  <a:pt x="2215" y="2408"/>
                  <a:pt x="2095" y="2489"/>
                  <a:pt x="1962" y="2545"/>
                </a:cubicBezTo>
                <a:close/>
              </a:path>
            </a:pathLst>
          </a:custGeom>
          <a:gradFill>
            <a:gsLst>
              <a:gs pos="0">
                <a:srgbClr val="032145">
                  <a:lumMod val="25000"/>
                  <a:lumOff val="75000"/>
                </a:srgbClr>
              </a:gs>
              <a:gs pos="100000">
                <a:srgbClr val="032145">
                  <a:alpha val="27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5" name="Freeform 17"/>
          <p:cNvSpPr>
            <a:spLocks noEditPoints="1"/>
          </p:cNvSpPr>
          <p:nvPr userDrawn="1"/>
        </p:nvSpPr>
        <p:spPr bwMode="auto">
          <a:xfrm rot="1144636">
            <a:off x="1274471" y="3042352"/>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6" name="Freeform 17"/>
          <p:cNvSpPr>
            <a:spLocks noEditPoints="1"/>
          </p:cNvSpPr>
          <p:nvPr userDrawn="1"/>
        </p:nvSpPr>
        <p:spPr bwMode="auto">
          <a:xfrm>
            <a:off x="8310319" y="1227001"/>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7" name="Freeform 38"/>
          <p:cNvSpPr>
            <a:spLocks noEditPoints="1"/>
          </p:cNvSpPr>
          <p:nvPr userDrawn="1"/>
        </p:nvSpPr>
        <p:spPr bwMode="auto">
          <a:xfrm>
            <a:off x="4529669" y="1939152"/>
            <a:ext cx="3096684" cy="2982384"/>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8" name="Freeform 39"/>
          <p:cNvSpPr>
            <a:spLocks noEditPoints="1"/>
          </p:cNvSpPr>
          <p:nvPr userDrawn="1"/>
        </p:nvSpPr>
        <p:spPr bwMode="auto">
          <a:xfrm>
            <a:off x="4891617" y="2241837"/>
            <a:ext cx="2372784" cy="237701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9" name="Freeform 40"/>
          <p:cNvSpPr>
            <a:spLocks noEditPoints="1"/>
          </p:cNvSpPr>
          <p:nvPr userDrawn="1"/>
        </p:nvSpPr>
        <p:spPr bwMode="auto">
          <a:xfrm>
            <a:off x="5164668" y="2521236"/>
            <a:ext cx="1820333" cy="1824567"/>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 name="Rectangle 3"/>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 name="Titre 1"/>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3" name="Espace réservé du numéro de diapositive 2"/>
          <p:cNvSpPr>
            <a:spLocks noGrp="1"/>
          </p:cNvSpPr>
          <p:nvPr>
            <p:ph type="sldNum" sz="quarter" idx="10"/>
          </p:nvPr>
        </p:nvSpPr>
        <p:spPr/>
        <p:txBody>
          <a:bodyPr/>
          <a:lstStyle/>
          <a:p>
            <a:fld id="{88A6B057-71F2-43BA-98BD-164F4E914A39}" type="slidenum">
              <a:rPr lang="en-GB" smtClean="0"/>
              <a:pPr/>
              <a:t>‹#›</a:t>
            </a:fld>
            <a:endParaRPr lang="en-GB"/>
          </a:p>
        </p:txBody>
      </p:sp>
      <p:sp>
        <p:nvSpPr>
          <p:cNvPr id="16" name="Espace réservé du texte 15"/>
          <p:cNvSpPr>
            <a:spLocks noGrp="1" noChangeAspect="1"/>
          </p:cNvSpPr>
          <p:nvPr userDrawn="1">
            <p:ph type="body" sz="quarter" idx="11" hasCustomPrompt="1"/>
          </p:nvPr>
        </p:nvSpPr>
        <p:spPr>
          <a:xfrm>
            <a:off x="6867211"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17" name="Espace réservé du texte 15"/>
          <p:cNvSpPr>
            <a:spLocks noGrp="1" noChangeAspect="1"/>
          </p:cNvSpPr>
          <p:nvPr userDrawn="1">
            <p:ph type="body" sz="quarter" idx="12" hasCustomPrompt="1"/>
          </p:nvPr>
        </p:nvSpPr>
        <p:spPr>
          <a:xfrm>
            <a:off x="7556960" y="3408859"/>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18" name="Espace réservé du texte 15"/>
          <p:cNvSpPr>
            <a:spLocks noGrp="1" noChangeAspect="1"/>
          </p:cNvSpPr>
          <p:nvPr userDrawn="1">
            <p:ph type="body" sz="quarter" idx="13" hasCustomPrompt="1"/>
          </p:nvPr>
        </p:nvSpPr>
        <p:spPr>
          <a:xfrm>
            <a:off x="5859164" y="4900176"/>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19" name="Espace réservé du texte 15"/>
          <p:cNvSpPr>
            <a:spLocks noGrp="1" noChangeAspect="1"/>
          </p:cNvSpPr>
          <p:nvPr userDrawn="1">
            <p:ph type="body" sz="quarter" idx="14" hasCustomPrompt="1"/>
          </p:nvPr>
        </p:nvSpPr>
        <p:spPr>
          <a:xfrm>
            <a:off x="4165600" y="3438381"/>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26" name="Espace réservé du texte 15"/>
          <p:cNvSpPr>
            <a:spLocks noGrp="1" noChangeAspect="1"/>
          </p:cNvSpPr>
          <p:nvPr userDrawn="1">
            <p:ph type="body" sz="quarter" idx="15" hasCustomPrompt="1"/>
          </p:nvPr>
        </p:nvSpPr>
        <p:spPr>
          <a:xfrm>
            <a:off x="4796367"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28" name="Espace réservé du texte 27"/>
          <p:cNvSpPr>
            <a:spLocks noGrp="1"/>
          </p:cNvSpPr>
          <p:nvPr userDrawn="1">
            <p:ph type="body" sz="quarter" idx="16"/>
          </p:nvPr>
        </p:nvSpPr>
        <p:spPr>
          <a:xfrm>
            <a:off x="1307448" y="1742617"/>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29" name="Espace réservé du texte 27"/>
          <p:cNvSpPr>
            <a:spLocks noGrp="1"/>
          </p:cNvSpPr>
          <p:nvPr userDrawn="1">
            <p:ph type="body" sz="quarter" idx="17"/>
          </p:nvPr>
        </p:nvSpPr>
        <p:spPr>
          <a:xfrm>
            <a:off x="701688" y="3307518"/>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30" name="Espace réservé du texte 27"/>
          <p:cNvSpPr>
            <a:spLocks noGrp="1"/>
          </p:cNvSpPr>
          <p:nvPr userDrawn="1">
            <p:ph type="body" sz="quarter" idx="18"/>
          </p:nvPr>
        </p:nvSpPr>
        <p:spPr>
          <a:xfrm>
            <a:off x="2370245" y="4781269"/>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31" name="Espace réservé du texte 27"/>
          <p:cNvSpPr>
            <a:spLocks noGrp="1"/>
          </p:cNvSpPr>
          <p:nvPr userDrawn="1">
            <p:ph type="body" sz="quarter" idx="19"/>
          </p:nvPr>
        </p:nvSpPr>
        <p:spPr>
          <a:xfrm>
            <a:off x="7454476" y="1742617"/>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32" name="Espace réservé du texte 27"/>
          <p:cNvSpPr>
            <a:spLocks noGrp="1"/>
          </p:cNvSpPr>
          <p:nvPr userDrawn="1">
            <p:ph type="body" sz="quarter" idx="20"/>
          </p:nvPr>
        </p:nvSpPr>
        <p:spPr>
          <a:xfrm>
            <a:off x="8113484" y="3277995"/>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pic>
        <p:nvPicPr>
          <p:cNvPr id="24" name="Image 6" descr="Log_AXIANS_CRVB.jpg">
            <a:extLst>
              <a:ext uri="{FF2B5EF4-FFF2-40B4-BE49-F238E27FC236}">
                <a16:creationId xmlns:a16="http://schemas.microsoft.com/office/drawing/2014/main" id="{14482187-C1C7-414B-ACAB-3BFA2D671BDD}"/>
              </a:ext>
            </a:extLst>
          </p:cNvPr>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39951327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par>
                                <p:cTn id="14" presetID="8" presetClass="emph" presetSubtype="0" decel="62500" fill="hold" grpId="0" nodeType="withEffect">
                                  <p:stCondLst>
                                    <p:cond delay="0"/>
                                  </p:stCondLst>
                                  <p:childTnLst>
                                    <p:animRot by="21600000">
                                      <p:cBhvr>
                                        <p:cTn id="15" dur="4000" fill="hold"/>
                                        <p:tgtEl>
                                          <p:spTgt spid="45"/>
                                        </p:tgtEl>
                                        <p:attrNameLst>
                                          <p:attrName>r</p:attrName>
                                        </p:attrNameLst>
                                      </p:cBhvr>
                                    </p:animRot>
                                  </p:childTnLst>
                                </p:cTn>
                              </p:par>
                              <p:par>
                                <p:cTn id="16" presetID="8" presetClass="emph" presetSubtype="0" decel="62500" fill="hold" grpId="0" nodeType="withEffect">
                                  <p:stCondLst>
                                    <p:cond delay="0"/>
                                  </p:stCondLst>
                                  <p:childTnLst>
                                    <p:animRot by="-12660000">
                                      <p:cBhvr>
                                        <p:cTn id="17" dur="4000" fill="hold"/>
                                        <p:tgtEl>
                                          <p:spTgt spid="44"/>
                                        </p:tgtEl>
                                        <p:attrNameLst>
                                          <p:attrName>r</p:attrName>
                                        </p:attrNameLst>
                                      </p:cBhvr>
                                    </p:animRot>
                                  </p:childTnLst>
                                </p:cTn>
                              </p:par>
                              <p:par>
                                <p:cTn id="18" presetID="8" presetClass="emph" presetSubtype="0" decel="62500" fill="hold" grpId="0" nodeType="withEffect">
                                  <p:stCondLst>
                                    <p:cond delay="0"/>
                                  </p:stCondLst>
                                  <p:childTnLst>
                                    <p:animRot by="21600000">
                                      <p:cBhvr>
                                        <p:cTn id="19" dur="4000" fill="hold"/>
                                        <p:tgtEl>
                                          <p:spTgt spid="46"/>
                                        </p:tgtEl>
                                        <p:attrNameLst>
                                          <p:attrName>r</p:attrName>
                                        </p:attrNameLst>
                                      </p:cBhvr>
                                    </p:animRot>
                                  </p:childTnLst>
                                </p:cTn>
                              </p:par>
                              <p:par>
                                <p:cTn id="20" presetID="10" presetClass="entr" presetSubtype="0" fill="hold" grpId="1" nodeType="with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fade">
                                      <p:cBhvr>
                                        <p:cTn id="25" dur="500"/>
                                        <p:tgtEl>
                                          <p:spTgt spid="4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8" presetClass="emph" presetSubtype="0" fill="hold" grpId="0" nodeType="withEffect">
                                  <p:stCondLst>
                                    <p:cond delay="0"/>
                                  </p:stCondLst>
                                  <p:childTnLst>
                                    <p:animRot by="21600000">
                                      <p:cBhvr>
                                        <p:cTn id="30" dur="4000" fill="hold"/>
                                        <p:tgtEl>
                                          <p:spTgt spid="49"/>
                                        </p:tgtEl>
                                        <p:attrNameLst>
                                          <p:attrName>r</p:attrName>
                                        </p:attrNameLst>
                                      </p:cBhvr>
                                    </p:animRot>
                                  </p:childTnLst>
                                </p:cTn>
                              </p:par>
                              <p:par>
                                <p:cTn id="31" presetID="8" presetClass="emph" presetSubtype="0" fill="hold" grpId="0" nodeType="withEffect">
                                  <p:stCondLst>
                                    <p:cond delay="0"/>
                                  </p:stCondLst>
                                  <p:childTnLst>
                                    <p:animRot by="-21600000">
                                      <p:cBhvr>
                                        <p:cTn id="32" dur="4000" fill="hold"/>
                                        <p:tgtEl>
                                          <p:spTgt spid="48"/>
                                        </p:tgtEl>
                                        <p:attrNameLst>
                                          <p:attrName>r</p:attrName>
                                        </p:attrNameLst>
                                      </p:cBhvr>
                                    </p:animRot>
                                  </p:childTnLst>
                                </p:cTn>
                              </p:par>
                              <p:par>
                                <p:cTn id="33" presetID="8" presetClass="emph" presetSubtype="0" fill="hold" grpId="0" nodeType="withEffect">
                                  <p:stCondLst>
                                    <p:cond delay="0"/>
                                  </p:stCondLst>
                                  <p:childTnLst>
                                    <p:animRot by="21600000">
                                      <p:cBhvr>
                                        <p:cTn id="34" dur="4000" fill="hold"/>
                                        <p:tgtEl>
                                          <p:spTgt spid="47"/>
                                        </p:tgtEl>
                                        <p:attrNameLst>
                                          <p:attrName>r</p:attrName>
                                        </p:attrNameLst>
                                      </p:cBhvr>
                                    </p:animRot>
                                  </p:childTnLst>
                                </p:cTn>
                              </p:par>
                              <p:par>
                                <p:cTn id="35" presetID="10" presetClass="entr" presetSubtype="0" fill="hold" grpId="0" nodeType="withEffect" nodePh="1">
                                  <p:stCondLst>
                                    <p:cond delay="500"/>
                                  </p:stCondLst>
                                  <p:endCondLst>
                                    <p:cond evt="begin" delay="0">
                                      <p:tn val="35"/>
                                    </p:cond>
                                  </p:end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10" presetClass="entr" presetSubtype="0" fill="hold" grpId="0" nodeType="withEffect" nodePh="1">
                                  <p:stCondLst>
                                    <p:cond delay="1000"/>
                                  </p:stCondLst>
                                  <p:endCondLst>
                                    <p:cond evt="begin" delay="0">
                                      <p:tn val="38"/>
                                    </p:cond>
                                  </p:end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grpId="0" nodeType="withEffect" nodePh="1">
                                  <p:stCondLst>
                                    <p:cond delay="1500"/>
                                  </p:stCondLst>
                                  <p:endCondLst>
                                    <p:cond evt="begin" delay="0">
                                      <p:tn val="41"/>
                                    </p:cond>
                                  </p:endCondLst>
                                  <p:childTnLst>
                                    <p:set>
                                      <p:cBhvr>
                                        <p:cTn id="42" dur="1" fill="hold">
                                          <p:stCondLst>
                                            <p:cond delay="0"/>
                                          </p:stCondLst>
                                        </p:cTn>
                                        <p:tgtEl>
                                          <p:spTgt spid="30"/>
                                        </p:tgtEl>
                                        <p:attrNameLst>
                                          <p:attrName>style.visibility</p:attrName>
                                        </p:attrNameLst>
                                      </p:cBhvr>
                                      <p:to>
                                        <p:strVal val="visible"/>
                                      </p:to>
                                    </p:set>
                                    <p:animEffect transition="in" filter="fade">
                                      <p:cBhvr>
                                        <p:cTn id="43" dur="500"/>
                                        <p:tgtEl>
                                          <p:spTgt spid="30"/>
                                        </p:tgtEl>
                                      </p:cBhvr>
                                    </p:animEffect>
                                  </p:childTnLst>
                                </p:cTn>
                              </p:par>
                              <p:par>
                                <p:cTn id="44" presetID="10" presetClass="entr" presetSubtype="0" fill="hold" grpId="0" nodeType="withEffect" nodePh="1">
                                  <p:stCondLst>
                                    <p:cond delay="2000"/>
                                  </p:stCondLst>
                                  <p:endCondLst>
                                    <p:cond evt="begin" delay="0">
                                      <p:tn val="44"/>
                                    </p:cond>
                                  </p:end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nodePh="1">
                                  <p:stCondLst>
                                    <p:cond delay="2500"/>
                                  </p:stCondLst>
                                  <p:endCondLst>
                                    <p:cond evt="begin" delay="0">
                                      <p:tn val="47"/>
                                    </p:cond>
                                  </p:endCondLst>
                                  <p:childTnLst>
                                    <p:set>
                                      <p:cBhvr>
                                        <p:cTn id="48" dur="1" fill="hold">
                                          <p:stCondLst>
                                            <p:cond delay="0"/>
                                          </p:stCondLst>
                                        </p:cTn>
                                        <p:tgtEl>
                                          <p:spTgt spid="28"/>
                                        </p:tgtEl>
                                        <p:attrNameLst>
                                          <p:attrName>style.visibility</p:attrName>
                                        </p:attrNameLst>
                                      </p:cBhvr>
                                      <p:to>
                                        <p:strVal val="visible"/>
                                      </p:to>
                                    </p:set>
                                    <p:animEffect transition="in" filter="fade">
                                      <p:cBhvr>
                                        <p:cTn id="49" dur="500"/>
                                        <p:tgtEl>
                                          <p:spTgt spid="28"/>
                                        </p:tgtEl>
                                      </p:cBhvr>
                                    </p:animEffect>
                                  </p:childTnLst>
                                </p:cTn>
                              </p:par>
                              <p:par>
                                <p:cTn id="50" presetID="10" presetClass="entr" presetSubtype="0" fill="hold" grpId="0" nodeType="withEffect">
                                  <p:stCondLst>
                                    <p:cond delay="250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200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par>
                                <p:cTn id="62" presetID="10" presetClass="entr" presetSubtype="0" fill="hold" grpId="0" nodeType="withEffect">
                                  <p:stCondLst>
                                    <p:cond delay="150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16" grpId="0" animBg="1">
        <p:tmplLst>
          <p:tmpl>
            <p:tnLst>
              <p:par>
                <p:cTn presetID="10" presetClass="entr" presetSubtype="0" fill="hold" nodeType="withEffect">
                  <p:stCondLst>
                    <p:cond delay="5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animBg="1">
        <p:tmplLst>
          <p:tmpl>
            <p:tnLst>
              <p:par>
                <p:cTn presetID="10" presetClass="entr" presetSubtype="0" fill="hold" nodeType="withEffect">
                  <p:stCondLst>
                    <p:cond delay="100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animBg="1">
        <p:tmplLst>
          <p:tmpl>
            <p:tnLst>
              <p:par>
                <p:cTn presetID="10" presetClass="entr" presetSubtype="0" fill="hold" nodeType="withEffect">
                  <p:stCondLst>
                    <p:cond delay="150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9" grpId="0" animBg="1">
        <p:tmplLst>
          <p:tmpl>
            <p:tnLst>
              <p:par>
                <p:cTn presetID="10" presetClass="entr" presetSubtype="0" fill="hold" nodeType="withEffect">
                  <p:stCondLst>
                    <p:cond delay="200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6" grpId="0" animBg="1">
        <p:tmplLst>
          <p:tmpl>
            <p:tnLst>
              <p:par>
                <p:cTn presetID="10" presetClass="entr" presetSubtype="0" fill="hold" nodeType="withEffect">
                  <p:stCondLst>
                    <p:cond delay="250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P spid="28" grpId="0">
        <p:tmplLst>
          <p:tmpl>
            <p:tnLst>
              <p:par>
                <p:cTn presetID="10" presetClass="entr" presetSubtype="0" fill="hold" nodeType="withEffect" nodePh="1">
                  <p:stCondLst>
                    <p:cond delay="2500"/>
                  </p:stCondLst>
                  <p:endCondLst>
                    <p:cond delay="0"/>
                  </p:end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29" grpId="0">
        <p:tmplLst>
          <p:tmpl>
            <p:tnLst>
              <p:par>
                <p:cTn presetID="10" presetClass="entr" presetSubtype="0" fill="hold" nodeType="withEffect" nodePh="1">
                  <p:stCondLst>
                    <p:cond delay="2000"/>
                  </p:stCondLst>
                  <p:endCondLst>
                    <p:cond delay="0"/>
                  </p:end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childTnLst>
                </p:cTn>
              </p:par>
            </p:tnLst>
          </p:tmpl>
        </p:tmplLst>
      </p:bldP>
      <p:bldP spid="30" grpId="0">
        <p:tmplLst>
          <p:tmpl>
            <p:tnLst>
              <p:par>
                <p:cTn presetID="10" presetClass="entr" presetSubtype="0" fill="hold" nodeType="withEffect" nodePh="1">
                  <p:stCondLst>
                    <p:cond delay="1500"/>
                  </p:stCondLst>
                  <p:endCondLst>
                    <p:cond delay="0"/>
                  </p:endCondLst>
                  <p:childTnLst>
                    <p:set>
                      <p:cBhvr>
                        <p:cTn dur="1" fill="hold">
                          <p:stCondLst>
                            <p:cond delay="0"/>
                          </p:stCondLst>
                        </p:cTn>
                        <p:tgtEl>
                          <p:spTgt spid="30"/>
                        </p:tgtEl>
                        <p:attrNameLst>
                          <p:attrName>style.visibility</p:attrName>
                        </p:attrNameLst>
                      </p:cBhvr>
                      <p:to>
                        <p:strVal val="visible"/>
                      </p:to>
                    </p:set>
                    <p:animEffect transition="in" filter="fade">
                      <p:cBhvr>
                        <p:cTn dur="500"/>
                        <p:tgtEl>
                          <p:spTgt spid="30"/>
                        </p:tgtEl>
                      </p:cBhvr>
                    </p:animEffect>
                  </p:childTnLst>
                </p:cTn>
              </p:par>
            </p:tnLst>
          </p:tmpl>
        </p:tmplLst>
      </p:bldP>
      <p:bldP spid="31" grpId="0">
        <p:tmplLst>
          <p:tmpl>
            <p:tnLst>
              <p:par>
                <p:cTn presetID="10" presetClass="entr" presetSubtype="0" fill="hold" nodeType="withEffect" nodePh="1">
                  <p:stCondLst>
                    <p:cond delay="500"/>
                  </p:stCondLst>
                  <p:endCondLst>
                    <p:cond delay="0"/>
                  </p:end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2" grpId="0">
        <p:tmplLst>
          <p:tmpl>
            <p:tnLst>
              <p:par>
                <p:cTn presetID="10" presetClass="entr" presetSubtype="0" fill="hold" nodeType="withEffect" nodePh="1">
                  <p:stCondLst>
                    <p:cond delay="1000"/>
                  </p:stCondLst>
                  <p:endCondLst>
                    <p:cond delay="0"/>
                  </p:end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80"/>
            <a:ext cx="11653523" cy="2500600"/>
          </a:xfrm>
          <a:prstGeom prst="rect">
            <a:avLst/>
          </a:prstGeom>
        </p:spPr>
        <p:txBody>
          <a:bodyPr/>
          <a:lstStyle>
            <a:lvl1pPr marL="284673" indent="-284673">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13" indent="-275341">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86" indent="-28467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692" indent="-224005">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694" indent="-224005">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58665182"/>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106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9"/>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62037318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Tree>
    <p:extLst>
      <p:ext uri="{BB962C8B-B14F-4D97-AF65-F5344CB8AC3E}">
        <p14:creationId xmlns:p14="http://schemas.microsoft.com/office/powerpoint/2010/main" val="3969679587"/>
      </p:ext>
    </p:extLst>
  </p:cSld>
  <p:clrMapOvr>
    <a:masterClrMapping/>
  </p:clrMapOvr>
  <p:transition>
    <p:fade/>
  </p:transition>
  <p:hf sldNum="0" hdr="0" dt="0"/>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3"/>
            <a:ext cx="11655840" cy="899665"/>
          </a:xfrm>
        </p:spPr>
        <p:txBody>
          <a:bodyPr/>
          <a:lstStyle>
            <a:lvl1pPr>
              <a:defRPr sz="2800"/>
            </a:lvl1pPr>
          </a:lstStyle>
          <a:p>
            <a:r>
              <a:rPr lang="en-US"/>
              <a:t>Click to edit Master title style</a:t>
            </a:r>
            <a:endParaRPr lang="en-US" dirty="0"/>
          </a:p>
        </p:txBody>
      </p:sp>
      <p:sp>
        <p:nvSpPr>
          <p:cNvPr id="6" name="Text Placeholder 5"/>
          <p:cNvSpPr>
            <a:spLocks noGrp="1"/>
          </p:cNvSpPr>
          <p:nvPr>
            <p:ph type="body" sz="quarter" idx="10"/>
          </p:nvPr>
        </p:nvSpPr>
        <p:spPr>
          <a:xfrm>
            <a:off x="5761037" y="1905002"/>
            <a:ext cx="6164043" cy="1329595"/>
          </a:xfrm>
        </p:spPr>
        <p:txBody>
          <a:bodyPr/>
          <a:lstStyle>
            <a:lvl1pPr marL="0" indent="0">
              <a:spcBef>
                <a:spcPts val="1200"/>
              </a:spcBef>
              <a:buNone/>
              <a:defRPr sz="1600">
                <a:solidFill>
                  <a:schemeClr val="tx1"/>
                </a:solidFill>
                <a:latin typeface="Segoe Semibold" panose="020B0702040504020203" pitchFamily="34" charset="0"/>
              </a:defRPr>
            </a:lvl1pPr>
            <a:lvl2pPr marL="0" indent="0">
              <a:spcBef>
                <a:spcPts val="600"/>
              </a:spcBef>
              <a:buNone/>
              <a:defRPr sz="1400">
                <a:solidFill>
                  <a:schemeClr val="tx1"/>
                </a:solidFill>
              </a:defRPr>
            </a:lvl2pPr>
            <a:lvl3pPr marL="344414" indent="-223789">
              <a:defRPr sz="1200">
                <a:solidFill>
                  <a:schemeClr val="tx1"/>
                </a:solidFill>
              </a:defRPr>
            </a:lvl3pPr>
            <a:lvl4pPr marL="509478" indent="-165064">
              <a:defRPr sz="1100">
                <a:solidFill>
                  <a:schemeClr val="tx1"/>
                </a:solidFill>
              </a:defRPr>
            </a:lvl4pPr>
            <a:lvl5pPr marL="974514" indent="-223789">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69241" y="1475440"/>
            <a:ext cx="5033555" cy="492443"/>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00">
                <a:solidFill>
                  <a:schemeClr val="accent1"/>
                </a:solidFill>
                <a:latin typeface="+mn-lt"/>
              </a:defRPr>
            </a:lvl2pPr>
          </a:lstStyle>
          <a:p>
            <a:pPr lvl="0" fontAlgn="base">
              <a:spcBef>
                <a:spcPts val="600"/>
              </a:spcBef>
              <a:spcAft>
                <a:spcPct val="0"/>
              </a:spcAft>
            </a:pPr>
            <a:r>
              <a:rPr lang="en-US" dirty="0"/>
              <a:t>Click to edit Master text styles</a:t>
            </a:r>
          </a:p>
          <a:p>
            <a:pPr lvl="1" fontAlgn="base">
              <a:spcBef>
                <a:spcPts val="600"/>
              </a:spcBef>
              <a:spcAft>
                <a:spcPct val="0"/>
              </a:spcAft>
            </a:pPr>
            <a:r>
              <a:rPr lang="en-US" dirty="0"/>
              <a:t>VNVN</a:t>
            </a:r>
          </a:p>
        </p:txBody>
      </p:sp>
      <p:sp>
        <p:nvSpPr>
          <p:cNvPr id="12" name="Text Placeholder 8"/>
          <p:cNvSpPr>
            <a:spLocks noGrp="1"/>
          </p:cNvSpPr>
          <p:nvPr>
            <p:ph type="body" sz="quarter" idx="12"/>
          </p:nvPr>
        </p:nvSpPr>
        <p:spPr>
          <a:xfrm>
            <a:off x="5761038" y="1475441"/>
            <a:ext cx="6218237" cy="221599"/>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00"/>
              </a:spcBef>
              <a:spcAft>
                <a:spcPct val="0"/>
              </a:spcAft>
            </a:pPr>
            <a:r>
              <a:rPr lang="en-US" dirty="0"/>
              <a:t>Click to edit Master text styles</a:t>
            </a:r>
          </a:p>
        </p:txBody>
      </p:sp>
    </p:spTree>
    <p:extLst>
      <p:ext uri="{BB962C8B-B14F-4D97-AF65-F5344CB8AC3E}">
        <p14:creationId xmlns:p14="http://schemas.microsoft.com/office/powerpoint/2010/main" val="48322486"/>
      </p:ext>
    </p:extLst>
  </p:cSld>
  <p:clrMapOvr>
    <a:masterClrMapping/>
  </p:clrMapOvr>
  <p:transition>
    <p:fade/>
  </p:transition>
  <p:hf sldNum="0" hd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Rubrikbild">
    <p:spTree>
      <p:nvGrpSpPr>
        <p:cNvPr id="1" name=""/>
        <p:cNvGrpSpPr/>
        <p:nvPr/>
      </p:nvGrpSpPr>
      <p:grpSpPr>
        <a:xfrm>
          <a:off x="0" y="0"/>
          <a:ext cx="0" cy="0"/>
          <a:chOff x="0" y="0"/>
          <a:chExt cx="0" cy="0"/>
        </a:xfrm>
      </p:grpSpPr>
      <p:sp>
        <p:nvSpPr>
          <p:cNvPr id="4" name="Platshållare för datum 3"/>
          <p:cNvSpPr>
            <a:spLocks noGrp="1"/>
          </p:cNvSpPr>
          <p:nvPr>
            <p:ph type="dt" sz="half" idx="10"/>
          </p:nvPr>
        </p:nvSpPr>
        <p:spPr/>
        <p:txBody>
          <a:bodyPr/>
          <a:lstStyle/>
          <a:p>
            <a:fld id="{FA15A317-E1FD-4430-9064-36E69D31F355}" type="datetimeFigureOut">
              <a:rPr lang="sv-SE" smtClean="0"/>
              <a:t>2019-05-02</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7223857-EF42-49B7-B1AE-BFF52E589DE0}" type="slidenum">
              <a:rPr lang="sv-SE" smtClean="0"/>
              <a:t>‹#›</a:t>
            </a:fld>
            <a:endParaRPr lang="sv-SE"/>
          </a:p>
        </p:txBody>
      </p:sp>
      <p:pic>
        <p:nvPicPr>
          <p:cNvPr id="10" name="Bildobjekt 9"/>
          <p:cNvPicPr>
            <a:picLocks noChangeAspect="1"/>
          </p:cNvPicPr>
          <p:nvPr userDrawn="1"/>
        </p:nvPicPr>
        <p:blipFill rotWithShape="1">
          <a:blip r:embed="rId2" cstate="print">
            <a:extLst>
              <a:ext uri="{28A0092B-C50C-407E-A947-70E740481C1C}">
                <a14:useLocalDpi xmlns:a14="http://schemas.microsoft.com/office/drawing/2010/main" val="0"/>
              </a:ext>
            </a:extLst>
          </a:blip>
          <a:srcRect t="74659"/>
          <a:stretch/>
        </p:blipFill>
        <p:spPr>
          <a:xfrm>
            <a:off x="387950" y="1420548"/>
            <a:ext cx="2367188" cy="388986"/>
          </a:xfrm>
          <a:prstGeom prst="rect">
            <a:avLst/>
          </a:prstGeom>
        </p:spPr>
      </p:pic>
      <p:pic>
        <p:nvPicPr>
          <p:cNvPr id="11" name="Bildobjekt 10"/>
          <p:cNvPicPr>
            <a:picLocks noChangeAspect="1"/>
          </p:cNvPicPr>
          <p:nvPr userDrawn="1"/>
        </p:nvPicPr>
        <p:blipFill rotWithShape="1">
          <a:blip r:embed="rId3" cstate="print">
            <a:extLst>
              <a:ext uri="{28A0092B-C50C-407E-A947-70E740481C1C}">
                <a14:useLocalDpi xmlns:a14="http://schemas.microsoft.com/office/drawing/2010/main" val="0"/>
              </a:ext>
            </a:extLst>
          </a:blip>
          <a:srcRect b="18582"/>
          <a:stretch/>
        </p:blipFill>
        <p:spPr>
          <a:xfrm>
            <a:off x="369465" y="302915"/>
            <a:ext cx="2374656" cy="1084582"/>
          </a:xfrm>
          <a:prstGeom prst="rect">
            <a:avLst/>
          </a:prstGeom>
        </p:spPr>
      </p:pic>
    </p:spTree>
    <p:extLst>
      <p:ext uri="{BB962C8B-B14F-4D97-AF65-F5344CB8AC3E}">
        <p14:creationId xmlns:p14="http://schemas.microsoft.com/office/powerpoint/2010/main" val="306519906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Klicka här för att ändra format</a:t>
            </a:r>
          </a:p>
        </p:txBody>
      </p:sp>
      <p:sp>
        <p:nvSpPr>
          <p:cNvPr id="3" name="Platshållare för innehåll 2"/>
          <p:cNvSpPr>
            <a:spLocks noGrp="1"/>
          </p:cNvSpPr>
          <p:nvPr>
            <p:ph idx="1"/>
          </p:nvPr>
        </p:nvSpPr>
        <p:spPr/>
        <p:txBody>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10"/>
          </p:nvPr>
        </p:nvSpPr>
        <p:spPr/>
        <p:txBody>
          <a:bodyPr/>
          <a:lstStyle/>
          <a:p>
            <a:fld id="{FA15A317-E1FD-4430-9064-36E69D31F355}" type="datetimeFigureOut">
              <a:rPr lang="sv-SE" smtClean="0"/>
              <a:t>2019-05-02</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293728639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831850" y="1709738"/>
            <a:ext cx="10515600" cy="2852737"/>
          </a:xfrm>
        </p:spPr>
        <p:txBody>
          <a:bodyPr anchor="b"/>
          <a:lstStyle>
            <a:lvl1pPr>
              <a:defRPr sz="6000"/>
            </a:lvl1pPr>
          </a:lstStyle>
          <a:p>
            <a:r>
              <a:rPr lang="sv-SE" dirty="0"/>
              <a:t>Klicka här för att ändra format</a:t>
            </a:r>
          </a:p>
        </p:txBody>
      </p:sp>
      <p:sp>
        <p:nvSpPr>
          <p:cNvPr id="3" name="Platshållare för tex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4" name="Platshållare för datum 3"/>
          <p:cNvSpPr>
            <a:spLocks noGrp="1"/>
          </p:cNvSpPr>
          <p:nvPr>
            <p:ph type="dt" sz="half" idx="10"/>
          </p:nvPr>
        </p:nvSpPr>
        <p:spPr/>
        <p:txBody>
          <a:bodyPr/>
          <a:lstStyle/>
          <a:p>
            <a:fld id="{FA15A317-E1FD-4430-9064-36E69D31F355}" type="datetimeFigureOut">
              <a:rPr lang="sv-SE" smtClean="0"/>
              <a:t>2019-05-02</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378684533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p:nvPr>
        </p:nvSpPr>
        <p:spPr>
          <a:xfrm>
            <a:off x="838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6172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datum 4"/>
          <p:cNvSpPr>
            <a:spLocks noGrp="1"/>
          </p:cNvSpPr>
          <p:nvPr>
            <p:ph type="dt" sz="half" idx="10"/>
          </p:nvPr>
        </p:nvSpPr>
        <p:spPr/>
        <p:txBody>
          <a:bodyPr/>
          <a:lstStyle/>
          <a:p>
            <a:fld id="{FA15A317-E1FD-4430-9064-36E69D31F355}" type="datetimeFigureOut">
              <a:rPr lang="sv-SE" smtClean="0"/>
              <a:t>2019-05-02</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136819594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839788" y="365125"/>
            <a:ext cx="10515600" cy="1325563"/>
          </a:xfrm>
        </p:spPr>
        <p:txBody>
          <a:bodyPr/>
          <a:lstStyle/>
          <a:p>
            <a:r>
              <a:rPr lang="sv-SE"/>
              <a:t>Klicka här för att ändra format</a:t>
            </a:r>
          </a:p>
        </p:txBody>
      </p:sp>
      <p:sp>
        <p:nvSpPr>
          <p:cNvPr id="3" name="Platshållare för text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dirty="0"/>
              <a:t>Klicka här för att ändra format på bakgrundstexten</a:t>
            </a:r>
          </a:p>
        </p:txBody>
      </p:sp>
      <p:sp>
        <p:nvSpPr>
          <p:cNvPr id="4" name="Platshållare för innehåll 3"/>
          <p:cNvSpPr>
            <a:spLocks noGrp="1"/>
          </p:cNvSpPr>
          <p:nvPr>
            <p:ph sz="half" idx="2"/>
          </p:nvPr>
        </p:nvSpPr>
        <p:spPr>
          <a:xfrm>
            <a:off x="839788" y="2505075"/>
            <a:ext cx="5157787" cy="36845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text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6" name="Platshållare för innehåll 5"/>
          <p:cNvSpPr>
            <a:spLocks noGrp="1"/>
          </p:cNvSpPr>
          <p:nvPr>
            <p:ph sz="quarter" idx="4"/>
          </p:nvPr>
        </p:nvSpPr>
        <p:spPr>
          <a:xfrm>
            <a:off x="6172200" y="2505075"/>
            <a:ext cx="5183188" cy="36845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7" name="Platshållare för datum 6"/>
          <p:cNvSpPr>
            <a:spLocks noGrp="1"/>
          </p:cNvSpPr>
          <p:nvPr>
            <p:ph type="dt" sz="half" idx="10"/>
          </p:nvPr>
        </p:nvSpPr>
        <p:spPr/>
        <p:txBody>
          <a:bodyPr/>
          <a:lstStyle/>
          <a:p>
            <a:fld id="{FA15A317-E1FD-4430-9064-36E69D31F355}" type="datetimeFigureOut">
              <a:rPr lang="sv-SE" smtClean="0"/>
              <a:t>2019-05-02</a:t>
            </a:fld>
            <a:endParaRPr lang="sv-SE"/>
          </a:p>
        </p:txBody>
      </p:sp>
      <p:sp>
        <p:nvSpPr>
          <p:cNvPr id="8" name="Platshållare för sidfot 7"/>
          <p:cNvSpPr>
            <a:spLocks noGrp="1"/>
          </p:cNvSpPr>
          <p:nvPr>
            <p:ph type="ftr" sz="quarter" idx="11"/>
          </p:nvPr>
        </p:nvSpPr>
        <p:spPr/>
        <p:txBody>
          <a:bodyPr/>
          <a:lstStyle/>
          <a:p>
            <a:endParaRPr lang="sv-SE"/>
          </a:p>
        </p:txBody>
      </p:sp>
      <p:sp>
        <p:nvSpPr>
          <p:cNvPr id="9" name="Platshållare för bildnummer 8"/>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130024813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fld id="{FA15A317-E1FD-4430-9064-36E69D31F355}" type="datetimeFigureOut">
              <a:rPr lang="sv-SE" smtClean="0"/>
              <a:t>2019-05-02</a:t>
            </a:fld>
            <a:endParaRPr lang="sv-SE"/>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4313709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3683" y="6187924"/>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1" name="Image 6" descr="Log_AXIANS_CRVB.jpg">
            <a:extLst>
              <a:ext uri="{FF2B5EF4-FFF2-40B4-BE49-F238E27FC236}">
                <a16:creationId xmlns:a16="http://schemas.microsoft.com/office/drawing/2014/main" id="{1051920F-747A-4F43-B8FF-C834C64AE6BB}"/>
              </a:ext>
            </a:extLst>
          </p:cNvPr>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388282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FA15A317-E1FD-4430-9064-36E69D31F355}" type="datetimeFigureOut">
              <a:rPr lang="sv-SE" smtClean="0"/>
              <a:t>2019-05-02</a:t>
            </a:fld>
            <a:endParaRPr lang="sv-SE"/>
          </a:p>
        </p:txBody>
      </p:sp>
      <p:sp>
        <p:nvSpPr>
          <p:cNvPr id="3" name="Platshållare för sidfot 2"/>
          <p:cNvSpPr>
            <a:spLocks noGrp="1"/>
          </p:cNvSpPr>
          <p:nvPr>
            <p:ph type="ftr" sz="quarter" idx="11"/>
          </p:nvPr>
        </p:nvSpPr>
        <p:spPr/>
        <p:txBody>
          <a:bodyPr/>
          <a:lstStyle/>
          <a:p>
            <a:endParaRPr lang="sv-SE"/>
          </a:p>
        </p:txBody>
      </p:sp>
      <p:sp>
        <p:nvSpPr>
          <p:cNvPr id="4" name="Platshållare för bildnummer 3"/>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958565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Anpassad layout">
    <p:spTree>
      <p:nvGrpSpPr>
        <p:cNvPr id="1" name=""/>
        <p:cNvGrpSpPr/>
        <p:nvPr/>
      </p:nvGrpSpPr>
      <p:grpSpPr>
        <a:xfrm>
          <a:off x="0" y="0"/>
          <a:ext cx="0" cy="0"/>
          <a:chOff x="0" y="0"/>
          <a:chExt cx="0" cy="0"/>
        </a:xfrm>
      </p:grpSpPr>
      <p:sp>
        <p:nvSpPr>
          <p:cNvPr id="3" name="Platshållare för datum 2"/>
          <p:cNvSpPr>
            <a:spLocks noGrp="1"/>
          </p:cNvSpPr>
          <p:nvPr>
            <p:ph type="dt" sz="half" idx="10"/>
          </p:nvPr>
        </p:nvSpPr>
        <p:spPr/>
        <p:txBody>
          <a:bodyPr/>
          <a:lstStyle/>
          <a:p>
            <a:fld id="{026EB9C9-4BCB-46E5-B3B3-09AD3677738B}" type="datetimeFigureOut">
              <a:rPr lang="sv-SE" smtClean="0"/>
              <a:pPr/>
              <a:t>2019-05-02</a:t>
            </a:fld>
            <a:endParaRPr lang="sv-SE" dirty="0"/>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3B240767-FD45-408F-98F7-E57F15A24E3D}" type="slidenum">
              <a:rPr lang="sv-SE" smtClean="0"/>
              <a:t>‹#›</a:t>
            </a:fld>
            <a:endParaRPr lang="sv-SE"/>
          </a:p>
        </p:txBody>
      </p:sp>
      <p:pic>
        <p:nvPicPr>
          <p:cNvPr id="7" name="Bildobjekt 6"/>
          <p:cNvPicPr>
            <a:picLocks noChangeAspect="1"/>
          </p:cNvPicPr>
          <p:nvPr userDrawn="1"/>
        </p:nvPicPr>
        <p:blipFill rotWithShape="1">
          <a:blip r:embed="rId2" cstate="print">
            <a:extLst>
              <a:ext uri="{28A0092B-C50C-407E-A947-70E740481C1C}">
                <a14:useLocalDpi xmlns:a14="http://schemas.microsoft.com/office/drawing/2010/main" val="0"/>
              </a:ext>
            </a:extLst>
          </a:blip>
          <a:srcRect t="74659"/>
          <a:stretch/>
        </p:blipFill>
        <p:spPr>
          <a:xfrm>
            <a:off x="387950" y="1420548"/>
            <a:ext cx="2367188" cy="388986"/>
          </a:xfrm>
          <a:prstGeom prst="rect">
            <a:avLst/>
          </a:prstGeom>
        </p:spPr>
      </p:pic>
      <p:pic>
        <p:nvPicPr>
          <p:cNvPr id="8" name="Bildobjekt 7"/>
          <p:cNvPicPr>
            <a:picLocks noChangeAspect="1"/>
          </p:cNvPicPr>
          <p:nvPr userDrawn="1"/>
        </p:nvPicPr>
        <p:blipFill rotWithShape="1">
          <a:blip r:embed="rId3" cstate="print">
            <a:extLst>
              <a:ext uri="{28A0092B-C50C-407E-A947-70E740481C1C}">
                <a14:useLocalDpi xmlns:a14="http://schemas.microsoft.com/office/drawing/2010/main" val="0"/>
              </a:ext>
            </a:extLst>
          </a:blip>
          <a:srcRect b="18582"/>
          <a:stretch/>
        </p:blipFill>
        <p:spPr>
          <a:xfrm>
            <a:off x="369465" y="302915"/>
            <a:ext cx="2374656" cy="1084582"/>
          </a:xfrm>
          <a:prstGeom prst="rect">
            <a:avLst/>
          </a:prstGeom>
        </p:spPr>
      </p:pic>
    </p:spTree>
    <p:extLst>
      <p:ext uri="{BB962C8B-B14F-4D97-AF65-F5344CB8AC3E}">
        <p14:creationId xmlns:p14="http://schemas.microsoft.com/office/powerpoint/2010/main" val="261310399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Anpassad layout">
    <p:spTree>
      <p:nvGrpSpPr>
        <p:cNvPr id="1" name=""/>
        <p:cNvGrpSpPr/>
        <p:nvPr/>
      </p:nvGrpSpPr>
      <p:grpSpPr>
        <a:xfrm>
          <a:off x="0" y="0"/>
          <a:ext cx="0" cy="0"/>
          <a:chOff x="0" y="0"/>
          <a:chExt cx="0" cy="0"/>
        </a:xfrm>
      </p:grpSpPr>
      <p:sp>
        <p:nvSpPr>
          <p:cNvPr id="2" name="Rubrik 1"/>
          <p:cNvSpPr>
            <a:spLocks noGrp="1"/>
          </p:cNvSpPr>
          <p:nvPr>
            <p:ph type="title"/>
          </p:nvPr>
        </p:nvSpPr>
        <p:spPr>
          <a:xfrm>
            <a:off x="838200" y="365125"/>
            <a:ext cx="10515600" cy="1325563"/>
          </a:xfrm>
          <a:prstGeom prst="rect">
            <a:avLst/>
          </a:prstGeom>
        </p:spPr>
        <p:txBody>
          <a:bodyPr/>
          <a:lstStyle>
            <a:lvl1pPr>
              <a:defRPr>
                <a:latin typeface="Segoe UI Light" panose="020B0502040204020203" pitchFamily="34" charset="0"/>
              </a:defRPr>
            </a:lvl1pPr>
          </a:lstStyle>
          <a:p>
            <a:r>
              <a:rPr lang="sv-SE" dirty="0"/>
              <a:t>Klicka här för att ändra format</a:t>
            </a:r>
          </a:p>
        </p:txBody>
      </p:sp>
      <p:sp>
        <p:nvSpPr>
          <p:cNvPr id="3" name="Platshållare för datum 2"/>
          <p:cNvSpPr>
            <a:spLocks noGrp="1"/>
          </p:cNvSpPr>
          <p:nvPr>
            <p:ph type="dt" sz="half" idx="10"/>
          </p:nvPr>
        </p:nvSpPr>
        <p:spPr/>
        <p:txBody>
          <a:bodyPr/>
          <a:lstStyle/>
          <a:p>
            <a:fld id="{026EB9C9-4BCB-46E5-B3B3-09AD3677738B}" type="datetimeFigureOut">
              <a:rPr lang="sv-SE" smtClean="0"/>
              <a:pPr/>
              <a:t>2019-05-02</a:t>
            </a:fld>
            <a:endParaRPr lang="sv-SE" dirty="0"/>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3B240767-FD45-408F-98F7-E57F15A24E3D}" type="slidenum">
              <a:rPr lang="sv-SE" smtClean="0"/>
              <a:t>‹#›</a:t>
            </a:fld>
            <a:endParaRPr lang="sv-SE"/>
          </a:p>
        </p:txBody>
      </p:sp>
    </p:spTree>
    <p:extLst>
      <p:ext uri="{BB962C8B-B14F-4D97-AF65-F5344CB8AC3E}">
        <p14:creationId xmlns:p14="http://schemas.microsoft.com/office/powerpoint/2010/main" val="178413428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1524000" y="1122363"/>
            <a:ext cx="9144000" cy="2387600"/>
          </a:xfrm>
        </p:spPr>
        <p:txBody>
          <a:bodyPr anchor="b"/>
          <a:lstStyle>
            <a:lvl1pPr algn="ctr">
              <a:defRPr sz="6000"/>
            </a:lvl1pPr>
          </a:lstStyle>
          <a:p>
            <a:r>
              <a:rPr lang="sv-SE"/>
              <a:t>Klicka här för att ändra format</a:t>
            </a:r>
          </a:p>
        </p:txBody>
      </p:sp>
      <p:sp>
        <p:nvSpPr>
          <p:cNvPr id="3" name="Underrubrik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format på underrubrik i bakgrunden</a:t>
            </a:r>
          </a:p>
        </p:txBody>
      </p:sp>
      <p:sp>
        <p:nvSpPr>
          <p:cNvPr id="4" name="Platshållare för datum 3"/>
          <p:cNvSpPr>
            <a:spLocks noGrp="1"/>
          </p:cNvSpPr>
          <p:nvPr>
            <p:ph type="dt" sz="half" idx="10"/>
          </p:nvPr>
        </p:nvSpPr>
        <p:spPr/>
        <p:txBody>
          <a:bodyPr/>
          <a:lstStyle/>
          <a:p>
            <a:fld id="{FBD22349-5E18-4989-94A1-75AC9DB5DB2C}" type="datetimeFigureOut">
              <a:rPr lang="sv-SE" smtClean="0"/>
              <a:t>2019-05-02</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B2E174F7-330F-4C66-BFD9-72920310CF6E}" type="slidenum">
              <a:rPr lang="sv-SE" smtClean="0"/>
              <a:t>‹#›</a:t>
            </a:fld>
            <a:endParaRPr lang="sv-SE"/>
          </a:p>
        </p:txBody>
      </p:sp>
    </p:spTree>
    <p:extLst>
      <p:ext uri="{BB962C8B-B14F-4D97-AF65-F5344CB8AC3E}">
        <p14:creationId xmlns:p14="http://schemas.microsoft.com/office/powerpoint/2010/main" val="175453142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4614831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39" y="1562101"/>
            <a:ext cx="11653523" cy="2050772"/>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992267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150222019"/>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08550" y="3575431"/>
            <a:ext cx="11192219" cy="3076192"/>
          </a:xfrm>
          <a:prstGeom prst="rect">
            <a:avLst/>
          </a:prstGeom>
          <a:solidFill>
            <a:schemeClr val="tx2"/>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297802" y="1796852"/>
            <a:ext cx="9402967" cy="1737875"/>
          </a:xfrm>
          <a:prstGeom prst="rect">
            <a:avLst/>
          </a:prstGeom>
          <a:solidFill>
            <a:schemeClr val="tx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08550" y="1832855"/>
            <a:ext cx="1789252" cy="1586325"/>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309465" y="1996633"/>
            <a:ext cx="0" cy="1313986"/>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28132" y="2476620"/>
            <a:ext cx="1701872"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1" y="2104245"/>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0" y="2225484"/>
            <a:ext cx="2659303" cy="886397"/>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5455754" y="2530183"/>
            <a:ext cx="5996440" cy="276999"/>
          </a:xfrm>
        </p:spPr>
        <p:txBody>
          <a:bodyPr lIns="0" tIns="0" rIns="0" bIns="0" anchor="ctr"/>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9" name="Text Placeholder 7"/>
          <p:cNvSpPr>
            <a:spLocks noGrp="1"/>
          </p:cNvSpPr>
          <p:nvPr>
            <p:ph type="body" sz="quarter" idx="13"/>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644896383"/>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575431"/>
            <a:ext cx="12192000" cy="3282570"/>
          </a:xfrm>
          <a:prstGeom prst="rect">
            <a:avLst/>
          </a:prstGeom>
          <a:solidFill>
            <a:schemeClr val="tx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2"/>
            <a:ext cx="10386672" cy="1737875"/>
          </a:xfrm>
          <a:prstGeom prst="rect">
            <a:avLst/>
          </a:prstGeom>
          <a:solidFill>
            <a:schemeClr val="tx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8" y="1796852"/>
            <a:ext cx="1789252" cy="1737874"/>
          </a:xfrm>
          <a:prstGeom prst="rect">
            <a:avLst/>
          </a:prstGeom>
          <a:solidFill>
            <a:schemeClr val="bg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60" y="2473078"/>
            <a:ext cx="1694788"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6" cy="443198"/>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1938928" y="2530183"/>
            <a:ext cx="9513266" cy="276999"/>
          </a:xfrm>
        </p:spPr>
        <p:txBody>
          <a:bodyPr lIns="0" tIns="0" rIns="0" bIns="0" anchor="t" anchorCtr="0"/>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98608611"/>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93993779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4" name="Titre 3"/>
          <p:cNvSpPr>
            <a:spLocks noGrp="1"/>
          </p:cNvSpPr>
          <p:nvPr>
            <p:ph type="title"/>
          </p:nvPr>
        </p:nvSpPr>
        <p:spPr/>
        <p:txBody>
          <a:bodyPr/>
          <a:lstStyle>
            <a:lvl1pPr>
              <a:defRPr>
                <a:solidFill>
                  <a:schemeClr val="bg1"/>
                </a:solidFill>
              </a:defRPr>
            </a:lvl1pPr>
          </a:lstStyle>
          <a:p>
            <a:r>
              <a:rPr lang="en-GB" err="1"/>
              <a:t>Modifiez</a:t>
            </a:r>
            <a:r>
              <a:rPr lang="en-GB"/>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57" name="Espace réservé pour une image  56"/>
          <p:cNvSpPr>
            <a:spLocks noGrp="1"/>
          </p:cNvSpPr>
          <p:nvPr>
            <p:ph type="pic" sz="quarter" idx="10"/>
          </p:nvPr>
        </p:nvSpPr>
        <p:spPr>
          <a:xfrm>
            <a:off x="1761067" y="1198443"/>
            <a:ext cx="8669867" cy="4346255"/>
          </a:xfrm>
          <a:custGeom>
            <a:avLst/>
            <a:gdLst>
              <a:gd name="connsiteX0" fmla="*/ 6107487 w 6502400"/>
              <a:gd name="connsiteY0" fmla="*/ 3159716 h 3259691"/>
              <a:gd name="connsiteX1" fmla="*/ 6160585 w 6502400"/>
              <a:gd name="connsiteY1" fmla="*/ 3170436 h 3259691"/>
              <a:gd name="connsiteX2" fmla="*/ 6107488 w 6502400"/>
              <a:gd name="connsiteY2" fmla="*/ 3159716 h 3259691"/>
              <a:gd name="connsiteX3" fmla="*/ 152362 w 6502400"/>
              <a:gd name="connsiteY3" fmla="*/ 2752632 h 3259691"/>
              <a:gd name="connsiteX4" fmla="*/ 140361 w 6502400"/>
              <a:gd name="connsiteY4" fmla="*/ 2760723 h 3259691"/>
              <a:gd name="connsiteX5" fmla="*/ 55105 w 6502400"/>
              <a:gd name="connsiteY5" fmla="*/ 2777935 h 3259691"/>
              <a:gd name="connsiteX6" fmla="*/ 55105 w 6502400"/>
              <a:gd name="connsiteY6" fmla="*/ 2777935 h 3259691"/>
              <a:gd name="connsiteX7" fmla="*/ 99246 w 6502400"/>
              <a:gd name="connsiteY7" fmla="*/ 2773485 h 3259691"/>
              <a:gd name="connsiteX8" fmla="*/ 192667 w 6502400"/>
              <a:gd name="connsiteY8" fmla="*/ 2725457 h 3259691"/>
              <a:gd name="connsiteX9" fmla="*/ 168679 w 6502400"/>
              <a:gd name="connsiteY9" fmla="*/ 2746225 h 3259691"/>
              <a:gd name="connsiteX10" fmla="*/ 152362 w 6502400"/>
              <a:gd name="connsiteY10" fmla="*/ 2752632 h 3259691"/>
              <a:gd name="connsiteX11" fmla="*/ 215354 w 6502400"/>
              <a:gd name="connsiteY11" fmla="*/ 2705816 h 3259691"/>
              <a:gd name="connsiteX12" fmla="*/ 209982 w 6502400"/>
              <a:gd name="connsiteY12" fmla="*/ 2713783 h 3259691"/>
              <a:gd name="connsiteX13" fmla="*/ 192667 w 6502400"/>
              <a:gd name="connsiteY13" fmla="*/ 2725457 h 3259691"/>
              <a:gd name="connsiteX14" fmla="*/ 227647 w 6502400"/>
              <a:gd name="connsiteY14" fmla="*/ 2687582 h 3259691"/>
              <a:gd name="connsiteX15" fmla="*/ 229221 w 6502400"/>
              <a:gd name="connsiteY15" fmla="*/ 2689333 h 3259691"/>
              <a:gd name="connsiteX16" fmla="*/ 224118 w 6502400"/>
              <a:gd name="connsiteY16" fmla="*/ 2698229 h 3259691"/>
              <a:gd name="connsiteX17" fmla="*/ 215354 w 6502400"/>
              <a:gd name="connsiteY17" fmla="*/ 2705816 h 3259691"/>
              <a:gd name="connsiteX18" fmla="*/ 473157 w 6502400"/>
              <a:gd name="connsiteY18" fmla="*/ 0 h 3259691"/>
              <a:gd name="connsiteX19" fmla="*/ 6029243 w 6502400"/>
              <a:gd name="connsiteY19" fmla="*/ 0 h 3259691"/>
              <a:gd name="connsiteX20" fmla="*/ 6502400 w 6502400"/>
              <a:gd name="connsiteY20" fmla="*/ 473157 h 3259691"/>
              <a:gd name="connsiteX21" fmla="*/ 6502400 w 6502400"/>
              <a:gd name="connsiteY21" fmla="*/ 2784153 h 3259691"/>
              <a:gd name="connsiteX22" fmla="*/ 6492787 w 6502400"/>
              <a:gd name="connsiteY22" fmla="*/ 2879511 h 3259691"/>
              <a:gd name="connsiteX23" fmla="*/ 6471027 w 6502400"/>
              <a:gd name="connsiteY23" fmla="*/ 2949612 h 3259691"/>
              <a:gd name="connsiteX24" fmla="*/ 6289795 w 6502400"/>
              <a:gd name="connsiteY24" fmla="*/ 2997917 h 3259691"/>
              <a:gd name="connsiteX25" fmla="*/ 6289716 w 6502400"/>
              <a:gd name="connsiteY25" fmla="*/ 2997951 h 3259691"/>
              <a:gd name="connsiteX26" fmla="*/ 6296998 w 6502400"/>
              <a:gd name="connsiteY26" fmla="*/ 3034023 h 3259691"/>
              <a:gd name="connsiteX27" fmla="*/ 6160585 w 6502400"/>
              <a:gd name="connsiteY27" fmla="*/ 2897610 h 3259691"/>
              <a:gd name="connsiteX28" fmla="*/ 6024172 w 6502400"/>
              <a:gd name="connsiteY28" fmla="*/ 3034023 h 3259691"/>
              <a:gd name="connsiteX29" fmla="*/ 6034892 w 6502400"/>
              <a:gd name="connsiteY29" fmla="*/ 3087121 h 3259691"/>
              <a:gd name="connsiteX30" fmla="*/ 6054023 w 6502400"/>
              <a:gd name="connsiteY30" fmla="*/ 3115496 h 3259691"/>
              <a:gd name="connsiteX31" fmla="*/ 6045354 w 6502400"/>
              <a:gd name="connsiteY31" fmla="*/ 3102639 h 3259691"/>
              <a:gd name="connsiteX32" fmla="*/ 6044375 w 6502400"/>
              <a:gd name="connsiteY32" fmla="*/ 3103058 h 3259691"/>
              <a:gd name="connsiteX33" fmla="*/ 5794026 w 6502400"/>
              <a:gd name="connsiteY33" fmla="*/ 3259691 h 3259691"/>
              <a:gd name="connsiteX34" fmla="*/ 739866 w 6502400"/>
              <a:gd name="connsiteY34" fmla="*/ 3257310 h 3259691"/>
              <a:gd name="connsiteX35" fmla="*/ 229221 w 6502400"/>
              <a:gd name="connsiteY35" fmla="*/ 2689333 h 3259691"/>
              <a:gd name="connsiteX36" fmla="*/ 260843 w 6502400"/>
              <a:gd name="connsiteY36" fmla="*/ 2634216 h 3259691"/>
              <a:gd name="connsiteX37" fmla="*/ 274133 w 6502400"/>
              <a:gd name="connsiteY37" fmla="*/ 2558906 h 3259691"/>
              <a:gd name="connsiteX38" fmla="*/ 55104 w 6502400"/>
              <a:gd name="connsiteY38" fmla="*/ 2339877 h 3259691"/>
              <a:gd name="connsiteX39" fmla="*/ 10962 w 6502400"/>
              <a:gd name="connsiteY39" fmla="*/ 2344327 h 3259691"/>
              <a:gd name="connsiteX40" fmla="*/ 0 w 6502400"/>
              <a:gd name="connsiteY40" fmla="*/ 2347730 h 3259691"/>
              <a:gd name="connsiteX41" fmla="*/ 0 w 6502400"/>
              <a:gd name="connsiteY41" fmla="*/ 473157 h 3259691"/>
              <a:gd name="connsiteX42" fmla="*/ 473157 w 6502400"/>
              <a:gd name="connsiteY42" fmla="*/ 0 h 325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02400" h="3259691">
                <a:moveTo>
                  <a:pt x="6107487" y="3159716"/>
                </a:moveTo>
                <a:lnTo>
                  <a:pt x="6160585" y="3170436"/>
                </a:lnTo>
                <a:cubicBezTo>
                  <a:pt x="6141751" y="3170436"/>
                  <a:pt x="6123808" y="3166619"/>
                  <a:pt x="6107488" y="3159716"/>
                </a:cubicBezTo>
                <a:close/>
                <a:moveTo>
                  <a:pt x="152362" y="2752632"/>
                </a:moveTo>
                <a:lnTo>
                  <a:pt x="140361" y="2760723"/>
                </a:lnTo>
                <a:cubicBezTo>
                  <a:pt x="114157" y="2771806"/>
                  <a:pt x="85347" y="2777935"/>
                  <a:pt x="55105" y="2777935"/>
                </a:cubicBezTo>
                <a:lnTo>
                  <a:pt x="55105" y="2777935"/>
                </a:lnTo>
                <a:lnTo>
                  <a:pt x="99246" y="2773485"/>
                </a:lnTo>
                <a:close/>
                <a:moveTo>
                  <a:pt x="192667" y="2725457"/>
                </a:moveTo>
                <a:lnTo>
                  <a:pt x="168679" y="2746225"/>
                </a:lnTo>
                <a:lnTo>
                  <a:pt x="152362" y="2752632"/>
                </a:lnTo>
                <a:close/>
                <a:moveTo>
                  <a:pt x="215354" y="2705816"/>
                </a:moveTo>
                <a:lnTo>
                  <a:pt x="209982" y="2713783"/>
                </a:lnTo>
                <a:lnTo>
                  <a:pt x="192667" y="2725457"/>
                </a:lnTo>
                <a:close/>
                <a:moveTo>
                  <a:pt x="227647" y="2687582"/>
                </a:moveTo>
                <a:lnTo>
                  <a:pt x="229221" y="2689333"/>
                </a:lnTo>
                <a:lnTo>
                  <a:pt x="224118" y="2698229"/>
                </a:lnTo>
                <a:lnTo>
                  <a:pt x="215354" y="2705816"/>
                </a:lnTo>
                <a:close/>
                <a:moveTo>
                  <a:pt x="473157" y="0"/>
                </a:moveTo>
                <a:lnTo>
                  <a:pt x="6029243" y="0"/>
                </a:lnTo>
                <a:cubicBezTo>
                  <a:pt x="6290560" y="0"/>
                  <a:pt x="6502400" y="211840"/>
                  <a:pt x="6502400" y="473157"/>
                </a:cubicBezTo>
                <a:lnTo>
                  <a:pt x="6502400" y="2784153"/>
                </a:lnTo>
                <a:cubicBezTo>
                  <a:pt x="6502400" y="2816818"/>
                  <a:pt x="6499090" y="2848709"/>
                  <a:pt x="6492787" y="2879511"/>
                </a:cubicBezTo>
                <a:lnTo>
                  <a:pt x="6471027" y="2949612"/>
                </a:lnTo>
                <a:lnTo>
                  <a:pt x="6289795" y="2997917"/>
                </a:lnTo>
                <a:lnTo>
                  <a:pt x="6289716" y="2997951"/>
                </a:lnTo>
                <a:lnTo>
                  <a:pt x="6296998" y="3034023"/>
                </a:lnTo>
                <a:cubicBezTo>
                  <a:pt x="6296998" y="2958684"/>
                  <a:pt x="6235924" y="2897610"/>
                  <a:pt x="6160585" y="2897610"/>
                </a:cubicBezTo>
                <a:cubicBezTo>
                  <a:pt x="6085246" y="2897610"/>
                  <a:pt x="6024172" y="2958684"/>
                  <a:pt x="6024172" y="3034023"/>
                </a:cubicBezTo>
                <a:cubicBezTo>
                  <a:pt x="6024172" y="3052858"/>
                  <a:pt x="6027989" y="3070801"/>
                  <a:pt x="6034892" y="3087121"/>
                </a:cubicBezTo>
                <a:lnTo>
                  <a:pt x="6054023" y="3115496"/>
                </a:lnTo>
                <a:lnTo>
                  <a:pt x="6045354" y="3102639"/>
                </a:lnTo>
                <a:lnTo>
                  <a:pt x="6044375" y="3103058"/>
                </a:lnTo>
                <a:lnTo>
                  <a:pt x="5794026" y="3259691"/>
                </a:lnTo>
                <a:lnTo>
                  <a:pt x="739866" y="3257310"/>
                </a:lnTo>
                <a:lnTo>
                  <a:pt x="229221" y="2689333"/>
                </a:lnTo>
                <a:lnTo>
                  <a:pt x="260843" y="2634216"/>
                </a:lnTo>
                <a:cubicBezTo>
                  <a:pt x="269441" y="2610733"/>
                  <a:pt x="274133" y="2585367"/>
                  <a:pt x="274133" y="2558906"/>
                </a:cubicBezTo>
                <a:cubicBezTo>
                  <a:pt x="274133" y="2437940"/>
                  <a:pt x="176070" y="2339877"/>
                  <a:pt x="55104" y="2339877"/>
                </a:cubicBezTo>
                <a:cubicBezTo>
                  <a:pt x="39984" y="2339877"/>
                  <a:pt x="25221" y="2341409"/>
                  <a:pt x="10962" y="2344327"/>
                </a:cubicBezTo>
                <a:lnTo>
                  <a:pt x="0" y="2347730"/>
                </a:lnTo>
                <a:lnTo>
                  <a:pt x="0" y="473157"/>
                </a:lnTo>
                <a:cubicBezTo>
                  <a:pt x="0" y="211840"/>
                  <a:pt x="211840" y="0"/>
                  <a:pt x="473157"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04" name="Image 103"/>
          <p:cNvPicPr>
            <a:picLocks noChangeAspect="1"/>
          </p:cNvPicPr>
          <p:nvPr userDrawn="1"/>
        </p:nvPicPr>
        <p:blipFill>
          <a:blip r:embed="rId3"/>
          <a:srcRect/>
          <a:stretch>
            <a:fillRect/>
          </a:stretch>
        </p:blipFill>
        <p:spPr>
          <a:xfrm>
            <a:off x="-467455" y="-397260"/>
            <a:ext cx="3194581" cy="3194581"/>
          </a:xfrm>
          <a:custGeom>
            <a:avLst/>
            <a:gdLst>
              <a:gd name="connsiteX0" fmla="*/ 0 w 2395936"/>
              <a:gd name="connsiteY0" fmla="*/ 0 h 2395936"/>
              <a:gd name="connsiteX1" fmla="*/ 2395936 w 2395936"/>
              <a:gd name="connsiteY1" fmla="*/ 0 h 2395936"/>
              <a:gd name="connsiteX2" fmla="*/ 2395936 w 2395936"/>
              <a:gd name="connsiteY2" fmla="*/ 1196777 h 2395936"/>
              <a:gd name="connsiteX3" fmla="*/ 2133017 w 2395936"/>
              <a:gd name="connsiteY3" fmla="*/ 1196777 h 2395936"/>
              <a:gd name="connsiteX4" fmla="*/ 1671391 w 2395936"/>
              <a:gd name="connsiteY4" fmla="*/ 1658403 h 2395936"/>
              <a:gd name="connsiteX5" fmla="*/ 1671391 w 2395936"/>
              <a:gd name="connsiteY5" fmla="*/ 2395936 h 2395936"/>
              <a:gd name="connsiteX6" fmla="*/ 0 w 2395936"/>
              <a:gd name="connsiteY6" fmla="*/ 2395936 h 239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936" h="2395936">
                <a:moveTo>
                  <a:pt x="0" y="0"/>
                </a:moveTo>
                <a:lnTo>
                  <a:pt x="2395936" y="0"/>
                </a:lnTo>
                <a:lnTo>
                  <a:pt x="2395936" y="1196777"/>
                </a:lnTo>
                <a:lnTo>
                  <a:pt x="2133017" y="1196777"/>
                </a:lnTo>
                <a:cubicBezTo>
                  <a:pt x="1878068" y="1196777"/>
                  <a:pt x="1671391" y="1403454"/>
                  <a:pt x="1671391" y="1658403"/>
                </a:cubicBezTo>
                <a:lnTo>
                  <a:pt x="1671391" y="2395936"/>
                </a:lnTo>
                <a:lnTo>
                  <a:pt x="0" y="2395936"/>
                </a:lnTo>
                <a:close/>
              </a:path>
            </a:pathLst>
          </a:custGeom>
        </p:spPr>
      </p:pic>
      <p:grpSp>
        <p:nvGrpSpPr>
          <p:cNvPr id="58" name="Groupe 57"/>
          <p:cNvGrpSpPr/>
          <p:nvPr userDrawn="1"/>
        </p:nvGrpSpPr>
        <p:grpSpPr>
          <a:xfrm>
            <a:off x="-278372" y="4318279"/>
            <a:ext cx="12653659" cy="1237084"/>
            <a:chOff x="-208779" y="3238709"/>
            <a:chExt cx="9490244" cy="927813"/>
          </a:xfrm>
        </p:grpSpPr>
        <p:grpSp>
          <p:nvGrpSpPr>
            <p:cNvPr id="59" name="Groupe 58"/>
            <p:cNvGrpSpPr/>
            <p:nvPr/>
          </p:nvGrpSpPr>
          <p:grpSpPr>
            <a:xfrm>
              <a:off x="-208779" y="3720857"/>
              <a:ext cx="366612" cy="366612"/>
              <a:chOff x="1611689" y="1398034"/>
              <a:chExt cx="2388572" cy="2388572"/>
            </a:xfrm>
          </p:grpSpPr>
          <p:sp>
            <p:nvSpPr>
              <p:cNvPr id="88" name="Ellipse 87"/>
              <p:cNvSpPr/>
              <p:nvPr/>
            </p:nvSpPr>
            <p:spPr>
              <a:xfrm>
                <a:off x="1611689" y="1398034"/>
                <a:ext cx="2388572" cy="238857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9"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90"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1"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2"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3"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4"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0" name="Groupe 59"/>
            <p:cNvGrpSpPr/>
            <p:nvPr/>
          </p:nvGrpSpPr>
          <p:grpSpPr>
            <a:xfrm>
              <a:off x="155575" y="3238709"/>
              <a:ext cx="9125890" cy="830559"/>
              <a:chOff x="155575" y="3238709"/>
              <a:chExt cx="9125890" cy="830559"/>
            </a:xfrm>
          </p:grpSpPr>
          <p:grpSp>
            <p:nvGrpSpPr>
              <p:cNvPr id="62" name="Groupe 61"/>
              <p:cNvGrpSpPr/>
              <p:nvPr/>
            </p:nvGrpSpPr>
            <p:grpSpPr>
              <a:xfrm>
                <a:off x="1156875" y="3238709"/>
                <a:ext cx="438058" cy="438058"/>
                <a:chOff x="1611689" y="1398034"/>
                <a:chExt cx="2388572" cy="2388572"/>
              </a:xfrm>
            </p:grpSpPr>
            <p:sp>
              <p:nvSpPr>
                <p:cNvPr id="81" name="Ellipse 80"/>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2"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83"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4"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5"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6"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7"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3" name="Groupe 62"/>
              <p:cNvGrpSpPr/>
              <p:nvPr/>
            </p:nvGrpSpPr>
            <p:grpSpPr>
              <a:xfrm>
                <a:off x="7344972" y="3796442"/>
                <a:ext cx="272826" cy="272826"/>
                <a:chOff x="1611689" y="1398034"/>
                <a:chExt cx="2388572" cy="2388572"/>
              </a:xfrm>
            </p:grpSpPr>
            <p:sp>
              <p:nvSpPr>
                <p:cNvPr id="74" name="Ellipse 73"/>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75"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76"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7"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8"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9"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0"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4" name="Groupe 63"/>
              <p:cNvGrpSpPr/>
              <p:nvPr/>
            </p:nvGrpSpPr>
            <p:grpSpPr>
              <a:xfrm>
                <a:off x="8850665" y="3296625"/>
                <a:ext cx="430800" cy="430800"/>
                <a:chOff x="1611689" y="1398034"/>
                <a:chExt cx="2388572" cy="2388572"/>
              </a:xfrm>
            </p:grpSpPr>
            <p:sp>
              <p:nvSpPr>
                <p:cNvPr id="67" name="Ellipse 66"/>
                <p:cNvSpPr/>
                <p:nvPr/>
              </p:nvSpPr>
              <p:spPr>
                <a:xfrm>
                  <a:off x="1611689" y="1398034"/>
                  <a:ext cx="2388572" cy="2388572"/>
                </a:xfrm>
                <a:prstGeom prst="ellipse">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68"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69"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0"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1"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2"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3"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cxnSp>
            <p:nvCxnSpPr>
              <p:cNvPr id="65" name="Connecteur droit 64"/>
              <p:cNvCxnSpPr/>
              <p:nvPr/>
            </p:nvCxnSpPr>
            <p:spPr>
              <a:xfrm flipV="1">
                <a:off x="155575" y="3524250"/>
                <a:ext cx="1009650" cy="339727"/>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6" name="Connecteur droit 65"/>
              <p:cNvCxnSpPr/>
              <p:nvPr/>
            </p:nvCxnSpPr>
            <p:spPr>
              <a:xfrm flipH="1">
                <a:off x="7616537" y="3562350"/>
                <a:ext cx="1241713" cy="349225"/>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61" name="Forme libre : forme 60"/>
            <p:cNvSpPr/>
            <p:nvPr/>
          </p:nvSpPr>
          <p:spPr>
            <a:xfrm>
              <a:off x="1549400" y="3588672"/>
              <a:ext cx="5816600" cy="577850"/>
            </a:xfrm>
            <a:custGeom>
              <a:avLst/>
              <a:gdLst>
                <a:gd name="connsiteX0" fmla="*/ 0 w 5816600"/>
                <a:gd name="connsiteY0" fmla="*/ 0 h 577850"/>
                <a:gd name="connsiteX1" fmla="*/ 520700 w 5816600"/>
                <a:gd name="connsiteY1" fmla="*/ 577850 h 577850"/>
                <a:gd name="connsiteX2" fmla="*/ 5556250 w 5816600"/>
                <a:gd name="connsiteY2" fmla="*/ 577850 h 577850"/>
                <a:gd name="connsiteX3" fmla="*/ 5816600 w 5816600"/>
                <a:gd name="connsiteY3" fmla="*/ 425450 h 577850"/>
              </a:gdLst>
              <a:ahLst/>
              <a:cxnLst>
                <a:cxn ang="0">
                  <a:pos x="connsiteX0" y="connsiteY0"/>
                </a:cxn>
                <a:cxn ang="0">
                  <a:pos x="connsiteX1" y="connsiteY1"/>
                </a:cxn>
                <a:cxn ang="0">
                  <a:pos x="connsiteX2" y="connsiteY2"/>
                </a:cxn>
                <a:cxn ang="0">
                  <a:pos x="connsiteX3" y="connsiteY3"/>
                </a:cxn>
              </a:cxnLst>
              <a:rect l="l" t="t" r="r" b="b"/>
              <a:pathLst>
                <a:path w="5816600" h="577850">
                  <a:moveTo>
                    <a:pt x="0" y="0"/>
                  </a:moveTo>
                  <a:lnTo>
                    <a:pt x="520700" y="577850"/>
                  </a:lnTo>
                  <a:lnTo>
                    <a:pt x="5556250" y="577850"/>
                  </a:lnTo>
                  <a:lnTo>
                    <a:pt x="5816600" y="425450"/>
                  </a:lnTo>
                </a:path>
              </a:pathLst>
            </a:cu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grpSp>
      <p:sp>
        <p:nvSpPr>
          <p:cNvPr id="5" name="Espace réservé du texte 4"/>
          <p:cNvSpPr>
            <a:spLocks noGrp="1"/>
          </p:cNvSpPr>
          <p:nvPr>
            <p:ph type="body" sz="quarter" idx="11" hasCustomPrompt="1"/>
          </p:nvPr>
        </p:nvSpPr>
        <p:spPr>
          <a:xfrm>
            <a:off x="2800216" y="5106329"/>
            <a:ext cx="6591600" cy="807879"/>
          </a:xfrm>
          <a:prstGeom prst="roundRect">
            <a:avLst>
              <a:gd name="adj" fmla="val 50000"/>
            </a:avLst>
          </a:prstGeom>
          <a:gradFill>
            <a:gsLst>
              <a:gs pos="53000">
                <a:schemeClr val="tx2">
                  <a:lumMod val="75000"/>
                  <a:lumOff val="25000"/>
                </a:schemeClr>
              </a:gs>
              <a:gs pos="100000">
                <a:schemeClr val="accent1"/>
              </a:gs>
              <a:gs pos="0">
                <a:srgbClr val="4891A0"/>
              </a:gs>
            </a:gsLst>
            <a:path path="circle">
              <a:fillToRect l="100000" t="100000"/>
            </a:path>
          </a:gradFill>
        </p:spPr>
        <p:txBody>
          <a:bodyPr wrap="none" lIns="72000" tIns="0" rIns="72000" bIns="0" anchor="ctr">
            <a:spAutoFit/>
          </a:bodyPr>
          <a:lstStyle>
            <a:lvl1pPr marL="0" indent="0" algn="ctr">
              <a:buNone/>
              <a:defRPr sz="3733" baseline="0">
                <a:solidFill>
                  <a:schemeClr val="bg1"/>
                </a:solidFill>
              </a:defRPr>
            </a:lvl1pPr>
            <a:lvl2pPr marL="133347" indent="0">
              <a:buFont typeface="Arial" panose="020B0604020202020204" pitchFamily="34" charset="0"/>
              <a:buNone/>
              <a:defRPr/>
            </a:lvl2pPr>
            <a:lvl3pPr marL="478355" indent="0">
              <a:buNone/>
              <a:defRPr/>
            </a:lvl3pPr>
            <a:lvl4pPr marL="831830" indent="0">
              <a:buNone/>
              <a:defRPr/>
            </a:lvl4pPr>
            <a:lvl5pPr marL="1195887" indent="0">
              <a:buNone/>
              <a:defRPr/>
            </a:lvl5pPr>
          </a:lstStyle>
          <a:p>
            <a:pPr lvl="0"/>
            <a:r>
              <a:rPr lang="fr-FR"/>
              <a:t>Click pour rajouter du texte</a:t>
            </a:r>
          </a:p>
        </p:txBody>
      </p:sp>
      <p:pic>
        <p:nvPicPr>
          <p:cNvPr id="54" name="Image 6" descr="Log_AXIANS_CRVB.jpg">
            <a:extLst>
              <a:ext uri="{FF2B5EF4-FFF2-40B4-BE49-F238E27FC236}">
                <a16:creationId xmlns:a16="http://schemas.microsoft.com/office/drawing/2014/main" id="{286F3FAE-E456-4F8A-ADE8-FAB0F9239498}"/>
              </a:ext>
            </a:extLst>
          </p:cNvPr>
          <p:cNvPicPr>
            <a:picLocks noChangeAspect="1"/>
          </p:cNvPicPr>
          <p:nvPr userDrawn="1"/>
        </p:nvPicPr>
        <p:blipFill>
          <a:blip r:embed="rId4">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859632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3507643"/>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68"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74639" y="1052513"/>
            <a:ext cx="11704637" cy="580223"/>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1506344"/>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8" y="3035704"/>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68"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77555804"/>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57199" y="1757363"/>
            <a:ext cx="5650637" cy="1968296"/>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394231" y="1757363"/>
            <a:ext cx="5530850" cy="2012346"/>
          </a:xfrm>
        </p:spPr>
        <p:txBody>
          <a:bodyPr/>
          <a:lstStyle>
            <a:lvl1pPr marL="0" indent="0">
              <a:spcBef>
                <a:spcPts val="2400"/>
              </a:spcBef>
              <a:buFont typeface="Arial" panose="020B0604020202020204" pitchFamily="34" charset="0"/>
              <a:buNone/>
              <a:defRPr lang="en-US" sz="3919"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00" kern="1200" spc="0" baseline="0" dirty="0" smtClean="0">
                <a:solidFill>
                  <a:schemeClr val="tx1"/>
                </a:solidFill>
                <a:latin typeface="+mn-lt"/>
                <a:ea typeface="+mn-ea"/>
                <a:cs typeface="+mn-cs"/>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marL="571390" marR="0" lvl="0" indent="-571390" algn="l" defTabSz="914016" rtl="0" eaLnBrk="1" fontAlgn="auto" latinLnBrk="0" hangingPunct="1">
              <a:lnSpc>
                <a:spcPct val="90000"/>
              </a:lnSpc>
              <a:spcBef>
                <a:spcPts val="2400"/>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21740926"/>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80223"/>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15" lvl="0" indent="-336015"/>
            <a:r>
              <a:rPr lang="en-US" dirty="0"/>
              <a:t>Click to edit Master text styles</a:t>
            </a:r>
          </a:p>
        </p:txBody>
      </p:sp>
    </p:spTree>
    <p:extLst>
      <p:ext uri="{BB962C8B-B14F-4D97-AF65-F5344CB8AC3E}">
        <p14:creationId xmlns:p14="http://schemas.microsoft.com/office/powerpoint/2010/main" val="424776126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11704637" cy="1809726"/>
          </a:xfrm>
        </p:spPr>
        <p:txBody>
          <a:bodyPr/>
          <a:lstStyle>
            <a:lvl1pPr marL="0" indent="0">
              <a:buFontTx/>
              <a:buNone/>
              <a:defRPr sz="3600">
                <a:solidFill>
                  <a:srgbClr val="00BCF2"/>
                </a:solidFill>
              </a:defRPr>
            </a:lvl1pPr>
            <a:lvl2pPr marL="0" indent="0">
              <a:spcAft>
                <a:spcPts val="600"/>
              </a:spcAft>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82393068"/>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53990578"/>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258187"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54156818"/>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562101"/>
            <a:ext cx="11653523" cy="2050772"/>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9592666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9935" y="1562100"/>
            <a:ext cx="11653523" cy="2105091"/>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23489599"/>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562100"/>
            <a:ext cx="11653523" cy="2105091"/>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957780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73.xml"/><Relationship Id="rId13" Type="http://schemas.openxmlformats.org/officeDocument/2006/relationships/slideLayout" Target="../slideLayouts/slideLayout178.xml"/><Relationship Id="rId18" Type="http://schemas.openxmlformats.org/officeDocument/2006/relationships/image" Target="../media/image1.emf"/><Relationship Id="rId3" Type="http://schemas.openxmlformats.org/officeDocument/2006/relationships/slideLayout" Target="../slideLayouts/slideLayout168.xml"/><Relationship Id="rId7" Type="http://schemas.openxmlformats.org/officeDocument/2006/relationships/slideLayout" Target="../slideLayouts/slideLayout172.xml"/><Relationship Id="rId12" Type="http://schemas.openxmlformats.org/officeDocument/2006/relationships/slideLayout" Target="../slideLayouts/slideLayout177.xml"/><Relationship Id="rId17" Type="http://schemas.openxmlformats.org/officeDocument/2006/relationships/image" Target="../media/image33.png"/><Relationship Id="rId2" Type="http://schemas.openxmlformats.org/officeDocument/2006/relationships/slideLayout" Target="../slideLayouts/slideLayout167.xml"/><Relationship Id="rId16" Type="http://schemas.openxmlformats.org/officeDocument/2006/relationships/theme" Target="../theme/theme10.xml"/><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slideLayout" Target="../slideLayouts/slideLayout176.xml"/><Relationship Id="rId5" Type="http://schemas.openxmlformats.org/officeDocument/2006/relationships/slideLayout" Target="../slideLayouts/slideLayout170.xml"/><Relationship Id="rId15" Type="http://schemas.openxmlformats.org/officeDocument/2006/relationships/slideLayout" Target="../slideLayouts/slideLayout180.xml"/><Relationship Id="rId10" Type="http://schemas.openxmlformats.org/officeDocument/2006/relationships/slideLayout" Target="../slideLayouts/slideLayout175.xml"/><Relationship Id="rId19" Type="http://schemas.openxmlformats.org/officeDocument/2006/relationships/image" Target="../media/image3.emf"/><Relationship Id="rId4" Type="http://schemas.openxmlformats.org/officeDocument/2006/relationships/slideLayout" Target="../slideLayouts/slideLayout169.xml"/><Relationship Id="rId9" Type="http://schemas.openxmlformats.org/officeDocument/2006/relationships/slideLayout" Target="../slideLayouts/slideLayout174.xml"/><Relationship Id="rId14" Type="http://schemas.openxmlformats.org/officeDocument/2006/relationships/slideLayout" Target="../slideLayouts/slideLayout179.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88.xml"/><Relationship Id="rId13" Type="http://schemas.openxmlformats.org/officeDocument/2006/relationships/slideLayout" Target="../slideLayouts/slideLayout193.xml"/><Relationship Id="rId3" Type="http://schemas.openxmlformats.org/officeDocument/2006/relationships/slideLayout" Target="../slideLayouts/slideLayout183.xml"/><Relationship Id="rId7" Type="http://schemas.openxmlformats.org/officeDocument/2006/relationships/slideLayout" Target="../slideLayouts/slideLayout187.xml"/><Relationship Id="rId12" Type="http://schemas.openxmlformats.org/officeDocument/2006/relationships/slideLayout" Target="../slideLayouts/slideLayout192.xml"/><Relationship Id="rId2" Type="http://schemas.openxmlformats.org/officeDocument/2006/relationships/slideLayout" Target="../slideLayouts/slideLayout182.xml"/><Relationship Id="rId1" Type="http://schemas.openxmlformats.org/officeDocument/2006/relationships/slideLayout" Target="../slideLayouts/slideLayout181.xml"/><Relationship Id="rId6" Type="http://schemas.openxmlformats.org/officeDocument/2006/relationships/slideLayout" Target="../slideLayouts/slideLayout186.xml"/><Relationship Id="rId11" Type="http://schemas.openxmlformats.org/officeDocument/2006/relationships/slideLayout" Target="../slideLayouts/slideLayout191.xml"/><Relationship Id="rId5" Type="http://schemas.openxmlformats.org/officeDocument/2006/relationships/slideLayout" Target="../slideLayouts/slideLayout185.xml"/><Relationship Id="rId10" Type="http://schemas.openxmlformats.org/officeDocument/2006/relationships/slideLayout" Target="../slideLayouts/slideLayout190.xml"/><Relationship Id="rId4" Type="http://schemas.openxmlformats.org/officeDocument/2006/relationships/slideLayout" Target="../slideLayouts/slideLayout184.xml"/><Relationship Id="rId9" Type="http://schemas.openxmlformats.org/officeDocument/2006/relationships/slideLayout" Target="../slideLayouts/slideLayout189.xml"/><Relationship Id="rId14" Type="http://schemas.openxmlformats.org/officeDocument/2006/relationships/theme" Target="../theme/theme1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 Type="http://schemas.openxmlformats.org/officeDocument/2006/relationships/slideLayout" Target="../slideLayouts/slideLayout15.xml"/><Relationship Id="rId21" Type="http://schemas.openxmlformats.org/officeDocument/2006/relationships/theme" Target="../theme/theme2.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image" Target="../media/image2.jpg"/><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image" Target="../media/image10.jpeg"/><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image" Target="file://localhost/Users/Lisa/Documents/Travail/1-%20Dossiers/MARS%202015/Masque%20AXIANS%20-%20Devis%20envoye/puceAxiansHD.png" TargetMode="Externa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image" Target="../media/image9.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theme" Target="../theme/theme3.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image" Target="../media/image3.emf"/><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image" Target="../media/image24.png"/><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76.xml"/><Relationship Id="rId7" Type="http://schemas.openxmlformats.org/officeDocument/2006/relationships/slideLayout" Target="../slideLayouts/slideLayout80.xml"/><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slideLayout" Target="../slideLayouts/slideLayout79.xml"/><Relationship Id="rId5" Type="http://schemas.openxmlformats.org/officeDocument/2006/relationships/slideLayout" Target="../slideLayouts/slideLayout78.xml"/><Relationship Id="rId4" Type="http://schemas.openxmlformats.org/officeDocument/2006/relationships/slideLayout" Target="../slideLayouts/slideLayout77.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83.xml"/><Relationship Id="rId2" Type="http://schemas.openxmlformats.org/officeDocument/2006/relationships/slideLayout" Target="../slideLayouts/slideLayout82.xml"/><Relationship Id="rId1" Type="http://schemas.openxmlformats.org/officeDocument/2006/relationships/slideLayout" Target="../slideLayouts/slideLayout81.xml"/><Relationship Id="rId5" Type="http://schemas.openxmlformats.org/officeDocument/2006/relationships/theme" Target="../theme/theme6.xml"/><Relationship Id="rId4" Type="http://schemas.openxmlformats.org/officeDocument/2006/relationships/slideLayout" Target="../slideLayouts/slideLayout8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slideLayout" Target="../slideLayouts/slideLayout110.xml"/><Relationship Id="rId3" Type="http://schemas.openxmlformats.org/officeDocument/2006/relationships/slideLayout" Target="../slideLayouts/slideLayout87.xml"/><Relationship Id="rId21" Type="http://schemas.openxmlformats.org/officeDocument/2006/relationships/slideLayout" Target="../slideLayouts/slideLayout105.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29" Type="http://schemas.openxmlformats.org/officeDocument/2006/relationships/slideLayout" Target="../slideLayouts/slideLayout113.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28" Type="http://schemas.openxmlformats.org/officeDocument/2006/relationships/slideLayout" Target="../slideLayouts/slideLayout112.x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31" Type="http://schemas.openxmlformats.org/officeDocument/2006/relationships/image" Target="../media/image24.png"/><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slideLayout" Target="../slideLayouts/slideLayout111.xml"/><Relationship Id="rId30"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26" Type="http://schemas.openxmlformats.org/officeDocument/2006/relationships/image" Target="../media/image10.jpeg"/><Relationship Id="rId3" Type="http://schemas.openxmlformats.org/officeDocument/2006/relationships/slideLayout" Target="../slideLayouts/slideLayout116.xml"/><Relationship Id="rId21" Type="http://schemas.openxmlformats.org/officeDocument/2006/relationships/slideLayout" Target="../slideLayouts/slideLayout134.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5" Type="http://schemas.openxmlformats.org/officeDocument/2006/relationships/image" Target="file://localhost/Users/Lisa/Documents/Travail/1-%20Dossiers/MARS%202015/Masque%20AXIANS%20-%20Devis%20envoye/puceAxiansHD.png" TargetMode="Externa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slideLayout" Target="../slideLayouts/slideLayout133.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24" Type="http://schemas.openxmlformats.org/officeDocument/2006/relationships/image" Target="../media/image9.png"/><Relationship Id="rId5" Type="http://schemas.openxmlformats.org/officeDocument/2006/relationships/slideLayout" Target="../slideLayouts/slideLayout118.xml"/><Relationship Id="rId15" Type="http://schemas.openxmlformats.org/officeDocument/2006/relationships/slideLayout" Target="../slideLayouts/slideLayout128.xml"/><Relationship Id="rId23" Type="http://schemas.openxmlformats.org/officeDocument/2006/relationships/theme" Target="../theme/theme8.xml"/><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 Id="rId22" Type="http://schemas.openxmlformats.org/officeDocument/2006/relationships/slideLayout" Target="../slideLayouts/slideLayout135.xml"/><Relationship Id="rId27" Type="http://schemas.openxmlformats.org/officeDocument/2006/relationships/image" Target="../media/image2.jp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26" Type="http://schemas.openxmlformats.org/officeDocument/2006/relationships/slideLayout" Target="../slideLayouts/slideLayout161.xml"/><Relationship Id="rId3" Type="http://schemas.openxmlformats.org/officeDocument/2006/relationships/slideLayout" Target="../slideLayouts/slideLayout138.xml"/><Relationship Id="rId21" Type="http://schemas.openxmlformats.org/officeDocument/2006/relationships/slideLayout" Target="../slideLayouts/slideLayout156.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5" Type="http://schemas.openxmlformats.org/officeDocument/2006/relationships/slideLayout" Target="../slideLayouts/slideLayout160.x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slideLayout" Target="../slideLayouts/slideLayout155.xml"/><Relationship Id="rId29" Type="http://schemas.openxmlformats.org/officeDocument/2006/relationships/slideLayout" Target="../slideLayouts/slideLayout164.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24" Type="http://schemas.openxmlformats.org/officeDocument/2006/relationships/slideLayout" Target="../slideLayouts/slideLayout159.xml"/><Relationship Id="rId32" Type="http://schemas.openxmlformats.org/officeDocument/2006/relationships/image" Target="../media/image24.png"/><Relationship Id="rId5" Type="http://schemas.openxmlformats.org/officeDocument/2006/relationships/slideLayout" Target="../slideLayouts/slideLayout140.xml"/><Relationship Id="rId15" Type="http://schemas.openxmlformats.org/officeDocument/2006/relationships/slideLayout" Target="../slideLayouts/slideLayout150.xml"/><Relationship Id="rId23" Type="http://schemas.openxmlformats.org/officeDocument/2006/relationships/slideLayout" Target="../slideLayouts/slideLayout158.xml"/><Relationship Id="rId28" Type="http://schemas.openxmlformats.org/officeDocument/2006/relationships/slideLayout" Target="../slideLayouts/slideLayout163.xml"/><Relationship Id="rId10" Type="http://schemas.openxmlformats.org/officeDocument/2006/relationships/slideLayout" Target="../slideLayouts/slideLayout145.xml"/><Relationship Id="rId19" Type="http://schemas.openxmlformats.org/officeDocument/2006/relationships/slideLayout" Target="../slideLayouts/slideLayout154.xml"/><Relationship Id="rId31" Type="http://schemas.openxmlformats.org/officeDocument/2006/relationships/theme" Target="../theme/theme9.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slideLayout" Target="../slideLayouts/slideLayout157.xml"/><Relationship Id="rId27" Type="http://schemas.openxmlformats.org/officeDocument/2006/relationships/slideLayout" Target="../slideLayouts/slideLayout162.xml"/><Relationship Id="rId30" Type="http://schemas.openxmlformats.org/officeDocument/2006/relationships/slideLayout" Target="../slideLayouts/slideLayout16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3166" y="1600202"/>
            <a:ext cx="11465668" cy="4325076"/>
          </a:xfrm>
          <a:prstGeom prst="rect">
            <a:avLst/>
          </a:prstGeom>
        </p:spPr>
        <p:txBody>
          <a:bodyPr vert="horz" lIns="0" tIns="45720" rIns="91440" bIns="45720" rtlCol="0">
            <a:noAutofit/>
          </a:body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a:p>
            <a:pPr lvl="4"/>
            <a:r>
              <a:rPr lang="en-GB" err="1"/>
              <a:t>Cinquième</a:t>
            </a:r>
            <a:r>
              <a:rPr lang="en-GB"/>
              <a:t> </a:t>
            </a:r>
            <a:r>
              <a:rPr lang="en-GB" err="1"/>
              <a:t>niveau</a:t>
            </a:r>
            <a:endParaRPr lang="en-GB"/>
          </a:p>
        </p:txBody>
      </p:sp>
      <p:sp>
        <p:nvSpPr>
          <p:cNvPr id="2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2" name="Title Placeholder 1"/>
          <p:cNvSpPr>
            <a:spLocks noGrp="1"/>
          </p:cNvSpPr>
          <p:nvPr>
            <p:ph type="title"/>
          </p:nvPr>
        </p:nvSpPr>
        <p:spPr>
          <a:xfrm>
            <a:off x="363166" y="366185"/>
            <a:ext cx="11465668" cy="470528"/>
          </a:xfrm>
          <a:prstGeom prst="rect">
            <a:avLst/>
          </a:prstGeom>
        </p:spPr>
        <p:txBody>
          <a:bodyPr vert="horz" lIns="91440" tIns="45720" rIns="91440" bIns="45720" rtlCol="0" anchor="ctr">
            <a:normAutofit/>
          </a:bodyPr>
          <a:lstStyle/>
          <a:p>
            <a:r>
              <a:rPr lang="en-GB" err="1"/>
              <a:t>Modifiez</a:t>
            </a:r>
            <a:r>
              <a:rPr lang="en-GB"/>
              <a:t> le style du titre</a:t>
            </a:r>
          </a:p>
        </p:txBody>
      </p:sp>
      <p:pic>
        <p:nvPicPr>
          <p:cNvPr id="9" name="Image 6" descr="Log_AXIANS_CRVB.jpg">
            <a:extLst>
              <a:ext uri="{FF2B5EF4-FFF2-40B4-BE49-F238E27FC236}">
                <a16:creationId xmlns:a16="http://schemas.microsoft.com/office/drawing/2014/main" id="{52BBB6B0-0EA1-43F7-BC1E-4858E398203D}"/>
              </a:ext>
            </a:extLst>
          </p:cNvPr>
          <p:cNvPicPr>
            <a:picLocks noChangeAspect="1"/>
          </p:cNvPicPr>
          <p:nvPr userDrawn="1"/>
        </p:nvPicPr>
        <p:blipFill>
          <a:blip r:embed="rId14">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7483694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1219170" rtl="0" eaLnBrk="1" latinLnBrk="0" hangingPunct="1">
        <a:lnSpc>
          <a:spcPct val="80000"/>
        </a:lnSpc>
        <a:spcBef>
          <a:spcPct val="0"/>
        </a:spcBef>
        <a:buNone/>
        <a:defRPr sz="2933" b="1" kern="1200" cap="all" baseline="0">
          <a:solidFill>
            <a:schemeClr val="tx2"/>
          </a:solidFill>
          <a:latin typeface="+mj-lt"/>
          <a:ea typeface="+mj-ea"/>
          <a:cs typeface="+mj-cs"/>
        </a:defRPr>
      </a:lvl1pPr>
    </p:titleStyle>
    <p:bodyStyle>
      <a:lvl1pPr marL="122764" indent="-122764" algn="l" defTabSz="1219170" rtl="0" eaLnBrk="1" latinLnBrk="0" hangingPunct="1">
        <a:spcBef>
          <a:spcPts val="1600"/>
        </a:spcBef>
        <a:buFont typeface="Calibri" pitchFamily="34" charset="0"/>
        <a:buChar char=" "/>
        <a:defRPr sz="1867" b="1" kern="1200">
          <a:solidFill>
            <a:schemeClr val="accent1"/>
          </a:solidFill>
          <a:latin typeface="+mj-lt"/>
          <a:ea typeface="+mn-ea"/>
          <a:cs typeface="+mn-cs"/>
        </a:defRPr>
      </a:lvl1pPr>
      <a:lvl2pPr marL="374641" indent="-241294" algn="l" defTabSz="1219170" rtl="0" eaLnBrk="1" latinLnBrk="0" hangingPunct="1">
        <a:spcBef>
          <a:spcPts val="800"/>
        </a:spcBef>
        <a:buFontTx/>
        <a:buBlip>
          <a:blip r:embed="rId15"/>
        </a:buBlip>
        <a:defRPr sz="1600" kern="1200">
          <a:solidFill>
            <a:schemeClr val="tx1"/>
          </a:solidFill>
          <a:latin typeface="+mn-lt"/>
          <a:ea typeface="+mn-ea"/>
          <a:cs typeface="+mn-cs"/>
        </a:defRPr>
      </a:lvl2pPr>
      <a:lvl3pPr marL="596885" indent="-118530" algn="l" defTabSz="1219170" rtl="0" eaLnBrk="1" latinLnBrk="0" hangingPunct="1">
        <a:spcBef>
          <a:spcPts val="800"/>
        </a:spcBef>
        <a:buClr>
          <a:schemeClr val="accent2"/>
        </a:buClr>
        <a:buFontTx/>
        <a:buBlip>
          <a:blip r:embed="rId16"/>
        </a:buBlip>
        <a:defRPr sz="1467" kern="1200">
          <a:solidFill>
            <a:schemeClr val="tx1"/>
          </a:solidFill>
          <a:latin typeface="+mn-lt"/>
          <a:ea typeface="+mn-ea"/>
          <a:cs typeface="+mn-cs"/>
        </a:defRPr>
      </a:lvl3pPr>
      <a:lvl4pPr marL="956709" indent="-124881" algn="l" defTabSz="1219170" rtl="0" eaLnBrk="1" latinLnBrk="0" hangingPunct="1">
        <a:spcBef>
          <a:spcPts val="8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1314418" indent="-118530" algn="l" defTabSz="1219170" rtl="0" eaLnBrk="1" latinLnBrk="0" hangingPunct="1">
        <a:spcBef>
          <a:spcPts val="800"/>
        </a:spcBef>
        <a:buClr>
          <a:schemeClr val="accent2"/>
        </a:buClr>
        <a:buSzPct val="80000"/>
        <a:buFont typeface="Arial" pitchFamily="34" charset="0"/>
        <a:buChar char="•"/>
        <a:defRPr sz="1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56">
          <p15:clr>
            <a:srgbClr val="F26B43"/>
          </p15:clr>
        </p15:guide>
        <p15:guide id="2" pos="171">
          <p15:clr>
            <a:srgbClr val="F26B43"/>
          </p15:clr>
        </p15:guide>
        <p15:guide id="3" orient="horz" pos="2801">
          <p15:clr>
            <a:srgbClr val="F26B43"/>
          </p15:clr>
        </p15:guide>
        <p15:guide id="4" pos="5589">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3166" y="1600202"/>
            <a:ext cx="11465668" cy="4325076"/>
          </a:xfrm>
          <a:prstGeom prst="rect">
            <a:avLst/>
          </a:prstGeom>
        </p:spPr>
        <p:txBody>
          <a:bodyPr vert="horz" lIns="0" tIns="45720" rIns="91440" bIns="45720" rtlCol="0">
            <a:noAutofit/>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a:p>
            <a:pPr lvl="4"/>
            <a:r>
              <a:rPr lang="en-GB" dirty="0" err="1"/>
              <a:t>Cinquième</a:t>
            </a:r>
            <a:r>
              <a:rPr lang="en-GB" dirty="0"/>
              <a:t> </a:t>
            </a:r>
            <a:r>
              <a:rPr lang="en-GB" dirty="0" err="1"/>
              <a:t>niveau</a:t>
            </a:r>
            <a:endParaRPr lang="en-GB" dirty="0"/>
          </a:p>
        </p:txBody>
      </p:sp>
      <p:pic>
        <p:nvPicPr>
          <p:cNvPr id="7" name="Image 6"/>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2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Title Placeholder 1"/>
          <p:cNvSpPr>
            <a:spLocks noGrp="1"/>
          </p:cNvSpPr>
          <p:nvPr>
            <p:ph type="title"/>
          </p:nvPr>
        </p:nvSpPr>
        <p:spPr>
          <a:xfrm>
            <a:off x="363166" y="366185"/>
            <a:ext cx="11465668" cy="470528"/>
          </a:xfrm>
          <a:prstGeom prst="rect">
            <a:avLst/>
          </a:prstGeom>
        </p:spPr>
        <p:txBody>
          <a:bodyPr vert="horz" lIns="91440" tIns="45720" rIns="91440" bIns="45720" rtlCol="0" anchor="ctr">
            <a:normAutofit/>
          </a:bodyPr>
          <a:lstStyle/>
          <a:p>
            <a:r>
              <a:rPr lang="en-GB" dirty="0" err="1"/>
              <a:t>Modifiez</a:t>
            </a:r>
            <a:r>
              <a:rPr lang="en-GB" dirty="0"/>
              <a:t> le style du titre</a:t>
            </a:r>
          </a:p>
        </p:txBody>
      </p:sp>
      <p:sp>
        <p:nvSpPr>
          <p:cNvPr id="4" name="Espace réservé du pied de page 3"/>
          <p:cNvSpPr>
            <a:spLocks noGrp="1"/>
          </p:cNvSpPr>
          <p:nvPr>
            <p:ph type="ftr" sz="quarter" idx="3"/>
          </p:nvPr>
        </p:nvSpPr>
        <p:spPr>
          <a:xfrm>
            <a:off x="1826652" y="6356351"/>
            <a:ext cx="4114800" cy="366183"/>
          </a:xfrm>
          <a:prstGeom prst="rect">
            <a:avLst/>
          </a:prstGeom>
        </p:spPr>
        <p:txBody>
          <a:bodyPr vert="horz" lIns="91440" tIns="45720" rIns="91440" bIns="45720" rtlCol="0" anchor="ctr"/>
          <a:lstStyle>
            <a:lvl1pPr algn="l">
              <a:defRPr sz="1067">
                <a:solidFill>
                  <a:schemeClr val="tx1">
                    <a:tint val="75000"/>
                  </a:schemeClr>
                </a:solidFill>
              </a:defRPr>
            </a:lvl1p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4163022073"/>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 id="2147483850" r:id="rId11"/>
    <p:sldLayoutId id="2147483851" r:id="rId12"/>
    <p:sldLayoutId id="2147483852" r:id="rId13"/>
    <p:sldLayoutId id="2147483853" r:id="rId14"/>
    <p:sldLayoutId id="2147483854"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1219170" rtl="0" eaLnBrk="1" latinLnBrk="0" hangingPunct="1">
        <a:lnSpc>
          <a:spcPct val="80000"/>
        </a:lnSpc>
        <a:spcBef>
          <a:spcPct val="0"/>
        </a:spcBef>
        <a:buNone/>
        <a:defRPr sz="2933" b="1" kern="1200" cap="all" baseline="0">
          <a:solidFill>
            <a:schemeClr val="tx2"/>
          </a:solidFill>
          <a:latin typeface="+mj-lt"/>
          <a:ea typeface="+mj-ea"/>
          <a:cs typeface="+mj-cs"/>
        </a:defRPr>
      </a:lvl1pPr>
    </p:titleStyle>
    <p:bodyStyle>
      <a:lvl1pPr marL="122764" indent="-122764" algn="l" defTabSz="1219170" rtl="0" eaLnBrk="1" latinLnBrk="0" hangingPunct="1">
        <a:spcBef>
          <a:spcPts val="1600"/>
        </a:spcBef>
        <a:buFont typeface="Calibri" pitchFamily="34" charset="0"/>
        <a:buChar char=" "/>
        <a:defRPr sz="1867" b="1" kern="1200">
          <a:solidFill>
            <a:schemeClr val="accent1"/>
          </a:solidFill>
          <a:latin typeface="+mj-lt"/>
          <a:ea typeface="+mn-ea"/>
          <a:cs typeface="+mn-cs"/>
        </a:defRPr>
      </a:lvl1pPr>
      <a:lvl2pPr marL="374641" indent="-241294" algn="l" defTabSz="1219170" rtl="0" eaLnBrk="1" latinLnBrk="0" hangingPunct="1">
        <a:spcBef>
          <a:spcPts val="800"/>
        </a:spcBef>
        <a:buFontTx/>
        <a:buBlip>
          <a:blip r:embed="rId18"/>
        </a:buBlip>
        <a:defRPr sz="1600" kern="1200">
          <a:solidFill>
            <a:schemeClr val="tx1"/>
          </a:solidFill>
          <a:latin typeface="+mn-lt"/>
          <a:ea typeface="+mn-ea"/>
          <a:cs typeface="+mn-cs"/>
        </a:defRPr>
      </a:lvl2pPr>
      <a:lvl3pPr marL="596885" indent="-118530" algn="l" defTabSz="1219170" rtl="0" eaLnBrk="1" latinLnBrk="0" hangingPunct="1">
        <a:spcBef>
          <a:spcPts val="800"/>
        </a:spcBef>
        <a:buClr>
          <a:schemeClr val="accent2"/>
        </a:buClr>
        <a:buFontTx/>
        <a:buBlip>
          <a:blip r:embed="rId19"/>
        </a:buBlip>
        <a:defRPr sz="1467" kern="1200">
          <a:solidFill>
            <a:schemeClr val="tx1"/>
          </a:solidFill>
          <a:latin typeface="+mn-lt"/>
          <a:ea typeface="+mn-ea"/>
          <a:cs typeface="+mn-cs"/>
        </a:defRPr>
      </a:lvl3pPr>
      <a:lvl4pPr marL="956709" indent="-124881" algn="l" defTabSz="1219170" rtl="0" eaLnBrk="1" latinLnBrk="0" hangingPunct="1">
        <a:spcBef>
          <a:spcPts val="8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1314418" indent="-118530" algn="l" defTabSz="1219170" rtl="0" eaLnBrk="1" latinLnBrk="0" hangingPunct="1">
        <a:spcBef>
          <a:spcPts val="800"/>
        </a:spcBef>
        <a:buClr>
          <a:schemeClr val="accent2"/>
        </a:buClr>
        <a:buSzPct val="80000"/>
        <a:buFont typeface="Arial" pitchFamily="34" charset="0"/>
        <a:buChar char="•"/>
        <a:defRPr sz="1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56">
          <p15:clr>
            <a:srgbClr val="F26B43"/>
          </p15:clr>
        </p15:guide>
        <p15:guide id="2" pos="171">
          <p15:clr>
            <a:srgbClr val="F26B43"/>
          </p15:clr>
        </p15:guide>
        <p15:guide id="3" orient="horz" pos="2801">
          <p15:clr>
            <a:srgbClr val="F26B43"/>
          </p15:clr>
        </p15:guide>
        <p15:guide id="4" pos="5589">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0"/>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9157705"/>
      </p:ext>
    </p:extLst>
  </p:cSld>
  <p:clrMap bg1="dk1" tx1="lt1" bg2="dk2" tx2="lt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1" r:id="rId6"/>
    <p:sldLayoutId id="2147483862" r:id="rId7"/>
    <p:sldLayoutId id="2147483863" r:id="rId8"/>
    <p:sldLayoutId id="2147483864" r:id="rId9"/>
    <p:sldLayoutId id="2147483865" r:id="rId10"/>
    <p:sldLayoutId id="2147483866" r:id="rId11"/>
    <p:sldLayoutId id="2147483867" r:id="rId12"/>
    <p:sldLayoutId id="2147483868" r:id="rId13"/>
  </p:sldLayoutIdLst>
  <p:txStyles>
    <p:titleStyle>
      <a:lvl1pPr algn="l" defTabSz="914400" rtl="0" eaLnBrk="1" latinLnBrk="0" hangingPunct="1">
        <a:lnSpc>
          <a:spcPct val="90000"/>
        </a:lnSpc>
        <a:spcBef>
          <a:spcPct val="0"/>
        </a:spcBef>
        <a:buNone/>
        <a:defRPr sz="4400" kern="1200">
          <a:solidFill>
            <a:schemeClr val="tx1"/>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43858" y="1513"/>
            <a:ext cx="9936239" cy="1115753"/>
          </a:xfrm>
          <a:prstGeom prst="rect">
            <a:avLst/>
          </a:prstGeom>
        </p:spPr>
        <p:txBody>
          <a:bodyPr vert="horz" lIns="91440" tIns="45720" rIns="91440" bIns="45720" rtlCol="0" anchor="ctr">
            <a:normAutofit/>
          </a:bodyPr>
          <a:lstStyle/>
          <a:p>
            <a:r>
              <a:rPr lang="fr-FR"/>
              <a:t>Cliquez et modifiez le titre</a:t>
            </a:r>
          </a:p>
        </p:txBody>
      </p:sp>
      <p:sp>
        <p:nvSpPr>
          <p:cNvPr id="3" name="Espace réservé du texte 2"/>
          <p:cNvSpPr>
            <a:spLocks noGrp="1"/>
          </p:cNvSpPr>
          <p:nvPr>
            <p:ph type="body" idx="1"/>
          </p:nvPr>
        </p:nvSpPr>
        <p:spPr>
          <a:xfrm>
            <a:off x="345585" y="1620685"/>
            <a:ext cx="11404033" cy="4525963"/>
          </a:xfrm>
          <a:prstGeom prst="rect">
            <a:avLst/>
          </a:prstGeom>
        </p:spPr>
        <p:txBody>
          <a:bodyPr vert="horz" lIns="91440" tIns="45720" rIns="91440" bIns="45720" rtlCol="0">
            <a:normAutofit/>
          </a:bodyPr>
          <a:lstStyle/>
          <a:p>
            <a:pPr marL="353475" lvl="0" indent="-353475" algn="l" defTabSz="609585" rtl="0" eaLnBrk="1" latinLnBrk="0" hangingPunct="1">
              <a:lnSpc>
                <a:spcPct val="90000"/>
              </a:lnSpc>
              <a:spcBef>
                <a:spcPct val="20000"/>
              </a:spcBef>
              <a:buSzPct val="100000"/>
              <a:buFontTx/>
              <a:buBlip>
                <a:blip r:embed="rId22" r:link="rId23"/>
              </a:buBlip>
            </a:pPr>
            <a:r>
              <a:rPr lang="fr-FR"/>
              <a:t>First </a:t>
            </a:r>
            <a:r>
              <a:rPr lang="fr-FR" err="1"/>
              <a:t>level</a:t>
            </a:r>
            <a:r>
              <a:rPr lang="fr-FR"/>
              <a:t> ARIAL size 16 pt</a:t>
            </a:r>
          </a:p>
          <a:p>
            <a:pPr lvl="1"/>
            <a:r>
              <a:rPr lang="fr-FR"/>
              <a:t>Second </a:t>
            </a:r>
            <a:r>
              <a:rPr lang="fr-FR" err="1"/>
              <a:t>level</a:t>
            </a:r>
            <a:r>
              <a:rPr lang="fr-FR"/>
              <a:t> ARIAL size 14 pt</a:t>
            </a:r>
          </a:p>
          <a:p>
            <a:pPr lvl="2"/>
            <a:r>
              <a:rPr lang="fr-FR" err="1"/>
              <a:t>Third</a:t>
            </a:r>
            <a:r>
              <a:rPr lang="fr-FR"/>
              <a:t> </a:t>
            </a:r>
            <a:r>
              <a:rPr lang="fr-FR" err="1"/>
              <a:t>level</a:t>
            </a:r>
            <a:r>
              <a:rPr lang="fr-FR"/>
              <a:t> ARIAL 12 pt</a:t>
            </a:r>
          </a:p>
          <a:p>
            <a:pPr lvl="3"/>
            <a:r>
              <a:rPr lang="fr-FR" err="1"/>
              <a:t>Fourth</a:t>
            </a:r>
            <a:r>
              <a:rPr lang="fr-FR"/>
              <a:t> </a:t>
            </a:r>
            <a:r>
              <a:rPr lang="fr-FR" err="1"/>
              <a:t>level</a:t>
            </a:r>
            <a:r>
              <a:rPr lang="fr-FR"/>
              <a:t> ARIAL size 11 pt</a:t>
            </a:r>
          </a:p>
        </p:txBody>
      </p:sp>
      <p:pic>
        <p:nvPicPr>
          <p:cNvPr id="7" name="Image 6" descr="Log_AXIANS_CRVB.jpg"/>
          <p:cNvPicPr>
            <a:picLocks noChangeAspect="1"/>
          </p:cNvPicPr>
          <p:nvPr userDrawn="1"/>
        </p:nvPicPr>
        <p:blipFill>
          <a:blip r:embed="rId24" cstate="print">
            <a:alphaModFix/>
            <a:extLst>
              <a:ext uri="{28A0092B-C50C-407E-A947-70E740481C1C}">
                <a14:useLocalDpi xmlns:a14="http://schemas.microsoft.com/office/drawing/2010/main"/>
              </a:ext>
            </a:extLst>
          </a:blip>
          <a:stretch>
            <a:fillRect/>
          </a:stretch>
        </p:blipFill>
        <p:spPr>
          <a:xfrm>
            <a:off x="10280096" y="417851"/>
            <a:ext cx="1608776" cy="356307"/>
          </a:xfrm>
          <a:prstGeom prst="rect">
            <a:avLst/>
          </a:prstGeom>
        </p:spPr>
      </p:pic>
      <p:cxnSp>
        <p:nvCxnSpPr>
          <p:cNvPr id="8" name="Connecteur droit 7"/>
          <p:cNvCxnSpPr/>
          <p:nvPr userDrawn="1"/>
        </p:nvCxnSpPr>
        <p:spPr>
          <a:xfrm>
            <a:off x="462208" y="1117265"/>
            <a:ext cx="11267584"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cxnSp>
        <p:nvCxnSpPr>
          <p:cNvPr id="11" name="Connecteur droit 10"/>
          <p:cNvCxnSpPr/>
          <p:nvPr userDrawn="1"/>
        </p:nvCxnSpPr>
        <p:spPr>
          <a:xfrm>
            <a:off x="471314" y="6557611"/>
            <a:ext cx="11258479"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sp>
        <p:nvSpPr>
          <p:cNvPr id="12" name="Espace réservé du numéro de diapositive 5"/>
          <p:cNvSpPr txBox="1">
            <a:spLocks/>
          </p:cNvSpPr>
          <p:nvPr userDrawn="1"/>
        </p:nvSpPr>
        <p:spPr>
          <a:xfrm>
            <a:off x="9834692" y="6581851"/>
            <a:ext cx="2044929" cy="222320"/>
          </a:xfrm>
          <a:prstGeom prst="rect">
            <a:avLst/>
          </a:prstGeom>
        </p:spPr>
        <p:txBody>
          <a:bodyPr vert="horz" lIns="121920" tIns="60960" rIns="121920" bIns="60960" rtlCol="0" anchor="ctr"/>
          <a:lstStyle>
            <a:defPPr>
              <a:defRPr lang="fr-FR"/>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F766ED4-CDF0-3E42-8502-86A56F21CA9C}" type="slidenum">
              <a:rPr lang="fr-FR" sz="1067" smtClean="0">
                <a:latin typeface="Arial"/>
                <a:cs typeface="Arial"/>
              </a:rPr>
              <a:pPr/>
              <a:t>‹#›</a:t>
            </a:fld>
            <a:endParaRPr lang="fr-FR" sz="1067">
              <a:latin typeface="Arial"/>
              <a:cs typeface="Arial"/>
            </a:endParaRPr>
          </a:p>
        </p:txBody>
      </p:sp>
      <p:pic>
        <p:nvPicPr>
          <p:cNvPr id="10" name="Image 9" descr="Log_AXIANS_CRVB.jpg"/>
          <p:cNvPicPr>
            <a:picLocks noChangeAspect="1"/>
          </p:cNvPicPr>
          <p:nvPr userDrawn="1"/>
        </p:nvPicPr>
        <p:blipFill>
          <a:blip r:embed="rId25">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4207913958"/>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5" r:id="rId20"/>
  </p:sldLayoutIdLst>
  <p:hf sldNum="0" hdr="0" dt="0"/>
  <p:txStyles>
    <p:titleStyle>
      <a:lvl1pPr algn="l" defTabSz="609585" rtl="0" eaLnBrk="1" latinLnBrk="0" hangingPunct="1">
        <a:spcBef>
          <a:spcPct val="0"/>
        </a:spcBef>
        <a:buNone/>
        <a:defRPr sz="2667" b="1" kern="1200" cap="all">
          <a:solidFill>
            <a:srgbClr val="005EB8"/>
          </a:solidFill>
          <a:latin typeface="Arial"/>
          <a:ea typeface="+mj-ea"/>
          <a:cs typeface="Arial"/>
        </a:defRPr>
      </a:lvl1pPr>
    </p:titleStyle>
    <p:bodyStyle>
      <a:lvl1pPr marL="353475" indent="-353475" algn="l" defTabSz="609585" rtl="0" eaLnBrk="1" latinLnBrk="0" hangingPunct="1">
        <a:lnSpc>
          <a:spcPct val="80000"/>
        </a:lnSpc>
        <a:spcBef>
          <a:spcPct val="20000"/>
        </a:spcBef>
        <a:buSzPct val="100000"/>
        <a:buFontTx/>
        <a:buBlip>
          <a:blip r:embed="rId22" r:link="rId23"/>
        </a:buBlip>
        <a:defRPr lang="fr-FR" sz="2133" b="0" i="0" kern="1200" baseline="0" dirty="0" smtClean="0">
          <a:solidFill>
            <a:schemeClr val="tx1"/>
          </a:solidFill>
          <a:latin typeface="Arial"/>
          <a:ea typeface="+mn-ea"/>
          <a:cs typeface="Arial"/>
        </a:defRPr>
      </a:lvl1pPr>
      <a:lvl2pPr marL="831830" indent="-239178" algn="l" defTabSz="609585" rtl="0" eaLnBrk="1" latinLnBrk="0" hangingPunct="1">
        <a:lnSpc>
          <a:spcPct val="80000"/>
        </a:lnSpc>
        <a:spcBef>
          <a:spcPct val="20000"/>
        </a:spcBef>
        <a:buSzPct val="79000"/>
        <a:buFont typeface="Arial"/>
        <a:buChar char="•"/>
        <a:defRPr sz="1867" kern="1200">
          <a:solidFill>
            <a:srgbClr val="005EB8"/>
          </a:solidFill>
          <a:latin typeface="Arial"/>
          <a:ea typeface="+mn-ea"/>
          <a:cs typeface="Arial"/>
        </a:defRPr>
      </a:lvl2pPr>
      <a:lvl3pPr marL="1204354" indent="-220128" algn="l" defTabSz="609585" rtl="0" eaLnBrk="1" latinLnBrk="0" hangingPunct="1">
        <a:lnSpc>
          <a:spcPct val="80000"/>
        </a:lnSpc>
        <a:spcBef>
          <a:spcPct val="20000"/>
        </a:spcBef>
        <a:buFont typeface="Arial"/>
        <a:buChar char="•"/>
        <a:defRPr sz="1600" kern="1200">
          <a:solidFill>
            <a:schemeClr val="accent1"/>
          </a:solidFill>
          <a:latin typeface="Arial"/>
          <a:ea typeface="+mn-ea"/>
          <a:cs typeface="Arial"/>
        </a:defRPr>
      </a:lvl3pPr>
      <a:lvl4pPr marL="1549361" indent="-237061" algn="l" defTabSz="609585" rtl="0" eaLnBrk="1" latinLnBrk="0" hangingPunct="1">
        <a:lnSpc>
          <a:spcPct val="80000"/>
        </a:lnSpc>
        <a:spcBef>
          <a:spcPct val="20000"/>
        </a:spcBef>
        <a:buClr>
          <a:schemeClr val="tx2"/>
        </a:buClr>
        <a:buSzPct val="89000"/>
        <a:buFont typeface="Lucida Grande"/>
        <a:buChar char="-"/>
        <a:defRPr sz="1467" kern="1200" baseline="0">
          <a:solidFill>
            <a:srgbClr val="87888A"/>
          </a:solidFill>
          <a:latin typeface="Arial"/>
          <a:ea typeface="+mn-ea"/>
          <a:cs typeface="Arial"/>
        </a:defRPr>
      </a:lvl4pPr>
      <a:lvl5pPr marL="2438339" indent="0" algn="l" defTabSz="609585" rtl="0" eaLnBrk="1" latinLnBrk="0" hangingPunct="1">
        <a:lnSpc>
          <a:spcPct val="80000"/>
        </a:lnSpc>
        <a:spcBef>
          <a:spcPct val="20000"/>
        </a:spcBef>
        <a:buFont typeface="Arial"/>
        <a:buNone/>
        <a:defRPr sz="1600" kern="1200" baseline="0">
          <a:solidFill>
            <a:srgbClr val="B1B3B4"/>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fr-FR"/>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3166" y="1600202"/>
            <a:ext cx="11465668" cy="4325076"/>
          </a:xfrm>
          <a:prstGeom prst="rect">
            <a:avLst/>
          </a:prstGeom>
        </p:spPr>
        <p:txBody>
          <a:bodyPr vert="horz" lIns="0" tIns="45720" rIns="91440" bIns="45720" rtlCol="0">
            <a:noAutofit/>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a:p>
            <a:pPr lvl="4"/>
            <a:r>
              <a:rPr lang="en-GB" dirty="0" err="1"/>
              <a:t>Cinquième</a:t>
            </a:r>
            <a:r>
              <a:rPr lang="en-GB" dirty="0"/>
              <a:t> </a:t>
            </a:r>
            <a:r>
              <a:rPr lang="en-GB" dirty="0" err="1"/>
              <a:t>niveau</a:t>
            </a:r>
            <a:endParaRPr lang="en-GB" dirty="0"/>
          </a:p>
        </p:txBody>
      </p:sp>
      <p:sp>
        <p:nvSpPr>
          <p:cNvPr id="2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Title Placeholder 1"/>
          <p:cNvSpPr>
            <a:spLocks noGrp="1"/>
          </p:cNvSpPr>
          <p:nvPr>
            <p:ph type="title"/>
          </p:nvPr>
        </p:nvSpPr>
        <p:spPr>
          <a:xfrm>
            <a:off x="363166" y="366185"/>
            <a:ext cx="11465668" cy="470528"/>
          </a:xfrm>
          <a:prstGeom prst="rect">
            <a:avLst/>
          </a:prstGeom>
        </p:spPr>
        <p:txBody>
          <a:bodyPr vert="horz" lIns="91440" tIns="45720" rIns="91440" bIns="45720" rtlCol="0" anchor="ctr">
            <a:normAutofit/>
          </a:bodyPr>
          <a:lstStyle/>
          <a:p>
            <a:r>
              <a:rPr lang="en-GB" dirty="0" err="1"/>
              <a:t>Modifiez</a:t>
            </a:r>
            <a:r>
              <a:rPr lang="en-GB" dirty="0"/>
              <a:t> le style du titre</a:t>
            </a:r>
          </a:p>
        </p:txBody>
      </p:sp>
      <p:sp>
        <p:nvSpPr>
          <p:cNvPr id="4" name="Espace réservé du pied de page 3"/>
          <p:cNvSpPr>
            <a:spLocks noGrp="1"/>
          </p:cNvSpPr>
          <p:nvPr>
            <p:ph type="ftr" sz="quarter" idx="3"/>
          </p:nvPr>
        </p:nvSpPr>
        <p:spPr>
          <a:xfrm>
            <a:off x="1826652" y="6356351"/>
            <a:ext cx="4114800" cy="366183"/>
          </a:xfrm>
          <a:prstGeom prst="rect">
            <a:avLst/>
          </a:prstGeom>
        </p:spPr>
        <p:txBody>
          <a:bodyPr vert="horz" lIns="91440" tIns="45720" rIns="91440" bIns="45720" rtlCol="0" anchor="ctr"/>
          <a:lstStyle>
            <a:lvl1pPr algn="l">
              <a:defRPr sz="1067">
                <a:solidFill>
                  <a:schemeClr val="tx1">
                    <a:tint val="75000"/>
                  </a:schemeClr>
                </a:solidFill>
              </a:defRPr>
            </a:lvl1p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50628967"/>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1219170" rtl="0" eaLnBrk="1" latinLnBrk="0" hangingPunct="1">
        <a:lnSpc>
          <a:spcPct val="80000"/>
        </a:lnSpc>
        <a:spcBef>
          <a:spcPct val="0"/>
        </a:spcBef>
        <a:buNone/>
        <a:defRPr sz="2933" b="1" kern="1200" cap="all" baseline="0">
          <a:solidFill>
            <a:schemeClr val="tx2"/>
          </a:solidFill>
          <a:latin typeface="+mj-lt"/>
          <a:ea typeface="+mj-ea"/>
          <a:cs typeface="+mj-cs"/>
        </a:defRPr>
      </a:lvl1pPr>
    </p:titleStyle>
    <p:bodyStyle>
      <a:lvl1pPr marL="122764" indent="-122764" algn="l" defTabSz="1219170" rtl="0" eaLnBrk="1" latinLnBrk="0" hangingPunct="1">
        <a:spcBef>
          <a:spcPts val="1600"/>
        </a:spcBef>
        <a:buFont typeface="Calibri" pitchFamily="34" charset="0"/>
        <a:buChar char=" "/>
        <a:defRPr sz="1867" b="1" kern="1200">
          <a:solidFill>
            <a:schemeClr val="accent1"/>
          </a:solidFill>
          <a:latin typeface="+mj-lt"/>
          <a:ea typeface="+mn-ea"/>
          <a:cs typeface="+mn-cs"/>
        </a:defRPr>
      </a:lvl1pPr>
      <a:lvl2pPr marL="374641" indent="-241294" algn="l" defTabSz="1219170" rtl="0" eaLnBrk="1" latinLnBrk="0" hangingPunct="1">
        <a:spcBef>
          <a:spcPts val="800"/>
        </a:spcBef>
        <a:buFontTx/>
        <a:buBlip>
          <a:blip r:embed="rId14"/>
        </a:buBlip>
        <a:defRPr sz="1600" kern="1200">
          <a:solidFill>
            <a:schemeClr val="tx1"/>
          </a:solidFill>
          <a:latin typeface="+mn-lt"/>
          <a:ea typeface="+mn-ea"/>
          <a:cs typeface="+mn-cs"/>
        </a:defRPr>
      </a:lvl2pPr>
      <a:lvl3pPr marL="596885" indent="-118530" algn="l" defTabSz="1219170" rtl="0" eaLnBrk="1" latinLnBrk="0" hangingPunct="1">
        <a:spcBef>
          <a:spcPts val="800"/>
        </a:spcBef>
        <a:buClr>
          <a:schemeClr val="accent2"/>
        </a:buClr>
        <a:buFontTx/>
        <a:buBlip>
          <a:blip r:embed="rId15"/>
        </a:buBlip>
        <a:defRPr sz="1467" kern="1200">
          <a:solidFill>
            <a:schemeClr val="tx1"/>
          </a:solidFill>
          <a:latin typeface="+mn-lt"/>
          <a:ea typeface="+mn-ea"/>
          <a:cs typeface="+mn-cs"/>
        </a:defRPr>
      </a:lvl3pPr>
      <a:lvl4pPr marL="956709" indent="-124881" algn="l" defTabSz="1219170" rtl="0" eaLnBrk="1" latinLnBrk="0" hangingPunct="1">
        <a:spcBef>
          <a:spcPts val="8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1314418" indent="-118530" algn="l" defTabSz="1219170" rtl="0" eaLnBrk="1" latinLnBrk="0" hangingPunct="1">
        <a:spcBef>
          <a:spcPts val="800"/>
        </a:spcBef>
        <a:buClr>
          <a:schemeClr val="accent2"/>
        </a:buClr>
        <a:buSzPct val="80000"/>
        <a:buFont typeface="Arial" pitchFamily="34" charset="0"/>
        <a:buChar char="•"/>
        <a:defRPr sz="1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56">
          <p15:clr>
            <a:srgbClr val="F26B43"/>
          </p15:clr>
        </p15:guide>
        <p15:guide id="2" pos="171">
          <p15:clr>
            <a:srgbClr val="F26B43"/>
          </p15:clr>
        </p15:guide>
        <p15:guide id="3" orient="horz" pos="2801">
          <p15:clr>
            <a:srgbClr val="F26B43"/>
          </p15:clr>
        </p15:guide>
        <p15:guide id="4" pos="558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5" y="1554939"/>
            <a:ext cx="11653521" cy="218145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1"/>
          <a:stretch>
            <a:fillRect/>
          </a:stretch>
        </p:blipFill>
        <p:spPr>
          <a:xfrm rot="5400000">
            <a:off x="9208750" y="2991036"/>
            <a:ext cx="6858623" cy="876557"/>
          </a:xfrm>
          <a:prstGeom prst="rect">
            <a:avLst/>
          </a:prstGeom>
        </p:spPr>
      </p:pic>
    </p:spTree>
    <p:extLst>
      <p:ext uri="{BB962C8B-B14F-4D97-AF65-F5344CB8AC3E}">
        <p14:creationId xmlns:p14="http://schemas.microsoft.com/office/powerpoint/2010/main" val="2006807858"/>
      </p:ext>
    </p:extLst>
  </p:cSld>
  <p:clrMap bg1="dk1" tx1="lt1" bg2="dk2" tx2="lt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0" r:id="rId21"/>
    <p:sldLayoutId id="2147483731" r:id="rId22"/>
    <p:sldLayoutId id="2147483732" r:id="rId23"/>
    <p:sldLayoutId id="2147483733" r:id="rId24"/>
    <p:sldLayoutId id="2147483734" r:id="rId25"/>
    <p:sldLayoutId id="2147483735" r:id="rId26"/>
    <p:sldLayoutId id="2147483736" r:id="rId27"/>
    <p:sldLayoutId id="2147483737" r:id="rId28"/>
    <p:sldLayoutId id="2147483738" r:id="rId29"/>
  </p:sldLayoutIdLst>
  <p:transition>
    <p:fade/>
  </p:transition>
  <p:txStyles>
    <p:titleStyle>
      <a:lvl1pPr algn="l" defTabSz="913993"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06" marR="0" indent="-336006" algn="l" defTabSz="913993" rtl="0" eaLnBrk="1" fontAlgn="auto" latinLnBrk="0" hangingPunct="1">
        <a:lnSpc>
          <a:spcPct val="90000"/>
        </a:lnSpc>
        <a:spcBef>
          <a:spcPts val="18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56" marR="0" indent="-236449" algn="l" defTabSz="913993" rtl="0" eaLnBrk="1" fontAlgn="auto" latinLnBrk="0" hangingPunct="1">
        <a:lnSpc>
          <a:spcPct val="90000"/>
        </a:lnSpc>
        <a:spcBef>
          <a:spcPts val="365"/>
        </a:spcBef>
        <a:spcAft>
          <a:spcPts val="60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16" marR="0" indent="-224005" algn="l" defTabSz="913993"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21" marR="0" indent="-224005" algn="l" defTabSz="913993"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28" marR="0" indent="-224005" algn="l" defTabSz="913993"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480"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478"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476"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472"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993" rtl="0" eaLnBrk="1" latinLnBrk="0" hangingPunct="1">
        <a:defRPr sz="1765" kern="1200">
          <a:solidFill>
            <a:schemeClr val="tx1"/>
          </a:solidFill>
          <a:latin typeface="+mn-lt"/>
          <a:ea typeface="+mn-ea"/>
          <a:cs typeface="+mn-cs"/>
        </a:defRPr>
      </a:lvl1pPr>
      <a:lvl2pPr marL="456995" algn="l" defTabSz="913993" rtl="0" eaLnBrk="1" latinLnBrk="0" hangingPunct="1">
        <a:defRPr sz="1765" kern="1200">
          <a:solidFill>
            <a:schemeClr val="tx1"/>
          </a:solidFill>
          <a:latin typeface="+mn-lt"/>
          <a:ea typeface="+mn-ea"/>
          <a:cs typeface="+mn-cs"/>
        </a:defRPr>
      </a:lvl2pPr>
      <a:lvl3pPr marL="913993" algn="l" defTabSz="913993" rtl="0" eaLnBrk="1" latinLnBrk="0" hangingPunct="1">
        <a:defRPr sz="1765" kern="1200">
          <a:solidFill>
            <a:schemeClr val="tx1"/>
          </a:solidFill>
          <a:latin typeface="+mn-lt"/>
          <a:ea typeface="+mn-ea"/>
          <a:cs typeface="+mn-cs"/>
        </a:defRPr>
      </a:lvl3pPr>
      <a:lvl4pPr marL="1370990" algn="l" defTabSz="913993" rtl="0" eaLnBrk="1" latinLnBrk="0" hangingPunct="1">
        <a:defRPr sz="1765" kern="1200">
          <a:solidFill>
            <a:schemeClr val="tx1"/>
          </a:solidFill>
          <a:latin typeface="+mn-lt"/>
          <a:ea typeface="+mn-ea"/>
          <a:cs typeface="+mn-cs"/>
        </a:defRPr>
      </a:lvl4pPr>
      <a:lvl5pPr marL="1827986" algn="l" defTabSz="913993" rtl="0" eaLnBrk="1" latinLnBrk="0" hangingPunct="1">
        <a:defRPr sz="1765" kern="1200">
          <a:solidFill>
            <a:schemeClr val="tx1"/>
          </a:solidFill>
          <a:latin typeface="+mn-lt"/>
          <a:ea typeface="+mn-ea"/>
          <a:cs typeface="+mn-cs"/>
        </a:defRPr>
      </a:lvl5pPr>
      <a:lvl6pPr marL="2284983" algn="l" defTabSz="913993" rtl="0" eaLnBrk="1" latinLnBrk="0" hangingPunct="1">
        <a:defRPr sz="1765" kern="1200">
          <a:solidFill>
            <a:schemeClr val="tx1"/>
          </a:solidFill>
          <a:latin typeface="+mn-lt"/>
          <a:ea typeface="+mn-ea"/>
          <a:cs typeface="+mn-cs"/>
        </a:defRPr>
      </a:lvl6pPr>
      <a:lvl7pPr marL="2741979" algn="l" defTabSz="913993" rtl="0" eaLnBrk="1" latinLnBrk="0" hangingPunct="1">
        <a:defRPr sz="1765" kern="1200">
          <a:solidFill>
            <a:schemeClr val="tx1"/>
          </a:solidFill>
          <a:latin typeface="+mn-lt"/>
          <a:ea typeface="+mn-ea"/>
          <a:cs typeface="+mn-cs"/>
        </a:defRPr>
      </a:lvl7pPr>
      <a:lvl8pPr marL="3198975" algn="l" defTabSz="913993" rtl="0" eaLnBrk="1" latinLnBrk="0" hangingPunct="1">
        <a:defRPr sz="1765" kern="1200">
          <a:solidFill>
            <a:schemeClr val="tx1"/>
          </a:solidFill>
          <a:latin typeface="+mn-lt"/>
          <a:ea typeface="+mn-ea"/>
          <a:cs typeface="+mn-cs"/>
        </a:defRPr>
      </a:lvl8pPr>
      <a:lvl9pPr marL="3655974" algn="l" defTabSz="9139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sv-SE" dirty="0"/>
              <a:t>Klicka här för att ändra format</a:t>
            </a:r>
          </a:p>
        </p:txBody>
      </p:sp>
      <p:sp>
        <p:nvSpPr>
          <p:cNvPr id="3" name="Platshållare för tex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A15A317-E1FD-4430-9064-36E69D31F355}" type="datetimeFigureOut">
              <a:rPr lang="sv-SE" smtClean="0"/>
              <a:t>2019-05-02</a:t>
            </a:fld>
            <a:endParaRPr lang="sv-SE"/>
          </a:p>
        </p:txBody>
      </p:sp>
      <p:sp>
        <p:nvSpPr>
          <p:cNvPr id="5" name="Platshållare för sidfo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7223857-EF42-49B7-B1AE-BFF52E589DE0}" type="slidenum">
              <a:rPr lang="sv-SE" smtClean="0"/>
              <a:t>‹#›</a:t>
            </a:fld>
            <a:endParaRPr lang="sv-SE"/>
          </a:p>
        </p:txBody>
      </p:sp>
      <p:sp>
        <p:nvSpPr>
          <p:cNvPr id="8" name="Rektangel 7"/>
          <p:cNvSpPr/>
          <p:nvPr userDrawn="1"/>
        </p:nvSpPr>
        <p:spPr>
          <a:xfrm>
            <a:off x="0" y="0"/>
            <a:ext cx="12192000" cy="6858000"/>
          </a:xfrm>
          <a:prstGeom prst="rect">
            <a:avLst/>
          </a:prstGeom>
          <a:solidFill>
            <a:srgbClr val="00188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465141543"/>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Lst>
  <p:txStyles>
    <p:titleStyle>
      <a:lvl1pPr algn="l" defTabSz="914400" rtl="0" eaLnBrk="1" latinLnBrk="0" hangingPunct="1">
        <a:lnSpc>
          <a:spcPct val="90000"/>
        </a:lnSpc>
        <a:spcBef>
          <a:spcPct val="0"/>
        </a:spcBef>
        <a:buNone/>
        <a:defRPr sz="4400" kern="1200">
          <a:solidFill>
            <a:schemeClr val="bg1"/>
          </a:solidFill>
          <a:latin typeface="Segoe UI Light" panose="020B05020402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Segoe UI Light" panose="020B05020402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Segoe UI Light" panose="020B05020402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Segoe UI Light" panose="020B05020402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Light" panose="020B05020402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Light" panose="020B05020402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Platshållare fö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bg1"/>
                </a:solidFill>
              </a:defRPr>
            </a:lvl1pPr>
          </a:lstStyle>
          <a:p>
            <a:fld id="{026EB9C9-4BCB-46E5-B3B3-09AD3677738B}" type="datetimeFigureOut">
              <a:rPr lang="sv-SE" smtClean="0"/>
              <a:pPr/>
              <a:t>2019-05-02</a:t>
            </a:fld>
            <a:endParaRPr lang="sv-SE" dirty="0"/>
          </a:p>
        </p:txBody>
      </p:sp>
      <p:sp>
        <p:nvSpPr>
          <p:cNvPr id="5" name="Platshållare för sidfo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B240767-FD45-408F-98F7-E57F15A24E3D}" type="slidenum">
              <a:rPr lang="sv-SE" smtClean="0"/>
              <a:t>‹#›</a:t>
            </a:fld>
            <a:endParaRPr lang="sv-SE"/>
          </a:p>
        </p:txBody>
      </p:sp>
    </p:spTree>
    <p:extLst>
      <p:ext uri="{BB962C8B-B14F-4D97-AF65-F5344CB8AC3E}">
        <p14:creationId xmlns:p14="http://schemas.microsoft.com/office/powerpoint/2010/main" val="3259010722"/>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869" r:id="rId4"/>
  </p:sldLayoutIdLst>
  <p:txStyles>
    <p:titleStyle>
      <a:lvl1pPr algn="l" defTabSz="914400" rtl="0" eaLnBrk="1" latinLnBrk="0" hangingPunct="1">
        <a:lnSpc>
          <a:spcPct val="90000"/>
        </a:lnSpc>
        <a:spcBef>
          <a:spcPct val="0"/>
        </a:spcBef>
        <a:buNone/>
        <a:defRPr sz="4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554938"/>
            <a:ext cx="11653521" cy="2111027"/>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1"/>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1298292334"/>
      </p:ext>
    </p:extLst>
  </p:cSld>
  <p:clrMap bg1="dk1" tx1="lt1" bg2="dk2" tx2="lt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1" r:id="rId19"/>
    <p:sldLayoutId id="2147483772" r:id="rId20"/>
    <p:sldLayoutId id="2147483773" r:id="rId21"/>
    <p:sldLayoutId id="2147483774" r:id="rId22"/>
    <p:sldLayoutId id="2147483775" r:id="rId23"/>
    <p:sldLayoutId id="2147483776" r:id="rId24"/>
    <p:sldLayoutId id="2147483777" r:id="rId25"/>
    <p:sldLayoutId id="2147483778" r:id="rId26"/>
    <p:sldLayoutId id="2147483779" r:id="rId27"/>
    <p:sldLayoutId id="2147483780" r:id="rId28"/>
    <p:sldLayoutId id="2147483781" r:id="rId2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ts val="18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ts val="365"/>
        </a:spcBef>
        <a:spcAft>
          <a:spcPts val="60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43858" y="1513"/>
            <a:ext cx="9936239" cy="1115753"/>
          </a:xfrm>
          <a:prstGeom prst="rect">
            <a:avLst/>
          </a:prstGeom>
        </p:spPr>
        <p:txBody>
          <a:bodyPr vert="horz" lIns="91440" tIns="45720" rIns="91440" bIns="45720" rtlCol="0" anchor="ctr">
            <a:normAutofit/>
          </a:bodyPr>
          <a:lstStyle/>
          <a:p>
            <a:r>
              <a:rPr lang="fr-FR" dirty="0"/>
              <a:t>Cliquez et modifiez le titre</a:t>
            </a:r>
          </a:p>
        </p:txBody>
      </p:sp>
      <p:sp>
        <p:nvSpPr>
          <p:cNvPr id="3" name="Espace réservé du texte 2"/>
          <p:cNvSpPr>
            <a:spLocks noGrp="1"/>
          </p:cNvSpPr>
          <p:nvPr>
            <p:ph type="body" idx="1"/>
          </p:nvPr>
        </p:nvSpPr>
        <p:spPr>
          <a:xfrm>
            <a:off x="345585" y="1620685"/>
            <a:ext cx="11404033" cy="4525963"/>
          </a:xfrm>
          <a:prstGeom prst="rect">
            <a:avLst/>
          </a:prstGeom>
        </p:spPr>
        <p:txBody>
          <a:bodyPr vert="horz" lIns="91440" tIns="45720" rIns="91440" bIns="45720" rtlCol="0">
            <a:normAutofit/>
          </a:bodyPr>
          <a:lstStyle/>
          <a:p>
            <a:pPr marL="353475" lvl="0" indent="-353475" algn="l" defTabSz="609585" rtl="0" eaLnBrk="1" latinLnBrk="0" hangingPunct="1">
              <a:lnSpc>
                <a:spcPct val="90000"/>
              </a:lnSpc>
              <a:spcBef>
                <a:spcPct val="20000"/>
              </a:spcBef>
              <a:buSzPct val="100000"/>
              <a:buFontTx/>
              <a:buBlip>
                <a:blip r:embed="rId24" r:link="rId25"/>
              </a:buBlip>
            </a:pPr>
            <a:r>
              <a:rPr lang="fr-FR" dirty="0"/>
              <a:t>First </a:t>
            </a:r>
            <a:r>
              <a:rPr lang="fr-FR" dirty="0" err="1"/>
              <a:t>level</a:t>
            </a:r>
            <a:r>
              <a:rPr lang="fr-FR" dirty="0"/>
              <a:t> ARIAL size 16 pt</a:t>
            </a:r>
          </a:p>
          <a:p>
            <a:pPr lvl="1"/>
            <a:r>
              <a:rPr lang="fr-FR" dirty="0"/>
              <a:t>Second </a:t>
            </a:r>
            <a:r>
              <a:rPr lang="fr-FR" dirty="0" err="1"/>
              <a:t>level</a:t>
            </a:r>
            <a:r>
              <a:rPr lang="fr-FR" dirty="0"/>
              <a:t> ARIAL size 14 pt</a:t>
            </a:r>
          </a:p>
          <a:p>
            <a:pPr lvl="2"/>
            <a:r>
              <a:rPr lang="fr-FR" dirty="0" err="1"/>
              <a:t>Third</a:t>
            </a:r>
            <a:r>
              <a:rPr lang="fr-FR" dirty="0"/>
              <a:t> </a:t>
            </a:r>
            <a:r>
              <a:rPr lang="fr-FR" dirty="0" err="1"/>
              <a:t>level</a:t>
            </a:r>
            <a:r>
              <a:rPr lang="fr-FR" dirty="0"/>
              <a:t> ARIAL 12 pt</a:t>
            </a:r>
          </a:p>
          <a:p>
            <a:pPr lvl="3"/>
            <a:r>
              <a:rPr lang="fr-FR" dirty="0" err="1"/>
              <a:t>Fourth</a:t>
            </a:r>
            <a:r>
              <a:rPr lang="fr-FR" dirty="0"/>
              <a:t> </a:t>
            </a:r>
            <a:r>
              <a:rPr lang="fr-FR" dirty="0" err="1"/>
              <a:t>level</a:t>
            </a:r>
            <a:r>
              <a:rPr lang="fr-FR" dirty="0"/>
              <a:t> ARIAL size 11 pt</a:t>
            </a:r>
          </a:p>
        </p:txBody>
      </p:sp>
      <p:pic>
        <p:nvPicPr>
          <p:cNvPr id="7" name="Image 6" descr="Log_AXIANS_CRVB.jpg"/>
          <p:cNvPicPr>
            <a:picLocks noChangeAspect="1"/>
          </p:cNvPicPr>
          <p:nvPr userDrawn="1"/>
        </p:nvPicPr>
        <p:blipFill>
          <a:blip r:embed="rId26" cstate="print">
            <a:alphaModFix/>
            <a:extLst>
              <a:ext uri="{28A0092B-C50C-407E-A947-70E740481C1C}">
                <a14:useLocalDpi xmlns:a14="http://schemas.microsoft.com/office/drawing/2010/main"/>
              </a:ext>
            </a:extLst>
          </a:blip>
          <a:stretch>
            <a:fillRect/>
          </a:stretch>
        </p:blipFill>
        <p:spPr>
          <a:xfrm>
            <a:off x="10280096" y="417851"/>
            <a:ext cx="1608776" cy="356307"/>
          </a:xfrm>
          <a:prstGeom prst="rect">
            <a:avLst/>
          </a:prstGeom>
        </p:spPr>
      </p:pic>
      <p:cxnSp>
        <p:nvCxnSpPr>
          <p:cNvPr id="8" name="Connecteur droit 7"/>
          <p:cNvCxnSpPr/>
          <p:nvPr userDrawn="1"/>
        </p:nvCxnSpPr>
        <p:spPr>
          <a:xfrm>
            <a:off x="462208" y="1117265"/>
            <a:ext cx="11267584"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cxnSp>
        <p:nvCxnSpPr>
          <p:cNvPr id="11" name="Connecteur droit 10"/>
          <p:cNvCxnSpPr/>
          <p:nvPr userDrawn="1"/>
        </p:nvCxnSpPr>
        <p:spPr>
          <a:xfrm>
            <a:off x="471314" y="6557611"/>
            <a:ext cx="11258479"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sp>
        <p:nvSpPr>
          <p:cNvPr id="12" name="Espace réservé du numéro de diapositive 5"/>
          <p:cNvSpPr txBox="1">
            <a:spLocks/>
          </p:cNvSpPr>
          <p:nvPr userDrawn="1"/>
        </p:nvSpPr>
        <p:spPr>
          <a:xfrm>
            <a:off x="9834692" y="6581851"/>
            <a:ext cx="2044929" cy="222320"/>
          </a:xfrm>
          <a:prstGeom prst="rect">
            <a:avLst/>
          </a:prstGeom>
        </p:spPr>
        <p:txBody>
          <a:bodyPr vert="horz" lIns="121920" tIns="60960" rIns="121920" bIns="60960" rtlCol="0" anchor="ctr"/>
          <a:lstStyle>
            <a:defPPr>
              <a:defRPr lang="fr-FR"/>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F766ED4-CDF0-3E42-8502-86A56F21CA9C}" type="slidenum">
              <a:rPr lang="fr-FR" sz="1067" smtClean="0">
                <a:latin typeface="Arial"/>
                <a:cs typeface="Arial"/>
              </a:rPr>
              <a:pPr/>
              <a:t>‹#›</a:t>
            </a:fld>
            <a:endParaRPr lang="fr-FR" sz="1067" dirty="0">
              <a:latin typeface="Arial"/>
              <a:cs typeface="Arial"/>
            </a:endParaRPr>
          </a:p>
        </p:txBody>
      </p:sp>
      <p:pic>
        <p:nvPicPr>
          <p:cNvPr id="10" name="Image 9" descr="Log_AXIANS_CRVB.jpg"/>
          <p:cNvPicPr>
            <a:picLocks noChangeAspect="1"/>
          </p:cNvPicPr>
          <p:nvPr userDrawn="1"/>
        </p:nvPicPr>
        <p:blipFill>
          <a:blip r:embed="rId27">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700458611"/>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 id="2147483794" r:id="rId12"/>
    <p:sldLayoutId id="2147483795" r:id="rId13"/>
    <p:sldLayoutId id="2147483796" r:id="rId14"/>
    <p:sldLayoutId id="2147483797" r:id="rId15"/>
    <p:sldLayoutId id="2147483798" r:id="rId16"/>
    <p:sldLayoutId id="2147483799" r:id="rId17"/>
    <p:sldLayoutId id="2147483800" r:id="rId18"/>
    <p:sldLayoutId id="2147483801" r:id="rId19"/>
    <p:sldLayoutId id="2147483802" r:id="rId20"/>
    <p:sldLayoutId id="2147483803" r:id="rId21"/>
    <p:sldLayoutId id="2147483805" r:id="rId22"/>
  </p:sldLayoutIdLst>
  <p:hf sldNum="0" hdr="0" dt="0"/>
  <p:txStyles>
    <p:titleStyle>
      <a:lvl1pPr algn="l" defTabSz="609585" rtl="0" eaLnBrk="1" latinLnBrk="0" hangingPunct="1">
        <a:spcBef>
          <a:spcPct val="0"/>
        </a:spcBef>
        <a:buNone/>
        <a:defRPr sz="2667" b="1" kern="1200" cap="all">
          <a:solidFill>
            <a:srgbClr val="005EB8"/>
          </a:solidFill>
          <a:latin typeface="Arial"/>
          <a:ea typeface="+mj-ea"/>
          <a:cs typeface="Arial"/>
        </a:defRPr>
      </a:lvl1pPr>
    </p:titleStyle>
    <p:bodyStyle>
      <a:lvl1pPr marL="353475" indent="-353475" algn="l" defTabSz="609585" rtl="0" eaLnBrk="1" latinLnBrk="0" hangingPunct="1">
        <a:lnSpc>
          <a:spcPct val="80000"/>
        </a:lnSpc>
        <a:spcBef>
          <a:spcPct val="20000"/>
        </a:spcBef>
        <a:buSzPct val="100000"/>
        <a:buFontTx/>
        <a:buBlip>
          <a:blip r:embed="rId24" r:link="rId25"/>
        </a:buBlip>
        <a:defRPr lang="fr-FR" sz="2133" b="0" i="0" kern="1200" baseline="0" dirty="0" smtClean="0">
          <a:solidFill>
            <a:schemeClr val="tx1"/>
          </a:solidFill>
          <a:latin typeface="Arial"/>
          <a:ea typeface="+mn-ea"/>
          <a:cs typeface="Arial"/>
        </a:defRPr>
      </a:lvl1pPr>
      <a:lvl2pPr marL="831830" indent="-239178" algn="l" defTabSz="609585" rtl="0" eaLnBrk="1" latinLnBrk="0" hangingPunct="1">
        <a:lnSpc>
          <a:spcPct val="80000"/>
        </a:lnSpc>
        <a:spcBef>
          <a:spcPct val="20000"/>
        </a:spcBef>
        <a:buSzPct val="79000"/>
        <a:buFont typeface="Arial"/>
        <a:buChar char="•"/>
        <a:defRPr sz="1867" kern="1200">
          <a:solidFill>
            <a:srgbClr val="005EB8"/>
          </a:solidFill>
          <a:latin typeface="Arial"/>
          <a:ea typeface="+mn-ea"/>
          <a:cs typeface="Arial"/>
        </a:defRPr>
      </a:lvl2pPr>
      <a:lvl3pPr marL="1204354" indent="-220128" algn="l" defTabSz="609585" rtl="0" eaLnBrk="1" latinLnBrk="0" hangingPunct="1">
        <a:lnSpc>
          <a:spcPct val="80000"/>
        </a:lnSpc>
        <a:spcBef>
          <a:spcPct val="20000"/>
        </a:spcBef>
        <a:buFont typeface="Arial"/>
        <a:buChar char="•"/>
        <a:defRPr sz="1600" kern="1200">
          <a:solidFill>
            <a:schemeClr val="accent1"/>
          </a:solidFill>
          <a:latin typeface="Arial"/>
          <a:ea typeface="+mn-ea"/>
          <a:cs typeface="Arial"/>
        </a:defRPr>
      </a:lvl3pPr>
      <a:lvl4pPr marL="1549361" indent="-237061" algn="l" defTabSz="609585" rtl="0" eaLnBrk="1" latinLnBrk="0" hangingPunct="1">
        <a:lnSpc>
          <a:spcPct val="80000"/>
        </a:lnSpc>
        <a:spcBef>
          <a:spcPct val="20000"/>
        </a:spcBef>
        <a:buClr>
          <a:schemeClr val="tx2"/>
        </a:buClr>
        <a:buSzPct val="89000"/>
        <a:buFont typeface="Lucida Grande"/>
        <a:buChar char="-"/>
        <a:defRPr sz="1467" kern="1200" baseline="0">
          <a:solidFill>
            <a:srgbClr val="87888A"/>
          </a:solidFill>
          <a:latin typeface="Arial"/>
          <a:ea typeface="+mn-ea"/>
          <a:cs typeface="Arial"/>
        </a:defRPr>
      </a:lvl4pPr>
      <a:lvl5pPr marL="2438339" indent="0" algn="l" defTabSz="609585" rtl="0" eaLnBrk="1" latinLnBrk="0" hangingPunct="1">
        <a:lnSpc>
          <a:spcPct val="80000"/>
        </a:lnSpc>
        <a:spcBef>
          <a:spcPct val="20000"/>
        </a:spcBef>
        <a:buFont typeface="Arial"/>
        <a:buNone/>
        <a:defRPr sz="1600" kern="1200" baseline="0">
          <a:solidFill>
            <a:srgbClr val="B1B3B4"/>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fr-FR"/>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554938"/>
            <a:ext cx="11653521" cy="2111027"/>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2"/>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444210768"/>
      </p:ext>
    </p:extLst>
  </p:cSld>
  <p:clrMap bg1="dk1" tx1="lt1" bg2="dk2" tx2="lt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8" r:id="rId12"/>
    <p:sldLayoutId id="2147483819" r:id="rId13"/>
    <p:sldLayoutId id="2147483820" r:id="rId14"/>
    <p:sldLayoutId id="2147483821" r:id="rId15"/>
    <p:sldLayoutId id="2147483822" r:id="rId16"/>
    <p:sldLayoutId id="2147483823" r:id="rId17"/>
    <p:sldLayoutId id="2147483824" r:id="rId18"/>
    <p:sldLayoutId id="2147483825" r:id="rId19"/>
    <p:sldLayoutId id="2147483826" r:id="rId20"/>
    <p:sldLayoutId id="2147483828" r:id="rId21"/>
    <p:sldLayoutId id="2147483829" r:id="rId22"/>
    <p:sldLayoutId id="2147483830" r:id="rId23"/>
    <p:sldLayoutId id="2147483831" r:id="rId24"/>
    <p:sldLayoutId id="2147483832" r:id="rId25"/>
    <p:sldLayoutId id="2147483833" r:id="rId26"/>
    <p:sldLayoutId id="2147483834" r:id="rId27"/>
    <p:sldLayoutId id="2147483835" r:id="rId28"/>
    <p:sldLayoutId id="2147483836" r:id="rId29"/>
    <p:sldLayoutId id="2147483838" r:id="rId30"/>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ts val="18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ts val="365"/>
        </a:spcBef>
        <a:spcAft>
          <a:spcPts val="60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8" Type="http://schemas.openxmlformats.org/officeDocument/2006/relationships/image" Target="../media/image80.png"/><Relationship Id="rId13" Type="http://schemas.openxmlformats.org/officeDocument/2006/relationships/image" Target="../media/image85.png"/><Relationship Id="rId18" Type="http://schemas.openxmlformats.org/officeDocument/2006/relationships/image" Target="../media/image90.png"/><Relationship Id="rId26" Type="http://schemas.openxmlformats.org/officeDocument/2006/relationships/image" Target="../media/image98.png"/><Relationship Id="rId3" Type="http://schemas.microsoft.com/office/2007/relationships/hdphoto" Target="../media/hdphoto1.wdp"/><Relationship Id="rId21" Type="http://schemas.openxmlformats.org/officeDocument/2006/relationships/image" Target="../media/image93.png"/><Relationship Id="rId7" Type="http://schemas.openxmlformats.org/officeDocument/2006/relationships/image" Target="../media/image79.png"/><Relationship Id="rId12" Type="http://schemas.openxmlformats.org/officeDocument/2006/relationships/image" Target="../media/image84.png"/><Relationship Id="rId17" Type="http://schemas.openxmlformats.org/officeDocument/2006/relationships/image" Target="../media/image89.png"/><Relationship Id="rId25" Type="http://schemas.openxmlformats.org/officeDocument/2006/relationships/image" Target="../media/image97.png"/><Relationship Id="rId2" Type="http://schemas.openxmlformats.org/officeDocument/2006/relationships/image" Target="../media/image76.png"/><Relationship Id="rId16" Type="http://schemas.openxmlformats.org/officeDocument/2006/relationships/image" Target="../media/image88.png"/><Relationship Id="rId20" Type="http://schemas.openxmlformats.org/officeDocument/2006/relationships/image" Target="../media/image92.png"/><Relationship Id="rId29" Type="http://schemas.openxmlformats.org/officeDocument/2006/relationships/image" Target="../media/image101.png"/><Relationship Id="rId1" Type="http://schemas.openxmlformats.org/officeDocument/2006/relationships/slideLayout" Target="../slideLayouts/slideLayout105.xml"/><Relationship Id="rId6" Type="http://schemas.openxmlformats.org/officeDocument/2006/relationships/image" Target="../media/image78.png"/><Relationship Id="rId11" Type="http://schemas.openxmlformats.org/officeDocument/2006/relationships/image" Target="../media/image83.png"/><Relationship Id="rId24" Type="http://schemas.openxmlformats.org/officeDocument/2006/relationships/image" Target="../media/image96.svg"/><Relationship Id="rId32" Type="http://schemas.openxmlformats.org/officeDocument/2006/relationships/image" Target="../media/image104.png"/><Relationship Id="rId5" Type="http://schemas.openxmlformats.org/officeDocument/2006/relationships/image" Target="../media/image77.png"/><Relationship Id="rId15" Type="http://schemas.openxmlformats.org/officeDocument/2006/relationships/image" Target="../media/image87.png"/><Relationship Id="rId23" Type="http://schemas.openxmlformats.org/officeDocument/2006/relationships/image" Target="../media/image95.png"/><Relationship Id="rId28" Type="http://schemas.openxmlformats.org/officeDocument/2006/relationships/image" Target="../media/image100.png"/><Relationship Id="rId10" Type="http://schemas.openxmlformats.org/officeDocument/2006/relationships/image" Target="../media/image82.png"/><Relationship Id="rId19" Type="http://schemas.openxmlformats.org/officeDocument/2006/relationships/image" Target="../media/image91.png"/><Relationship Id="rId31" Type="http://schemas.openxmlformats.org/officeDocument/2006/relationships/image" Target="../media/image103.png"/><Relationship Id="rId4" Type="http://schemas.openxmlformats.org/officeDocument/2006/relationships/image" Target="../media/image75.png"/><Relationship Id="rId9" Type="http://schemas.openxmlformats.org/officeDocument/2006/relationships/image" Target="../media/image81.png"/><Relationship Id="rId14" Type="http://schemas.openxmlformats.org/officeDocument/2006/relationships/image" Target="../media/image86.png"/><Relationship Id="rId22" Type="http://schemas.openxmlformats.org/officeDocument/2006/relationships/image" Target="../media/image94.png"/><Relationship Id="rId27" Type="http://schemas.openxmlformats.org/officeDocument/2006/relationships/image" Target="../media/image99.svg"/><Relationship Id="rId30" Type="http://schemas.openxmlformats.org/officeDocument/2006/relationships/image" Target="../media/image102.png"/></Relationships>
</file>

<file path=ppt/slides/_rels/slide1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6.png"/><Relationship Id="rId1" Type="http://schemas.openxmlformats.org/officeDocument/2006/relationships/slideLayout" Target="../slideLayouts/slideLayout105.xml"/><Relationship Id="rId5" Type="http://schemas.openxmlformats.org/officeDocument/2006/relationships/image" Target="../media/image77.png"/><Relationship Id="rId4" Type="http://schemas.openxmlformats.org/officeDocument/2006/relationships/image" Target="../media/image75.png"/></Relationships>
</file>

<file path=ppt/slides/_rels/slide12.xml.rels><?xml version="1.0" encoding="UTF-8" standalone="yes"?>
<Relationships xmlns="http://schemas.openxmlformats.org/package/2006/relationships"><Relationship Id="rId8" Type="http://schemas.openxmlformats.org/officeDocument/2006/relationships/image" Target="../media/image107.png"/><Relationship Id="rId13" Type="http://schemas.openxmlformats.org/officeDocument/2006/relationships/image" Target="../media/image111.png"/><Relationship Id="rId18" Type="http://schemas.openxmlformats.org/officeDocument/2006/relationships/image" Target="../media/image86.png"/><Relationship Id="rId26" Type="http://schemas.openxmlformats.org/officeDocument/2006/relationships/image" Target="../media/image94.png"/><Relationship Id="rId3" Type="http://schemas.microsoft.com/office/2007/relationships/hdphoto" Target="../media/hdphoto1.wdp"/><Relationship Id="rId21" Type="http://schemas.openxmlformats.org/officeDocument/2006/relationships/image" Target="../media/image89.png"/><Relationship Id="rId7" Type="http://schemas.openxmlformats.org/officeDocument/2006/relationships/image" Target="../media/image106.png"/><Relationship Id="rId12" Type="http://schemas.openxmlformats.org/officeDocument/2006/relationships/image" Target="../media/image110.png"/><Relationship Id="rId17" Type="http://schemas.openxmlformats.org/officeDocument/2006/relationships/image" Target="../media/image85.png"/><Relationship Id="rId25" Type="http://schemas.openxmlformats.org/officeDocument/2006/relationships/image" Target="../media/image93.png"/><Relationship Id="rId2" Type="http://schemas.openxmlformats.org/officeDocument/2006/relationships/image" Target="../media/image76.png"/><Relationship Id="rId16" Type="http://schemas.openxmlformats.org/officeDocument/2006/relationships/image" Target="../media/image84.png"/><Relationship Id="rId20" Type="http://schemas.openxmlformats.org/officeDocument/2006/relationships/image" Target="../media/image88.png"/><Relationship Id="rId1" Type="http://schemas.openxmlformats.org/officeDocument/2006/relationships/slideLayout" Target="../slideLayouts/slideLayout105.xml"/><Relationship Id="rId6" Type="http://schemas.openxmlformats.org/officeDocument/2006/relationships/image" Target="../media/image105.png"/><Relationship Id="rId11" Type="http://schemas.openxmlformats.org/officeDocument/2006/relationships/image" Target="../media/image109.png"/><Relationship Id="rId24" Type="http://schemas.openxmlformats.org/officeDocument/2006/relationships/image" Target="../media/image92.png"/><Relationship Id="rId5" Type="http://schemas.openxmlformats.org/officeDocument/2006/relationships/image" Target="../media/image77.png"/><Relationship Id="rId15" Type="http://schemas.openxmlformats.org/officeDocument/2006/relationships/image" Target="../media/image113.png"/><Relationship Id="rId23" Type="http://schemas.openxmlformats.org/officeDocument/2006/relationships/image" Target="../media/image91.png"/><Relationship Id="rId10" Type="http://schemas.openxmlformats.org/officeDocument/2006/relationships/image" Target="../media/image108.png"/><Relationship Id="rId19" Type="http://schemas.openxmlformats.org/officeDocument/2006/relationships/image" Target="../media/image87.png"/><Relationship Id="rId4" Type="http://schemas.openxmlformats.org/officeDocument/2006/relationships/image" Target="../media/image75.png"/><Relationship Id="rId9" Type="http://schemas.openxmlformats.org/officeDocument/2006/relationships/image" Target="../media/image83.png"/><Relationship Id="rId14" Type="http://schemas.openxmlformats.org/officeDocument/2006/relationships/image" Target="../media/image112.png"/><Relationship Id="rId22" Type="http://schemas.openxmlformats.org/officeDocument/2006/relationships/image" Target="../media/image90.png"/><Relationship Id="rId27" Type="http://schemas.openxmlformats.org/officeDocument/2006/relationships/image" Target="../media/image114.png"/></Relationships>
</file>

<file path=ppt/slides/_rels/slide13.xml.rels><?xml version="1.0" encoding="UTF-8" standalone="yes"?>
<Relationships xmlns="http://schemas.openxmlformats.org/package/2006/relationships"><Relationship Id="rId8" Type="http://schemas.openxmlformats.org/officeDocument/2006/relationships/image" Target="../media/image117.jpeg"/><Relationship Id="rId3" Type="http://schemas.microsoft.com/office/2007/relationships/hdphoto" Target="../media/hdphoto1.wdp"/><Relationship Id="rId7" Type="http://schemas.openxmlformats.org/officeDocument/2006/relationships/image" Target="../media/image116.jpeg"/><Relationship Id="rId2" Type="http://schemas.openxmlformats.org/officeDocument/2006/relationships/image" Target="../media/image76.png"/><Relationship Id="rId1" Type="http://schemas.openxmlformats.org/officeDocument/2006/relationships/slideLayout" Target="../slideLayouts/slideLayout105.xml"/><Relationship Id="rId6" Type="http://schemas.openxmlformats.org/officeDocument/2006/relationships/image" Target="../media/image115.jpeg"/><Relationship Id="rId5" Type="http://schemas.openxmlformats.org/officeDocument/2006/relationships/image" Target="../media/image77.png"/><Relationship Id="rId4" Type="http://schemas.openxmlformats.org/officeDocument/2006/relationships/image" Target="../media/image75.png"/></Relationships>
</file>

<file path=ppt/slides/_rels/slide14.xml.rels><?xml version="1.0" encoding="UTF-8" standalone="yes"?>
<Relationships xmlns="http://schemas.openxmlformats.org/package/2006/relationships"><Relationship Id="rId2" Type="http://schemas.openxmlformats.org/officeDocument/2006/relationships/image" Target="../media/image118.jpg"/><Relationship Id="rId1" Type="http://schemas.openxmlformats.org/officeDocument/2006/relationships/slideLayout" Target="../slideLayouts/slideLayout135.xml"/></Relationships>
</file>

<file path=ppt/slides/_rels/slide15.xml.rels><?xml version="1.0" encoding="UTF-8" standalone="yes"?>
<Relationships xmlns="http://schemas.openxmlformats.org/package/2006/relationships"><Relationship Id="rId3" Type="http://schemas.openxmlformats.org/officeDocument/2006/relationships/image" Target="../media/image43.png"/><Relationship Id="rId7" Type="http://schemas.openxmlformats.org/officeDocument/2006/relationships/image" Target="../media/image122.png"/><Relationship Id="rId2" Type="http://schemas.openxmlformats.org/officeDocument/2006/relationships/notesSlide" Target="../notesSlides/notesSlide4.xml"/><Relationship Id="rId1" Type="http://schemas.openxmlformats.org/officeDocument/2006/relationships/slideLayout" Target="../slideLayouts/slideLayout40.xml"/><Relationship Id="rId6" Type="http://schemas.openxmlformats.org/officeDocument/2006/relationships/image" Target="../media/image121.png"/><Relationship Id="rId5" Type="http://schemas.openxmlformats.org/officeDocument/2006/relationships/image" Target="../media/image120.png"/><Relationship Id="rId4" Type="http://schemas.openxmlformats.org/officeDocument/2006/relationships/image" Target="../media/image119.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7.xml.rels><?xml version="1.0" encoding="UTF-8" standalone="yes"?>
<Relationships xmlns="http://schemas.openxmlformats.org/package/2006/relationships"><Relationship Id="rId2" Type="http://schemas.openxmlformats.org/officeDocument/2006/relationships/image" Target="../media/image123.jpg"/><Relationship Id="rId1" Type="http://schemas.openxmlformats.org/officeDocument/2006/relationships/slideLayout" Target="../slideLayouts/slideLayout176.xml"/></Relationships>
</file>

<file path=ppt/slides/_rels/slide18.xml.rels><?xml version="1.0" encoding="UTF-8" standalone="yes"?>
<Relationships xmlns="http://schemas.openxmlformats.org/package/2006/relationships"><Relationship Id="rId2" Type="http://schemas.openxmlformats.org/officeDocument/2006/relationships/image" Target="../media/image124.jpeg"/><Relationship Id="rId1" Type="http://schemas.openxmlformats.org/officeDocument/2006/relationships/slideLayout" Target="../slideLayouts/slideLayout176.xml"/></Relationships>
</file>

<file path=ppt/slides/_rels/slide19.xml.rels><?xml version="1.0" encoding="UTF-8" standalone="yes"?>
<Relationships xmlns="http://schemas.openxmlformats.org/package/2006/relationships"><Relationship Id="rId2" Type="http://schemas.openxmlformats.org/officeDocument/2006/relationships/image" Target="../media/image125.jpeg"/><Relationship Id="rId1" Type="http://schemas.openxmlformats.org/officeDocument/2006/relationships/slideLayout" Target="../slideLayouts/slideLayout176.xml"/></Relationships>
</file>

<file path=ppt/slides/_rels/slide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8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82.xml"/></Relationships>
</file>

<file path=ppt/slides/_rels/slide2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88.xml"/></Relationships>
</file>

<file path=ppt/slides/_rels/slide2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88.xml"/></Relationships>
</file>

<file path=ppt/slides/_rels/slide2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88.xml"/></Relationships>
</file>

<file path=ppt/slides/_rels/slide2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88.xml"/></Relationships>
</file>

<file path=ppt/slides/_rels/slide2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88.xml"/></Relationships>
</file>

<file path=ppt/slides/_rels/slide2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88.xml"/></Relationships>
</file>

<file path=ppt/slides/_rels/slide2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88.xml"/></Relationships>
</file>

<file path=ppt/slides/_rels/slide2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88.xml"/></Relationships>
</file>

<file path=ppt/slides/_rels/slide29.xml.rels><?xml version="1.0" encoding="UTF-8" standalone="yes"?>
<Relationships xmlns="http://schemas.openxmlformats.org/package/2006/relationships"><Relationship Id="rId8" Type="http://schemas.openxmlformats.org/officeDocument/2006/relationships/image" Target="../media/image131.png"/><Relationship Id="rId3" Type="http://schemas.openxmlformats.org/officeDocument/2006/relationships/image" Target="../media/image126.png"/><Relationship Id="rId7" Type="http://schemas.openxmlformats.org/officeDocument/2006/relationships/image" Target="../media/image130.png"/><Relationship Id="rId2" Type="http://schemas.openxmlformats.org/officeDocument/2006/relationships/image" Target="../media/image35.png"/><Relationship Id="rId1" Type="http://schemas.openxmlformats.org/officeDocument/2006/relationships/slideLayout" Target="../slideLayouts/slideLayout182.xml"/><Relationship Id="rId6" Type="http://schemas.openxmlformats.org/officeDocument/2006/relationships/image" Target="../media/image129.png"/><Relationship Id="rId5" Type="http://schemas.openxmlformats.org/officeDocument/2006/relationships/image" Target="../media/image128.png"/><Relationship Id="rId4" Type="http://schemas.openxmlformats.org/officeDocument/2006/relationships/image" Target="../media/image127.png"/></Relationships>
</file>

<file path=ppt/slides/_rels/slide3.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35.png"/><Relationship Id="rId2" Type="http://schemas.openxmlformats.org/officeDocument/2006/relationships/image" Target="../media/image36.png"/><Relationship Id="rId1" Type="http://schemas.openxmlformats.org/officeDocument/2006/relationships/slideLayout" Target="../slideLayouts/slideLayout182.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30.xml.rels><?xml version="1.0" encoding="UTF-8" standalone="yes"?>
<Relationships xmlns="http://schemas.openxmlformats.org/package/2006/relationships"><Relationship Id="rId8" Type="http://schemas.openxmlformats.org/officeDocument/2006/relationships/image" Target="../media/image128.png"/><Relationship Id="rId3" Type="http://schemas.openxmlformats.org/officeDocument/2006/relationships/image" Target="../media/image133.png"/><Relationship Id="rId7" Type="http://schemas.openxmlformats.org/officeDocument/2006/relationships/image" Target="../media/image127.png"/><Relationship Id="rId2" Type="http://schemas.openxmlformats.org/officeDocument/2006/relationships/image" Target="../media/image132.png"/><Relationship Id="rId1" Type="http://schemas.openxmlformats.org/officeDocument/2006/relationships/slideLayout" Target="../slideLayouts/slideLayout182.xml"/><Relationship Id="rId6" Type="http://schemas.openxmlformats.org/officeDocument/2006/relationships/image" Target="../media/image126.png"/><Relationship Id="rId11" Type="http://schemas.openxmlformats.org/officeDocument/2006/relationships/image" Target="../media/image131.png"/><Relationship Id="rId5" Type="http://schemas.openxmlformats.org/officeDocument/2006/relationships/image" Target="../media/image35.png"/><Relationship Id="rId10" Type="http://schemas.openxmlformats.org/officeDocument/2006/relationships/image" Target="../media/image130.png"/><Relationship Id="rId4" Type="http://schemas.openxmlformats.org/officeDocument/2006/relationships/image" Target="../media/image134.png"/><Relationship Id="rId9" Type="http://schemas.openxmlformats.org/officeDocument/2006/relationships/image" Target="../media/image129.png"/></Relationships>
</file>

<file path=ppt/slides/_rels/slide31.xml.rels><?xml version="1.0" encoding="UTF-8" standalone="yes"?>
<Relationships xmlns="http://schemas.openxmlformats.org/package/2006/relationships"><Relationship Id="rId8" Type="http://schemas.openxmlformats.org/officeDocument/2006/relationships/image" Target="../media/image133.png"/><Relationship Id="rId3" Type="http://schemas.openxmlformats.org/officeDocument/2006/relationships/image" Target="../media/image35.png"/><Relationship Id="rId7" Type="http://schemas.openxmlformats.org/officeDocument/2006/relationships/image" Target="../media/image129.png"/><Relationship Id="rId2" Type="http://schemas.openxmlformats.org/officeDocument/2006/relationships/image" Target="../media/image132.png"/><Relationship Id="rId1" Type="http://schemas.openxmlformats.org/officeDocument/2006/relationships/slideLayout" Target="../slideLayouts/slideLayout182.xml"/><Relationship Id="rId6" Type="http://schemas.openxmlformats.org/officeDocument/2006/relationships/image" Target="../media/image128.png"/><Relationship Id="rId5" Type="http://schemas.openxmlformats.org/officeDocument/2006/relationships/image" Target="../media/image127.png"/><Relationship Id="rId4" Type="http://schemas.openxmlformats.org/officeDocument/2006/relationships/image" Target="../media/image126.png"/><Relationship Id="rId9" Type="http://schemas.openxmlformats.org/officeDocument/2006/relationships/image" Target="../media/image134.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82.xml"/></Relationships>
</file>

<file path=ppt/slides/_rels/slide33.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82.xml"/></Relationships>
</file>

<file path=ppt/slides/_rels/slide34.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82.xml"/></Relationships>
</file>

<file path=ppt/slides/_rels/slide35.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image" Target="../media/image90.png"/><Relationship Id="rId1" Type="http://schemas.openxmlformats.org/officeDocument/2006/relationships/slideLayout" Target="../slideLayouts/slideLayout82.xml"/><Relationship Id="rId4" Type="http://schemas.openxmlformats.org/officeDocument/2006/relationships/image" Target="../media/image136.png"/></Relationships>
</file>

<file path=ppt/slides/_rels/slide36.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Layout" Target="../slideLayouts/slideLayout8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38.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image" Target="../media/image138.png"/><Relationship Id="rId1" Type="http://schemas.openxmlformats.org/officeDocument/2006/relationships/slideLayout" Target="../slideLayouts/slideLayout82.xml"/><Relationship Id="rId6" Type="http://schemas.openxmlformats.org/officeDocument/2006/relationships/image" Target="../media/image142.png"/><Relationship Id="rId5" Type="http://schemas.openxmlformats.org/officeDocument/2006/relationships/image" Target="../media/image141.png"/><Relationship Id="rId4" Type="http://schemas.openxmlformats.org/officeDocument/2006/relationships/image" Target="../media/image140.png"/></Relationships>
</file>

<file path=ppt/slides/_rels/slide39.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image" Target="../media/image143.png"/><Relationship Id="rId1" Type="http://schemas.openxmlformats.org/officeDocument/2006/relationships/slideLayout" Target="../slideLayouts/slideLayout8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2" Type="http://schemas.openxmlformats.org/officeDocument/2006/relationships/image" Target="../media/image145.png"/><Relationship Id="rId1" Type="http://schemas.openxmlformats.org/officeDocument/2006/relationships/slideLayout" Target="../slideLayouts/slideLayout8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4.xml"/></Relationships>
</file>

<file path=ppt/slides/_rels/slide43.xml.rels><?xml version="1.0" encoding="UTF-8" standalone="yes"?>
<Relationships xmlns="http://schemas.openxmlformats.org/package/2006/relationships"><Relationship Id="rId2" Type="http://schemas.openxmlformats.org/officeDocument/2006/relationships/image" Target="../media/image146.png"/><Relationship Id="rId1" Type="http://schemas.openxmlformats.org/officeDocument/2006/relationships/slideLayout" Target="../slideLayouts/slideLayout18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88.xml"/></Relationships>
</file>

<file path=ppt/slides/_rels/slide45.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7.xml"/><Relationship Id="rId1" Type="http://schemas.openxmlformats.org/officeDocument/2006/relationships/slideLayout" Target="../slideLayouts/slideLayout182.xml"/></Relationships>
</file>

<file path=ppt/slides/_rels/slide46.xml.rels><?xml version="1.0" encoding="UTF-8" standalone="yes"?>
<Relationships xmlns="http://schemas.openxmlformats.org/package/2006/relationships"><Relationship Id="rId2" Type="http://schemas.openxmlformats.org/officeDocument/2006/relationships/image" Target="../media/image148.png"/><Relationship Id="rId1" Type="http://schemas.openxmlformats.org/officeDocument/2006/relationships/slideLayout" Target="../slideLayouts/slideLayout182.xml"/></Relationships>
</file>

<file path=ppt/slides/_rels/slide47.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8.xml"/><Relationship Id="rId1" Type="http://schemas.openxmlformats.org/officeDocument/2006/relationships/slideLayout" Target="../slideLayouts/slideLayout182.xml"/><Relationship Id="rId4" Type="http://schemas.openxmlformats.org/officeDocument/2006/relationships/image" Target="../media/image148.png"/></Relationships>
</file>

<file path=ppt/slides/_rels/slide4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9.xml"/><Relationship Id="rId1" Type="http://schemas.openxmlformats.org/officeDocument/2006/relationships/slideLayout" Target="../slideLayouts/slideLayout18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82.xml"/></Relationships>
</file>

<file path=ppt/slides/_rels/slide5.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51.png"/><Relationship Id="rId18" Type="http://schemas.openxmlformats.org/officeDocument/2006/relationships/image" Target="../media/image56.png"/><Relationship Id="rId26" Type="http://schemas.openxmlformats.org/officeDocument/2006/relationships/image" Target="../media/image64.png"/><Relationship Id="rId3" Type="http://schemas.openxmlformats.org/officeDocument/2006/relationships/image" Target="../media/image41.png"/><Relationship Id="rId21" Type="http://schemas.openxmlformats.org/officeDocument/2006/relationships/image" Target="../media/image59.png"/><Relationship Id="rId7" Type="http://schemas.openxmlformats.org/officeDocument/2006/relationships/image" Target="../media/image45.png"/><Relationship Id="rId12" Type="http://schemas.openxmlformats.org/officeDocument/2006/relationships/image" Target="../media/image50.png"/><Relationship Id="rId17" Type="http://schemas.openxmlformats.org/officeDocument/2006/relationships/image" Target="../media/image55.png"/><Relationship Id="rId25" Type="http://schemas.openxmlformats.org/officeDocument/2006/relationships/image" Target="../media/image63.png"/><Relationship Id="rId2" Type="http://schemas.openxmlformats.org/officeDocument/2006/relationships/notesSlide" Target="../notesSlides/notesSlide2.xml"/><Relationship Id="rId16" Type="http://schemas.openxmlformats.org/officeDocument/2006/relationships/image" Target="../media/image54.png"/><Relationship Id="rId20" Type="http://schemas.openxmlformats.org/officeDocument/2006/relationships/image" Target="../media/image58.png"/><Relationship Id="rId1" Type="http://schemas.openxmlformats.org/officeDocument/2006/relationships/slideLayout" Target="../slideLayouts/slideLayout43.xml"/><Relationship Id="rId6" Type="http://schemas.openxmlformats.org/officeDocument/2006/relationships/image" Target="../media/image44.png"/><Relationship Id="rId11" Type="http://schemas.openxmlformats.org/officeDocument/2006/relationships/image" Target="../media/image49.png"/><Relationship Id="rId24" Type="http://schemas.openxmlformats.org/officeDocument/2006/relationships/image" Target="../media/image62.png"/><Relationship Id="rId5" Type="http://schemas.openxmlformats.org/officeDocument/2006/relationships/image" Target="../media/image43.png"/><Relationship Id="rId15" Type="http://schemas.openxmlformats.org/officeDocument/2006/relationships/image" Target="../media/image53.png"/><Relationship Id="rId23" Type="http://schemas.openxmlformats.org/officeDocument/2006/relationships/image" Target="../media/image61.png"/><Relationship Id="rId28" Type="http://schemas.openxmlformats.org/officeDocument/2006/relationships/image" Target="../media/image66.png"/><Relationship Id="rId10" Type="http://schemas.openxmlformats.org/officeDocument/2006/relationships/image" Target="../media/image48.png"/><Relationship Id="rId19" Type="http://schemas.openxmlformats.org/officeDocument/2006/relationships/image" Target="../media/image57.png"/><Relationship Id="rId4" Type="http://schemas.openxmlformats.org/officeDocument/2006/relationships/image" Target="../media/image42.png"/><Relationship Id="rId9" Type="http://schemas.openxmlformats.org/officeDocument/2006/relationships/image" Target="../media/image47.png"/><Relationship Id="rId14" Type="http://schemas.openxmlformats.org/officeDocument/2006/relationships/image" Target="../media/image52.png"/><Relationship Id="rId22" Type="http://schemas.openxmlformats.org/officeDocument/2006/relationships/image" Target="../media/image60.png"/><Relationship Id="rId27" Type="http://schemas.openxmlformats.org/officeDocument/2006/relationships/image" Target="../media/image65.png"/></Relationships>
</file>

<file path=ppt/slides/_rels/slide50.xml.rels><?xml version="1.0" encoding="UTF-8" standalone="yes"?>
<Relationships xmlns="http://schemas.openxmlformats.org/package/2006/relationships"><Relationship Id="rId8" Type="http://schemas.openxmlformats.org/officeDocument/2006/relationships/image" Target="../media/image94.png"/><Relationship Id="rId13" Type="http://schemas.openxmlformats.org/officeDocument/2006/relationships/image" Target="../media/image127.png"/><Relationship Id="rId3" Type="http://schemas.openxmlformats.org/officeDocument/2006/relationships/image" Target="../media/image149.png"/><Relationship Id="rId7" Type="http://schemas.openxmlformats.org/officeDocument/2006/relationships/image" Target="../media/image152.png"/><Relationship Id="rId12" Type="http://schemas.openxmlformats.org/officeDocument/2006/relationships/image" Target="../media/image35.png"/><Relationship Id="rId17" Type="http://schemas.openxmlformats.org/officeDocument/2006/relationships/image" Target="../media/image132.png"/><Relationship Id="rId2" Type="http://schemas.openxmlformats.org/officeDocument/2006/relationships/image" Target="../media/image102.png"/><Relationship Id="rId16" Type="http://schemas.openxmlformats.org/officeDocument/2006/relationships/image" Target="../media/image43.png"/><Relationship Id="rId1" Type="http://schemas.openxmlformats.org/officeDocument/2006/relationships/slideLayout" Target="../slideLayouts/slideLayout82.xml"/><Relationship Id="rId6" Type="http://schemas.openxmlformats.org/officeDocument/2006/relationships/image" Target="../media/image151.png"/><Relationship Id="rId11" Type="http://schemas.openxmlformats.org/officeDocument/2006/relationships/image" Target="../media/image90.png"/><Relationship Id="rId5" Type="http://schemas.openxmlformats.org/officeDocument/2006/relationships/image" Target="../media/image150.png"/><Relationship Id="rId15" Type="http://schemas.openxmlformats.org/officeDocument/2006/relationships/image" Target="../media/image129.png"/><Relationship Id="rId10" Type="http://schemas.openxmlformats.org/officeDocument/2006/relationships/image" Target="../media/image153.png"/><Relationship Id="rId4" Type="http://schemas.openxmlformats.org/officeDocument/2006/relationships/image" Target="../media/image92.png"/><Relationship Id="rId9" Type="http://schemas.openxmlformats.org/officeDocument/2006/relationships/image" Target="../media/image93.png"/><Relationship Id="rId14" Type="http://schemas.openxmlformats.org/officeDocument/2006/relationships/image" Target="../media/image128.png"/></Relationships>
</file>

<file path=ppt/slides/_rels/slide51.xml.rels><?xml version="1.0" encoding="UTF-8" standalone="yes"?>
<Relationships xmlns="http://schemas.openxmlformats.org/package/2006/relationships"><Relationship Id="rId8" Type="http://schemas.openxmlformats.org/officeDocument/2006/relationships/image" Target="../media/image94.png"/><Relationship Id="rId13" Type="http://schemas.openxmlformats.org/officeDocument/2006/relationships/image" Target="../media/image132.png"/><Relationship Id="rId3" Type="http://schemas.openxmlformats.org/officeDocument/2006/relationships/image" Target="../media/image149.png"/><Relationship Id="rId7" Type="http://schemas.openxmlformats.org/officeDocument/2006/relationships/image" Target="../media/image152.png"/><Relationship Id="rId12" Type="http://schemas.openxmlformats.org/officeDocument/2006/relationships/image" Target="../media/image35.png"/><Relationship Id="rId2" Type="http://schemas.openxmlformats.org/officeDocument/2006/relationships/image" Target="../media/image102.png"/><Relationship Id="rId1" Type="http://schemas.openxmlformats.org/officeDocument/2006/relationships/slideLayout" Target="../slideLayouts/slideLayout82.xml"/><Relationship Id="rId6" Type="http://schemas.openxmlformats.org/officeDocument/2006/relationships/image" Target="../media/image151.png"/><Relationship Id="rId11" Type="http://schemas.openxmlformats.org/officeDocument/2006/relationships/image" Target="../media/image90.png"/><Relationship Id="rId5" Type="http://schemas.openxmlformats.org/officeDocument/2006/relationships/image" Target="../media/image150.png"/><Relationship Id="rId10" Type="http://schemas.openxmlformats.org/officeDocument/2006/relationships/image" Target="../media/image153.png"/><Relationship Id="rId4" Type="http://schemas.openxmlformats.org/officeDocument/2006/relationships/image" Target="../media/image92.png"/><Relationship Id="rId9" Type="http://schemas.openxmlformats.org/officeDocument/2006/relationships/image" Target="../media/image93.png"/></Relationships>
</file>

<file path=ppt/slides/_rels/slide52.xml.rels><?xml version="1.0" encoding="UTF-8" standalone="yes"?>
<Relationships xmlns="http://schemas.openxmlformats.org/package/2006/relationships"><Relationship Id="rId8" Type="http://schemas.openxmlformats.org/officeDocument/2006/relationships/image" Target="../media/image94.png"/><Relationship Id="rId13" Type="http://schemas.openxmlformats.org/officeDocument/2006/relationships/image" Target="../media/image127.png"/><Relationship Id="rId3" Type="http://schemas.openxmlformats.org/officeDocument/2006/relationships/image" Target="../media/image149.png"/><Relationship Id="rId7" Type="http://schemas.openxmlformats.org/officeDocument/2006/relationships/image" Target="../media/image152.png"/><Relationship Id="rId12" Type="http://schemas.openxmlformats.org/officeDocument/2006/relationships/image" Target="../media/image35.png"/><Relationship Id="rId17" Type="http://schemas.openxmlformats.org/officeDocument/2006/relationships/image" Target="../media/image43.png"/><Relationship Id="rId2" Type="http://schemas.openxmlformats.org/officeDocument/2006/relationships/image" Target="../media/image102.png"/><Relationship Id="rId16" Type="http://schemas.openxmlformats.org/officeDocument/2006/relationships/image" Target="../media/image154.png"/><Relationship Id="rId1" Type="http://schemas.openxmlformats.org/officeDocument/2006/relationships/slideLayout" Target="../slideLayouts/slideLayout82.xml"/><Relationship Id="rId6" Type="http://schemas.openxmlformats.org/officeDocument/2006/relationships/image" Target="../media/image151.png"/><Relationship Id="rId11" Type="http://schemas.openxmlformats.org/officeDocument/2006/relationships/image" Target="../media/image90.png"/><Relationship Id="rId5" Type="http://schemas.openxmlformats.org/officeDocument/2006/relationships/image" Target="../media/image150.png"/><Relationship Id="rId15" Type="http://schemas.openxmlformats.org/officeDocument/2006/relationships/image" Target="../media/image129.png"/><Relationship Id="rId10" Type="http://schemas.openxmlformats.org/officeDocument/2006/relationships/image" Target="../media/image153.png"/><Relationship Id="rId4" Type="http://schemas.openxmlformats.org/officeDocument/2006/relationships/image" Target="../media/image92.png"/><Relationship Id="rId9" Type="http://schemas.openxmlformats.org/officeDocument/2006/relationships/image" Target="../media/image93.png"/><Relationship Id="rId14" Type="http://schemas.openxmlformats.org/officeDocument/2006/relationships/image" Target="../media/image128.png"/></Relationships>
</file>

<file path=ppt/slides/_rels/slide53.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image" Target="../media/image155.png"/><Relationship Id="rId1" Type="http://schemas.openxmlformats.org/officeDocument/2006/relationships/slideLayout" Target="../slideLayouts/slideLayout82.xml"/><Relationship Id="rId5" Type="http://schemas.openxmlformats.org/officeDocument/2006/relationships/image" Target="../media/image158.png"/><Relationship Id="rId4" Type="http://schemas.openxmlformats.org/officeDocument/2006/relationships/image" Target="../media/image157.png"/></Relationships>
</file>

<file path=ppt/slides/_rels/slide54.xml.rels><?xml version="1.0" encoding="UTF-8" standalone="yes"?>
<Relationships xmlns="http://schemas.openxmlformats.org/package/2006/relationships"><Relationship Id="rId3" Type="http://schemas.openxmlformats.org/officeDocument/2006/relationships/image" Target="../media/image94.png"/><Relationship Id="rId7" Type="http://schemas.openxmlformats.org/officeDocument/2006/relationships/image" Target="../media/image90.png"/><Relationship Id="rId2" Type="http://schemas.openxmlformats.org/officeDocument/2006/relationships/image" Target="../media/image156.png"/><Relationship Id="rId1" Type="http://schemas.openxmlformats.org/officeDocument/2006/relationships/slideLayout" Target="../slideLayouts/slideLayout82.xml"/><Relationship Id="rId6" Type="http://schemas.openxmlformats.org/officeDocument/2006/relationships/image" Target="../media/image161.png"/><Relationship Id="rId5" Type="http://schemas.openxmlformats.org/officeDocument/2006/relationships/image" Target="../media/image160.png"/><Relationship Id="rId4" Type="http://schemas.openxmlformats.org/officeDocument/2006/relationships/image" Target="../media/image159.png"/></Relationships>
</file>

<file path=ppt/slides/_rels/slide55.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35.png"/><Relationship Id="rId2" Type="http://schemas.openxmlformats.org/officeDocument/2006/relationships/image" Target="../media/image36.png"/><Relationship Id="rId1" Type="http://schemas.openxmlformats.org/officeDocument/2006/relationships/slideLayout" Target="../slideLayouts/slideLayout182.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56.xml.rels><?xml version="1.0" encoding="UTF-8" standalone="yes"?>
<Relationships xmlns="http://schemas.openxmlformats.org/package/2006/relationships"><Relationship Id="rId8" Type="http://schemas.openxmlformats.org/officeDocument/2006/relationships/hyperlink" Target="https://github.com/axians/microservicebus-tutorial/blob/master/IntegratingWithMicroServiceBus.md" TargetMode="External"/><Relationship Id="rId3" Type="http://schemas.openxmlformats.org/officeDocument/2006/relationships/hyperlink" Target="https://github.com/axians/microservicebus-tutorial/blob/master/ManageYourDevices.md" TargetMode="External"/><Relationship Id="rId7" Type="http://schemas.openxmlformats.org/officeDocument/2006/relationships/hyperlink" Target="https://github.com/axians/microservicebus-tutorial/blob/master/ApplicationLifecycleManagement.md" TargetMode="External"/><Relationship Id="rId2" Type="http://schemas.openxmlformats.org/officeDocument/2006/relationships/hyperlink" Target="https://github.com/axians/microservicebus-tutorial/blob/master/GettingStarted.md" TargetMode="External"/><Relationship Id="rId1" Type="http://schemas.openxmlformats.org/officeDocument/2006/relationships/slideLayout" Target="../slideLayouts/slideLayout182.xml"/><Relationship Id="rId6" Type="http://schemas.openxmlformats.org/officeDocument/2006/relationships/hyperlink" Target="https://github.com/axians/microservicebus-tutorial/blob/master/InsightAndAutitLogs.md" TargetMode="External"/><Relationship Id="rId5" Type="http://schemas.openxmlformats.org/officeDocument/2006/relationships/hyperlink" Target="https://github.com/axians/microservicebus-tutorial/blob/master/WorkingWithTemplates.md" TargetMode="External"/><Relationship Id="rId4" Type="http://schemas.openxmlformats.org/officeDocument/2006/relationships/hyperlink" Target="https://github.com/axians/microservicebus-tutorial/blob/master/WorkingWithpolicies.md" TargetMode="External"/></Relationships>
</file>

<file path=ppt/slides/_rels/slide6.xml.rels><?xml version="1.0" encoding="UTF-8" standalone="yes"?>
<Relationships xmlns="http://schemas.openxmlformats.org/package/2006/relationships"><Relationship Id="rId8" Type="http://schemas.openxmlformats.org/officeDocument/2006/relationships/image" Target="../media/image72.png"/><Relationship Id="rId13" Type="http://schemas.openxmlformats.org/officeDocument/2006/relationships/image" Target="../media/image64.png"/><Relationship Id="rId3" Type="http://schemas.openxmlformats.org/officeDocument/2006/relationships/image" Target="../media/image67.png"/><Relationship Id="rId7" Type="http://schemas.openxmlformats.org/officeDocument/2006/relationships/image" Target="../media/image71.png"/><Relationship Id="rId12" Type="http://schemas.openxmlformats.org/officeDocument/2006/relationships/image" Target="../media/image74.png"/><Relationship Id="rId2" Type="http://schemas.openxmlformats.org/officeDocument/2006/relationships/notesSlide" Target="../notesSlides/notesSlide3.xml"/><Relationship Id="rId1" Type="http://schemas.openxmlformats.org/officeDocument/2006/relationships/slideLayout" Target="../slideLayouts/slideLayout40.xml"/><Relationship Id="rId6" Type="http://schemas.openxmlformats.org/officeDocument/2006/relationships/image" Target="../media/image70.png"/><Relationship Id="rId11" Type="http://schemas.openxmlformats.org/officeDocument/2006/relationships/image" Target="../media/image65.png"/><Relationship Id="rId5" Type="http://schemas.openxmlformats.org/officeDocument/2006/relationships/image" Target="../media/image69.png"/><Relationship Id="rId10" Type="http://schemas.openxmlformats.org/officeDocument/2006/relationships/image" Target="../media/image63.png"/><Relationship Id="rId4" Type="http://schemas.openxmlformats.org/officeDocument/2006/relationships/image" Target="../media/image68.png"/><Relationship Id="rId9" Type="http://schemas.openxmlformats.org/officeDocument/2006/relationships/image" Target="../media/image73.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105.xml"/><Relationship Id="rId5" Type="http://schemas.openxmlformats.org/officeDocument/2006/relationships/image" Target="../media/image77.png"/><Relationship Id="rId4" Type="http://schemas.microsoft.com/office/2007/relationships/hdphoto" Target="../media/hdphoto1.wdp"/></Relationships>
</file>

<file path=ppt/slides/_rels/slide9.xml.rels><?xml version="1.0" encoding="UTF-8" standalone="yes"?>
<Relationships xmlns="http://schemas.openxmlformats.org/package/2006/relationships"><Relationship Id="rId8" Type="http://schemas.openxmlformats.org/officeDocument/2006/relationships/image" Target="../media/image80.png"/><Relationship Id="rId13" Type="http://schemas.openxmlformats.org/officeDocument/2006/relationships/image" Target="../media/image85.png"/><Relationship Id="rId18" Type="http://schemas.openxmlformats.org/officeDocument/2006/relationships/image" Target="../media/image90.png"/><Relationship Id="rId26" Type="http://schemas.openxmlformats.org/officeDocument/2006/relationships/image" Target="../media/image98.png"/><Relationship Id="rId3" Type="http://schemas.microsoft.com/office/2007/relationships/hdphoto" Target="../media/hdphoto1.wdp"/><Relationship Id="rId21" Type="http://schemas.openxmlformats.org/officeDocument/2006/relationships/image" Target="../media/image93.png"/><Relationship Id="rId7" Type="http://schemas.openxmlformats.org/officeDocument/2006/relationships/image" Target="../media/image79.png"/><Relationship Id="rId12" Type="http://schemas.openxmlformats.org/officeDocument/2006/relationships/image" Target="../media/image84.png"/><Relationship Id="rId17" Type="http://schemas.openxmlformats.org/officeDocument/2006/relationships/image" Target="../media/image89.png"/><Relationship Id="rId25" Type="http://schemas.openxmlformats.org/officeDocument/2006/relationships/image" Target="../media/image97.png"/><Relationship Id="rId2" Type="http://schemas.openxmlformats.org/officeDocument/2006/relationships/image" Target="../media/image76.png"/><Relationship Id="rId16" Type="http://schemas.openxmlformats.org/officeDocument/2006/relationships/image" Target="../media/image88.png"/><Relationship Id="rId20" Type="http://schemas.openxmlformats.org/officeDocument/2006/relationships/image" Target="../media/image92.png"/><Relationship Id="rId29" Type="http://schemas.openxmlformats.org/officeDocument/2006/relationships/image" Target="../media/image101.png"/><Relationship Id="rId1" Type="http://schemas.openxmlformats.org/officeDocument/2006/relationships/slideLayout" Target="../slideLayouts/slideLayout105.xml"/><Relationship Id="rId6" Type="http://schemas.openxmlformats.org/officeDocument/2006/relationships/image" Target="../media/image78.png"/><Relationship Id="rId11" Type="http://schemas.openxmlformats.org/officeDocument/2006/relationships/image" Target="../media/image83.png"/><Relationship Id="rId24" Type="http://schemas.openxmlformats.org/officeDocument/2006/relationships/image" Target="../media/image96.svg"/><Relationship Id="rId5" Type="http://schemas.openxmlformats.org/officeDocument/2006/relationships/image" Target="../media/image77.png"/><Relationship Id="rId15" Type="http://schemas.openxmlformats.org/officeDocument/2006/relationships/image" Target="../media/image87.png"/><Relationship Id="rId23" Type="http://schemas.openxmlformats.org/officeDocument/2006/relationships/image" Target="../media/image95.png"/><Relationship Id="rId28" Type="http://schemas.openxmlformats.org/officeDocument/2006/relationships/image" Target="../media/image100.png"/><Relationship Id="rId10" Type="http://schemas.openxmlformats.org/officeDocument/2006/relationships/image" Target="../media/image82.png"/><Relationship Id="rId19" Type="http://schemas.openxmlformats.org/officeDocument/2006/relationships/image" Target="../media/image91.png"/><Relationship Id="rId4" Type="http://schemas.openxmlformats.org/officeDocument/2006/relationships/image" Target="../media/image75.png"/><Relationship Id="rId9" Type="http://schemas.openxmlformats.org/officeDocument/2006/relationships/image" Target="../media/image81.png"/><Relationship Id="rId14" Type="http://schemas.openxmlformats.org/officeDocument/2006/relationships/image" Target="../media/image86.png"/><Relationship Id="rId22" Type="http://schemas.openxmlformats.org/officeDocument/2006/relationships/image" Target="../media/image94.png"/><Relationship Id="rId27" Type="http://schemas.openxmlformats.org/officeDocument/2006/relationships/image" Target="../media/image99.svg"/><Relationship Id="rId30" Type="http://schemas.openxmlformats.org/officeDocument/2006/relationships/image" Target="../media/image10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E807ED9-CD91-4246-9EA0-12AD75C7444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76787" y="2483997"/>
            <a:ext cx="1368013" cy="1122803"/>
          </a:xfrm>
          <a:prstGeom prst="rect">
            <a:avLst/>
          </a:prstGeom>
        </p:spPr>
      </p:pic>
      <p:sp>
        <p:nvSpPr>
          <p:cNvPr id="9" name="TextBox 8">
            <a:extLst>
              <a:ext uri="{FF2B5EF4-FFF2-40B4-BE49-F238E27FC236}">
                <a16:creationId xmlns:a16="http://schemas.microsoft.com/office/drawing/2014/main" id="{FFB90D89-3DA1-4199-A817-0DD27696A071}"/>
              </a:ext>
            </a:extLst>
          </p:cNvPr>
          <p:cNvSpPr txBox="1"/>
          <p:nvPr/>
        </p:nvSpPr>
        <p:spPr>
          <a:xfrm>
            <a:off x="110509" y="3606800"/>
            <a:ext cx="5178725" cy="1384995"/>
          </a:xfrm>
          <a:prstGeom prst="rect">
            <a:avLst/>
          </a:prstGeom>
          <a:noFill/>
        </p:spPr>
        <p:txBody>
          <a:bodyPr wrap="none" rtlCol="0">
            <a:spAutoFit/>
          </a:bodyPr>
          <a:lstStyle/>
          <a:p>
            <a:r>
              <a:rPr lang="sv-SE" sz="4400" b="1" dirty="0">
                <a:solidFill>
                  <a:schemeClr val="bg1"/>
                </a:solidFill>
                <a:latin typeface="Segoe UI Light" panose="020B0502040204020203" pitchFamily="34" charset="0"/>
                <a:cs typeface="Segoe UI Light" panose="020B0502040204020203" pitchFamily="34" charset="0"/>
              </a:rPr>
              <a:t>microServiceBus.com</a:t>
            </a:r>
          </a:p>
          <a:p>
            <a:r>
              <a:rPr lang="sv-SE" sz="4000" dirty="0" err="1">
                <a:solidFill>
                  <a:schemeClr val="bg1"/>
                </a:solidFill>
                <a:latin typeface="Segoe UI Light" panose="020B0502040204020203" pitchFamily="34" charset="0"/>
                <a:cs typeface="Segoe UI Light" panose="020B0502040204020203" pitchFamily="34" charset="0"/>
              </a:rPr>
              <a:t>tutorial</a:t>
            </a:r>
            <a:endParaRPr lang="en-US" sz="2000" dirty="0">
              <a:solidFill>
                <a:schemeClr val="bg1"/>
              </a:solidFill>
              <a:latin typeface="Segoe UI Light" panose="020B0502040204020203" pitchFamily="34" charset="0"/>
              <a:cs typeface="Segoe UI Light" panose="020B0502040204020203" pitchFamily="34" charset="0"/>
            </a:endParaRPr>
          </a:p>
        </p:txBody>
      </p:sp>
      <p:sp>
        <p:nvSpPr>
          <p:cNvPr id="2" name="Rectangle 1">
            <a:extLst>
              <a:ext uri="{FF2B5EF4-FFF2-40B4-BE49-F238E27FC236}">
                <a16:creationId xmlns:a16="http://schemas.microsoft.com/office/drawing/2014/main" id="{DADC65DC-C18F-497B-8C38-6F4ED5AF5A69}"/>
              </a:ext>
            </a:extLst>
          </p:cNvPr>
          <p:cNvSpPr/>
          <p:nvPr/>
        </p:nvSpPr>
        <p:spPr bwMode="auto">
          <a:xfrm>
            <a:off x="7209941" y="4226856"/>
            <a:ext cx="4983804" cy="2650194"/>
          </a:xfrm>
          <a:prstGeom prst="rect">
            <a:avLst/>
          </a:prstGeom>
          <a:solidFill>
            <a:schemeClr val="bg1">
              <a:alpha val="74000"/>
            </a:schemeClr>
          </a:solidFill>
          <a:ln w="12700" cap="flat" cmpd="sng">
            <a:noFill/>
            <a:prstDash val="solid"/>
            <a:round/>
            <a:headEnd/>
            <a:tailEnd/>
          </a:ln>
          <a:effectLst/>
        </p:spPr>
        <p:txBody>
          <a:bodyPr vert="horz" wrap="square" lIns="91440" tIns="45720" rIns="91440" bIns="45720" numCol="1" rtlCol="0" anchor="ctr" anchorCtr="0" compatLnSpc="1">
            <a:prstTxWarp prst="textNoShape">
              <a:avLst/>
            </a:prstTxWarp>
          </a:bodyPr>
          <a:lstStyle/>
          <a:p>
            <a:pPr algn="ctr"/>
            <a:endParaRPr lang="en-US" dirty="0"/>
          </a:p>
        </p:txBody>
      </p:sp>
      <p:sp>
        <p:nvSpPr>
          <p:cNvPr id="3" name="TextBox 2">
            <a:extLst>
              <a:ext uri="{FF2B5EF4-FFF2-40B4-BE49-F238E27FC236}">
                <a16:creationId xmlns:a16="http://schemas.microsoft.com/office/drawing/2014/main" id="{E0C01A82-017E-4444-9F4F-3A8CA17B6AB6}"/>
              </a:ext>
            </a:extLst>
          </p:cNvPr>
          <p:cNvSpPr txBox="1"/>
          <p:nvPr/>
        </p:nvSpPr>
        <p:spPr>
          <a:xfrm>
            <a:off x="7754768" y="4549676"/>
            <a:ext cx="4065600" cy="2308324"/>
          </a:xfrm>
          <a:prstGeom prst="rect">
            <a:avLst/>
          </a:prstGeom>
          <a:noFill/>
        </p:spPr>
        <p:txBody>
          <a:bodyPr wrap="none" rtlCol="0">
            <a:spAutoFit/>
          </a:bodyPr>
          <a:lstStyle/>
          <a:p>
            <a:r>
              <a:rPr lang="en-US" sz="2400" b="1" dirty="0">
                <a:solidFill>
                  <a:srgbClr val="000000"/>
                </a:solidFill>
              </a:rPr>
              <a:t>Mikael Hakansson</a:t>
            </a:r>
          </a:p>
          <a:p>
            <a:r>
              <a:rPr lang="en-US" sz="2400" dirty="0">
                <a:solidFill>
                  <a:srgbClr val="000000"/>
                </a:solidFill>
              </a:rPr>
              <a:t>mikael.hakansson@axians.com</a:t>
            </a:r>
          </a:p>
          <a:p>
            <a:endParaRPr lang="en-US" sz="2400" dirty="0">
              <a:solidFill>
                <a:srgbClr val="000000"/>
              </a:solidFill>
            </a:endParaRPr>
          </a:p>
          <a:p>
            <a:r>
              <a:rPr lang="en-US" sz="2400" b="1" dirty="0">
                <a:solidFill>
                  <a:srgbClr val="000000"/>
                </a:solidFill>
              </a:rPr>
              <a:t>Patrik Sohlman</a:t>
            </a:r>
          </a:p>
          <a:p>
            <a:r>
              <a:rPr lang="en-US" sz="2400" dirty="0">
                <a:solidFill>
                  <a:srgbClr val="000000"/>
                </a:solidFill>
              </a:rPr>
              <a:t>patrik.sohlman@axians.com</a:t>
            </a:r>
          </a:p>
          <a:p>
            <a:endParaRPr lang="en-US" sz="2400" dirty="0">
              <a:solidFill>
                <a:srgbClr val="000000"/>
              </a:solidFill>
            </a:endParaRPr>
          </a:p>
        </p:txBody>
      </p:sp>
    </p:spTree>
    <p:extLst>
      <p:ext uri="{BB962C8B-B14F-4D97-AF65-F5344CB8AC3E}">
        <p14:creationId xmlns:p14="http://schemas.microsoft.com/office/powerpoint/2010/main" val="38005795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METER</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grpSp>
        <p:nvGrpSpPr>
          <p:cNvPr id="163" name="Group 162">
            <a:extLst>
              <a:ext uri="{FF2B5EF4-FFF2-40B4-BE49-F238E27FC236}">
                <a16:creationId xmlns:a16="http://schemas.microsoft.com/office/drawing/2014/main" id="{FDB4663F-8150-4C76-B2CB-5FBCDA17FDD3}"/>
              </a:ext>
            </a:extLst>
          </p:cNvPr>
          <p:cNvGrpSpPr/>
          <p:nvPr/>
        </p:nvGrpSpPr>
        <p:grpSpPr>
          <a:xfrm>
            <a:off x="1386503" y="3320885"/>
            <a:ext cx="1826053" cy="1464232"/>
            <a:chOff x="1386503" y="3320885"/>
            <a:chExt cx="1826053" cy="1464232"/>
          </a:xfrm>
        </p:grpSpPr>
        <p:sp>
          <p:nvSpPr>
            <p:cNvPr id="17" name="Field gateway">
              <a:extLst>
                <a:ext uri="{FF2B5EF4-FFF2-40B4-BE49-F238E27FC236}">
                  <a16:creationId xmlns:a16="http://schemas.microsoft.com/office/drawing/2014/main" id="{875C2582-A5C0-43A3-A578-79502B377EBE}"/>
                </a:ext>
              </a:extLst>
            </p:cNvPr>
            <p:cNvSpPr/>
            <p:nvPr/>
          </p:nvSpPr>
          <p:spPr>
            <a:xfrm>
              <a:off x="1386503" y="3371961"/>
              <a:ext cx="1113008" cy="141315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Heat pump</a:t>
              </a:r>
            </a:p>
          </p:txBody>
        </p:sp>
        <p:pic>
          <p:nvPicPr>
            <p:cNvPr id="18" name="Picture 17">
              <a:extLst>
                <a:ext uri="{FF2B5EF4-FFF2-40B4-BE49-F238E27FC236}">
                  <a16:creationId xmlns:a16="http://schemas.microsoft.com/office/drawing/2014/main" id="{B7DECA9F-7493-4E06-B781-77E151B61CB8}"/>
                </a:ext>
              </a:extLst>
            </p:cNvPr>
            <p:cNvPicPr>
              <a:picLocks noChangeAspect="1"/>
            </p:cNvPicPr>
            <p:nvPr/>
          </p:nvPicPr>
          <p:blipFill>
            <a:blip r:embed="rId6"/>
            <a:stretch>
              <a:fillRect/>
            </a:stretch>
          </p:blipFill>
          <p:spPr>
            <a:xfrm>
              <a:off x="1655842" y="3750077"/>
              <a:ext cx="633656" cy="417176"/>
            </a:xfrm>
            <a:prstGeom prst="rect">
              <a:avLst/>
            </a:prstGeom>
          </p:spPr>
        </p:pic>
        <p:pic>
          <p:nvPicPr>
            <p:cNvPr id="25" name="Picture 24">
              <a:extLst>
                <a:ext uri="{FF2B5EF4-FFF2-40B4-BE49-F238E27FC236}">
                  <a16:creationId xmlns:a16="http://schemas.microsoft.com/office/drawing/2014/main" id="{306ED2CA-8BCF-4AD0-ABBB-D9E1A7C6EE40}"/>
                </a:ext>
              </a:extLst>
            </p:cNvPr>
            <p:cNvPicPr>
              <a:picLocks noChangeAspect="1"/>
            </p:cNvPicPr>
            <p:nvPr/>
          </p:nvPicPr>
          <p:blipFill>
            <a:blip r:embed="rId7"/>
            <a:stretch>
              <a:fillRect/>
            </a:stretch>
          </p:blipFill>
          <p:spPr>
            <a:xfrm rot="5400000">
              <a:off x="2786965" y="3419946"/>
              <a:ext cx="250480" cy="246427"/>
            </a:xfrm>
            <a:prstGeom prst="rect">
              <a:avLst/>
            </a:prstGeom>
          </p:spPr>
        </p:pic>
        <p:pic>
          <p:nvPicPr>
            <p:cNvPr id="26" name="Picture 25">
              <a:extLst>
                <a:ext uri="{FF2B5EF4-FFF2-40B4-BE49-F238E27FC236}">
                  <a16:creationId xmlns:a16="http://schemas.microsoft.com/office/drawing/2014/main" id="{2B6FBCEE-307A-4232-A2B1-D4A7E4FF54BE}"/>
                </a:ext>
              </a:extLst>
            </p:cNvPr>
            <p:cNvPicPr>
              <a:picLocks noChangeAspect="1"/>
            </p:cNvPicPr>
            <p:nvPr/>
          </p:nvPicPr>
          <p:blipFill>
            <a:blip r:embed="rId8"/>
            <a:stretch>
              <a:fillRect/>
            </a:stretch>
          </p:blipFill>
          <p:spPr>
            <a:xfrm rot="16200000">
              <a:off x="2481475" y="4567136"/>
              <a:ext cx="126861" cy="90789"/>
            </a:xfrm>
            <a:prstGeom prst="rect">
              <a:avLst/>
            </a:prstGeom>
          </p:spPr>
        </p:pic>
        <p:pic>
          <p:nvPicPr>
            <p:cNvPr id="27" name="Picture 26">
              <a:extLst>
                <a:ext uri="{FF2B5EF4-FFF2-40B4-BE49-F238E27FC236}">
                  <a16:creationId xmlns:a16="http://schemas.microsoft.com/office/drawing/2014/main" id="{617E0296-65F2-426A-9EEA-AEB515DFEE86}"/>
                </a:ext>
              </a:extLst>
            </p:cNvPr>
            <p:cNvPicPr>
              <a:picLocks noChangeAspect="1"/>
            </p:cNvPicPr>
            <p:nvPr/>
          </p:nvPicPr>
          <p:blipFill>
            <a:blip r:embed="rId9"/>
            <a:stretch>
              <a:fillRect/>
            </a:stretch>
          </p:blipFill>
          <p:spPr>
            <a:xfrm>
              <a:off x="2920178" y="3654999"/>
              <a:ext cx="123214" cy="254083"/>
            </a:xfrm>
            <a:prstGeom prst="rect">
              <a:avLst/>
            </a:prstGeom>
          </p:spPr>
        </p:pic>
        <p:pic>
          <p:nvPicPr>
            <p:cNvPr id="28" name="Picture 27">
              <a:extLst>
                <a:ext uri="{FF2B5EF4-FFF2-40B4-BE49-F238E27FC236}">
                  <a16:creationId xmlns:a16="http://schemas.microsoft.com/office/drawing/2014/main" id="{74ABD278-4248-433B-BBB6-D4ECBB7C4A1B}"/>
                </a:ext>
              </a:extLst>
            </p:cNvPr>
            <p:cNvPicPr>
              <a:picLocks noChangeAspect="1"/>
            </p:cNvPicPr>
            <p:nvPr/>
          </p:nvPicPr>
          <p:blipFill>
            <a:blip r:embed="rId10"/>
            <a:stretch>
              <a:fillRect/>
            </a:stretch>
          </p:blipFill>
          <p:spPr>
            <a:xfrm rot="16200000">
              <a:off x="2580898" y="3340525"/>
              <a:ext cx="241824" cy="202543"/>
            </a:xfrm>
            <a:prstGeom prst="rect">
              <a:avLst/>
            </a:prstGeom>
          </p:spPr>
        </p:pic>
        <p:pic>
          <p:nvPicPr>
            <p:cNvPr id="29" name="Picture 28">
              <a:extLst>
                <a:ext uri="{FF2B5EF4-FFF2-40B4-BE49-F238E27FC236}">
                  <a16:creationId xmlns:a16="http://schemas.microsoft.com/office/drawing/2014/main" id="{08CAC11D-4482-4DCD-8CD0-BFE5ACC114B7}"/>
                </a:ext>
              </a:extLst>
            </p:cNvPr>
            <p:cNvPicPr>
              <a:picLocks noChangeAspect="1"/>
            </p:cNvPicPr>
            <p:nvPr/>
          </p:nvPicPr>
          <p:blipFill>
            <a:blip r:embed="rId8"/>
            <a:stretch>
              <a:fillRect/>
            </a:stretch>
          </p:blipFill>
          <p:spPr>
            <a:xfrm rot="16200000">
              <a:off x="2491623" y="3433442"/>
              <a:ext cx="126861" cy="90789"/>
            </a:xfrm>
            <a:prstGeom prst="rect">
              <a:avLst/>
            </a:prstGeom>
          </p:spPr>
        </p:pic>
        <p:pic>
          <p:nvPicPr>
            <p:cNvPr id="30" name="Picture 29">
              <a:extLst>
                <a:ext uri="{FF2B5EF4-FFF2-40B4-BE49-F238E27FC236}">
                  <a16:creationId xmlns:a16="http://schemas.microsoft.com/office/drawing/2014/main" id="{860154BD-08FA-44AB-B0D2-A8B2E83767AC}"/>
                </a:ext>
              </a:extLst>
            </p:cNvPr>
            <p:cNvPicPr>
              <a:picLocks noChangeAspect="1"/>
            </p:cNvPicPr>
            <p:nvPr/>
          </p:nvPicPr>
          <p:blipFill>
            <a:blip r:embed="rId7"/>
            <a:stretch>
              <a:fillRect/>
            </a:stretch>
          </p:blipFill>
          <p:spPr>
            <a:xfrm rot="10800000">
              <a:off x="2786324" y="4418167"/>
              <a:ext cx="250480" cy="246427"/>
            </a:xfrm>
            <a:prstGeom prst="rect">
              <a:avLst/>
            </a:prstGeom>
          </p:spPr>
        </p:pic>
        <p:pic>
          <p:nvPicPr>
            <p:cNvPr id="31" name="Picture 30">
              <a:extLst>
                <a:ext uri="{FF2B5EF4-FFF2-40B4-BE49-F238E27FC236}">
                  <a16:creationId xmlns:a16="http://schemas.microsoft.com/office/drawing/2014/main" id="{1406C4E1-02B2-413B-94C6-3FE1D8A92D2B}"/>
                </a:ext>
              </a:extLst>
            </p:cNvPr>
            <p:cNvPicPr>
              <a:picLocks noChangeAspect="1"/>
            </p:cNvPicPr>
            <p:nvPr/>
          </p:nvPicPr>
          <p:blipFill>
            <a:blip r:embed="rId9"/>
            <a:stretch>
              <a:fillRect/>
            </a:stretch>
          </p:blipFill>
          <p:spPr>
            <a:xfrm rot="16200000">
              <a:off x="2626435" y="4499340"/>
              <a:ext cx="123214" cy="222735"/>
            </a:xfrm>
            <a:prstGeom prst="rect">
              <a:avLst/>
            </a:prstGeom>
          </p:spPr>
        </p:pic>
        <p:pic>
          <p:nvPicPr>
            <p:cNvPr id="32" name="Picture 31">
              <a:extLst>
                <a:ext uri="{FF2B5EF4-FFF2-40B4-BE49-F238E27FC236}">
                  <a16:creationId xmlns:a16="http://schemas.microsoft.com/office/drawing/2014/main" id="{48EE7FD5-D959-4C35-8FD4-AC74611EBC28}"/>
                </a:ext>
              </a:extLst>
            </p:cNvPr>
            <p:cNvPicPr>
              <a:picLocks noChangeAspect="1"/>
            </p:cNvPicPr>
            <p:nvPr/>
          </p:nvPicPr>
          <p:blipFill>
            <a:blip r:embed="rId9"/>
            <a:stretch>
              <a:fillRect/>
            </a:stretch>
          </p:blipFill>
          <p:spPr>
            <a:xfrm>
              <a:off x="2920178" y="4177485"/>
              <a:ext cx="123214" cy="254083"/>
            </a:xfrm>
            <a:prstGeom prst="rect">
              <a:avLst/>
            </a:prstGeom>
          </p:spPr>
        </p:pic>
        <p:sp>
          <p:nvSpPr>
            <p:cNvPr id="33" name="TextBox 32">
              <a:extLst>
                <a:ext uri="{FF2B5EF4-FFF2-40B4-BE49-F238E27FC236}">
                  <a16:creationId xmlns:a16="http://schemas.microsoft.com/office/drawing/2014/main" id="{266903A8-3F3F-4242-AD2F-710D655943FB}"/>
                </a:ext>
              </a:extLst>
            </p:cNvPr>
            <p:cNvSpPr txBox="1"/>
            <p:nvPr/>
          </p:nvSpPr>
          <p:spPr>
            <a:xfrm rot="4111510">
              <a:off x="2798079" y="3773072"/>
              <a:ext cx="419454" cy="409501"/>
            </a:xfrm>
            <a:prstGeom prst="rect">
              <a:avLst/>
            </a:prstGeom>
            <a:noFill/>
          </p:spPr>
          <p:txBody>
            <a:bodyPr wrap="none" lIns="182880" tIns="146304" rIns="182880" bIns="146304" rtlCol="0">
              <a:spAutoFit/>
            </a:bodyPr>
            <a:lstStyle/>
            <a:p>
              <a:pPr>
                <a:lnSpc>
                  <a:spcPct val="90000"/>
                </a:lnSpc>
                <a:spcAft>
                  <a:spcPts val="600"/>
                </a:spcAft>
              </a:pPr>
              <a:r>
                <a:rPr lang="sv-SE" sz="1600" dirty="0">
                  <a:gradFill>
                    <a:gsLst>
                      <a:gs pos="2917">
                        <a:schemeClr val="tx1"/>
                      </a:gs>
                      <a:gs pos="30000">
                        <a:schemeClr val="tx1"/>
                      </a:gs>
                    </a:gsLst>
                    <a:lin ang="5400000" scaled="0"/>
                  </a:gradFill>
                </a:rPr>
                <a:t>//</a:t>
              </a:r>
            </a:p>
          </p:txBody>
        </p:sp>
      </p:grpSp>
      <p:grpSp>
        <p:nvGrpSpPr>
          <p:cNvPr id="165" name="Group 164">
            <a:extLst>
              <a:ext uri="{FF2B5EF4-FFF2-40B4-BE49-F238E27FC236}">
                <a16:creationId xmlns:a16="http://schemas.microsoft.com/office/drawing/2014/main" id="{D2890726-D362-4FA8-995F-33CB67217082}"/>
              </a:ext>
            </a:extLst>
          </p:cNvPr>
          <p:cNvGrpSpPr/>
          <p:nvPr/>
        </p:nvGrpSpPr>
        <p:grpSpPr>
          <a:xfrm>
            <a:off x="1943007" y="2814881"/>
            <a:ext cx="2760320" cy="1320651"/>
            <a:chOff x="1943007" y="2814881"/>
            <a:chExt cx="2760320" cy="1320651"/>
          </a:xfrm>
        </p:grpSpPr>
        <p:grpSp>
          <p:nvGrpSpPr>
            <p:cNvPr id="15" name="Group 14">
              <a:extLst>
                <a:ext uri="{FF2B5EF4-FFF2-40B4-BE49-F238E27FC236}">
                  <a16:creationId xmlns:a16="http://schemas.microsoft.com/office/drawing/2014/main" id="{F7E3C588-C330-4970-8BDF-53D03D9BCCB6}"/>
                </a:ext>
              </a:extLst>
            </p:cNvPr>
            <p:cNvGrpSpPr/>
            <p:nvPr/>
          </p:nvGrpSpPr>
          <p:grpSpPr>
            <a:xfrm>
              <a:off x="3532867" y="2814881"/>
              <a:ext cx="1170460" cy="358701"/>
              <a:chOff x="2945809" y="1700697"/>
              <a:chExt cx="1477904" cy="452921"/>
            </a:xfrm>
          </p:grpSpPr>
          <p:sp>
            <p:nvSpPr>
              <p:cNvPr id="67" name="Field gateway">
                <a:extLst>
                  <a:ext uri="{FF2B5EF4-FFF2-40B4-BE49-F238E27FC236}">
                    <a16:creationId xmlns:a16="http://schemas.microsoft.com/office/drawing/2014/main" id="{9EA3808E-05F7-4253-B948-8C4732EB6E59}"/>
                  </a:ext>
                </a:extLst>
              </p:cNvPr>
              <p:cNvSpPr/>
              <p:nvPr/>
            </p:nvSpPr>
            <p:spPr>
              <a:xfrm>
                <a:off x="2945809" y="1718299"/>
                <a:ext cx="135149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68" name="TextBox 67">
                <a:extLst>
                  <a:ext uri="{FF2B5EF4-FFF2-40B4-BE49-F238E27FC236}">
                    <a16:creationId xmlns:a16="http://schemas.microsoft.com/office/drawing/2014/main" id="{ED8D04DE-CD1B-44E2-BF4E-BEE5AF821FD3}"/>
                  </a:ext>
                </a:extLst>
              </p:cNvPr>
              <p:cNvSpPr txBox="1"/>
              <p:nvPr/>
            </p:nvSpPr>
            <p:spPr>
              <a:xfrm>
                <a:off x="3169705" y="1700697"/>
                <a:ext cx="1254008"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Power meter</a:t>
                </a:r>
                <a:endParaRPr lang="sv-SE" sz="900" dirty="0" err="1">
                  <a:solidFill>
                    <a:prstClr val="white"/>
                  </a:solidFill>
                  <a:latin typeface="Segoe UI Semibold" panose="020B0702040204020203" pitchFamily="34" charset="0"/>
                  <a:cs typeface="Segoe UI" pitchFamily="34" charset="0"/>
                </a:endParaRPr>
              </a:p>
            </p:txBody>
          </p:sp>
          <p:pic>
            <p:nvPicPr>
              <p:cNvPr id="69" name="Picture 68">
                <a:extLst>
                  <a:ext uri="{FF2B5EF4-FFF2-40B4-BE49-F238E27FC236}">
                    <a16:creationId xmlns:a16="http://schemas.microsoft.com/office/drawing/2014/main" id="{DFEE613C-A526-46F8-A9E7-4F2991950918}"/>
                  </a:ext>
                </a:extLst>
              </p:cNvPr>
              <p:cNvPicPr>
                <a:picLocks noChangeAspect="1"/>
              </p:cNvPicPr>
              <p:nvPr/>
            </p:nvPicPr>
            <p:blipFill>
              <a:blip r:embed="rId11"/>
              <a:stretch>
                <a:fillRect/>
              </a:stretch>
            </p:blipFill>
            <p:spPr>
              <a:xfrm>
                <a:off x="2994517" y="1781603"/>
                <a:ext cx="302960" cy="298010"/>
              </a:xfrm>
              <a:prstGeom prst="rect">
                <a:avLst/>
              </a:prstGeom>
            </p:spPr>
          </p:pic>
        </p:grpSp>
        <p:sp>
          <p:nvSpPr>
            <p:cNvPr id="19" name="Field gateway">
              <a:extLst>
                <a:ext uri="{FF2B5EF4-FFF2-40B4-BE49-F238E27FC236}">
                  <a16:creationId xmlns:a16="http://schemas.microsoft.com/office/drawing/2014/main" id="{07270CE8-F48C-401C-8738-A9B23233B886}"/>
                </a:ext>
              </a:extLst>
            </p:cNvPr>
            <p:cNvSpPr/>
            <p:nvPr/>
          </p:nvSpPr>
          <p:spPr>
            <a:xfrm>
              <a:off x="3333072" y="2979185"/>
              <a:ext cx="1070351" cy="34476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20" name="TextBox 19">
              <a:extLst>
                <a:ext uri="{FF2B5EF4-FFF2-40B4-BE49-F238E27FC236}">
                  <a16:creationId xmlns:a16="http://schemas.microsoft.com/office/drawing/2014/main" id="{B3F10485-48A4-469E-8999-3164280D70BF}"/>
                </a:ext>
              </a:extLst>
            </p:cNvPr>
            <p:cNvSpPr txBox="1"/>
            <p:nvPr/>
          </p:nvSpPr>
          <p:spPr>
            <a:xfrm>
              <a:off x="3474405" y="2941958"/>
              <a:ext cx="1192936"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Power meter</a:t>
              </a:r>
              <a:endParaRPr lang="sv-SE" sz="900" dirty="0" err="1">
                <a:solidFill>
                  <a:prstClr val="white"/>
                </a:solidFill>
                <a:latin typeface="Segoe UI Semibold" panose="020B0702040204020203" pitchFamily="34" charset="0"/>
                <a:cs typeface="Segoe UI" pitchFamily="34" charset="0"/>
              </a:endParaRPr>
            </a:p>
          </p:txBody>
        </p:sp>
        <p:pic>
          <p:nvPicPr>
            <p:cNvPr id="21" name="Picture 20">
              <a:extLst>
                <a:ext uri="{FF2B5EF4-FFF2-40B4-BE49-F238E27FC236}">
                  <a16:creationId xmlns:a16="http://schemas.microsoft.com/office/drawing/2014/main" id="{78E11633-8C5B-4F26-9ACB-9B87B99DEAE3}"/>
                </a:ext>
              </a:extLst>
            </p:cNvPr>
            <p:cNvPicPr>
              <a:picLocks noChangeAspect="1"/>
            </p:cNvPicPr>
            <p:nvPr/>
          </p:nvPicPr>
          <p:blipFill>
            <a:blip r:embed="rId11"/>
            <a:stretch>
              <a:fillRect/>
            </a:stretch>
          </p:blipFill>
          <p:spPr>
            <a:xfrm>
              <a:off x="3371647" y="3029320"/>
              <a:ext cx="239936" cy="236016"/>
            </a:xfrm>
            <a:prstGeom prst="rect">
              <a:avLst/>
            </a:prstGeom>
          </p:spPr>
        </p:pic>
        <p:cxnSp>
          <p:nvCxnSpPr>
            <p:cNvPr id="42" name="Connector: Elbow 41">
              <a:extLst>
                <a:ext uri="{FF2B5EF4-FFF2-40B4-BE49-F238E27FC236}">
                  <a16:creationId xmlns:a16="http://schemas.microsoft.com/office/drawing/2014/main" id="{5DF51755-6247-4144-ABF5-C8A314A693F5}"/>
                </a:ext>
              </a:extLst>
            </p:cNvPr>
            <p:cNvCxnSpPr>
              <a:stCxn id="17" idx="0"/>
              <a:endCxn id="19" idx="1"/>
            </p:cNvCxnSpPr>
            <p:nvPr/>
          </p:nvCxnSpPr>
          <p:spPr>
            <a:xfrm rot="5400000" flipH="1" flipV="1">
              <a:off x="2527842" y="2566731"/>
              <a:ext cx="220395" cy="1390065"/>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060158FC-188F-4215-A05A-9D23D5D85637}"/>
                </a:ext>
              </a:extLst>
            </p:cNvPr>
            <p:cNvCxnSpPr>
              <a:stCxn id="19" idx="2"/>
              <a:endCxn id="22" idx="0"/>
            </p:cNvCxnSpPr>
            <p:nvPr/>
          </p:nvCxnSpPr>
          <p:spPr>
            <a:xfrm>
              <a:off x="3868248" y="3323946"/>
              <a:ext cx="0" cy="81158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72" name="Group 171">
            <a:extLst>
              <a:ext uri="{FF2B5EF4-FFF2-40B4-BE49-F238E27FC236}">
                <a16:creationId xmlns:a16="http://schemas.microsoft.com/office/drawing/2014/main" id="{AFDE62BE-EF97-4A6D-803A-9D16EF705D16}"/>
              </a:ext>
            </a:extLst>
          </p:cNvPr>
          <p:cNvGrpSpPr/>
          <p:nvPr/>
        </p:nvGrpSpPr>
        <p:grpSpPr>
          <a:xfrm>
            <a:off x="3043392" y="4005929"/>
            <a:ext cx="1664555" cy="1164788"/>
            <a:chOff x="3043392" y="4005929"/>
            <a:chExt cx="1664555" cy="1164788"/>
          </a:xfrm>
        </p:grpSpPr>
        <p:grpSp>
          <p:nvGrpSpPr>
            <p:cNvPr id="164" name="Group 163">
              <a:extLst>
                <a:ext uri="{FF2B5EF4-FFF2-40B4-BE49-F238E27FC236}">
                  <a16:creationId xmlns:a16="http://schemas.microsoft.com/office/drawing/2014/main" id="{ABF71C2D-E451-4026-ABE7-53B9F032A2B2}"/>
                </a:ext>
              </a:extLst>
            </p:cNvPr>
            <p:cNvGrpSpPr/>
            <p:nvPr/>
          </p:nvGrpSpPr>
          <p:grpSpPr>
            <a:xfrm>
              <a:off x="3043392" y="4005929"/>
              <a:ext cx="1664555" cy="524560"/>
              <a:chOff x="3043392" y="4005929"/>
              <a:chExt cx="1664555" cy="524560"/>
            </a:xfrm>
          </p:grpSpPr>
          <p:grpSp>
            <p:nvGrpSpPr>
              <p:cNvPr id="16" name="Group 15">
                <a:extLst>
                  <a:ext uri="{FF2B5EF4-FFF2-40B4-BE49-F238E27FC236}">
                    <a16:creationId xmlns:a16="http://schemas.microsoft.com/office/drawing/2014/main" id="{73A026AA-0D9E-4604-B4E7-088BFF520DF0}"/>
                  </a:ext>
                </a:extLst>
              </p:cNvPr>
              <p:cNvGrpSpPr/>
              <p:nvPr/>
            </p:nvGrpSpPr>
            <p:grpSpPr>
              <a:xfrm>
                <a:off x="3543522" y="4005929"/>
                <a:ext cx="1164425" cy="346632"/>
                <a:chOff x="1341981" y="4494764"/>
                <a:chExt cx="1470284" cy="437681"/>
              </a:xfrm>
            </p:grpSpPr>
            <p:sp>
              <p:nvSpPr>
                <p:cNvPr id="64" name="Field gateway">
                  <a:extLst>
                    <a:ext uri="{FF2B5EF4-FFF2-40B4-BE49-F238E27FC236}">
                      <a16:creationId xmlns:a16="http://schemas.microsoft.com/office/drawing/2014/main" id="{7848ADE9-9AC9-4E6D-820B-7B167A67AEA5}"/>
                    </a:ext>
                  </a:extLst>
                </p:cNvPr>
                <p:cNvSpPr/>
                <p:nvPr/>
              </p:nvSpPr>
              <p:spPr>
                <a:xfrm>
                  <a:off x="1341981" y="4497126"/>
                  <a:ext cx="135149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65" name="TextBox 64">
                  <a:extLst>
                    <a:ext uri="{FF2B5EF4-FFF2-40B4-BE49-F238E27FC236}">
                      <a16:creationId xmlns:a16="http://schemas.microsoft.com/office/drawing/2014/main" id="{10023E3E-196E-4F46-8811-3F289D5011FF}"/>
                    </a:ext>
                  </a:extLst>
                </p:cNvPr>
                <p:cNvSpPr txBox="1"/>
                <p:nvPr/>
              </p:nvSpPr>
              <p:spPr>
                <a:xfrm>
                  <a:off x="1558257" y="4494764"/>
                  <a:ext cx="1254008"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Energy meter</a:t>
                  </a:r>
                  <a:endParaRPr lang="sv-SE" sz="900" dirty="0" err="1">
                    <a:solidFill>
                      <a:prstClr val="white"/>
                    </a:solidFill>
                    <a:latin typeface="Segoe UI Semibold" panose="020B0702040204020203" pitchFamily="34" charset="0"/>
                    <a:cs typeface="Segoe UI" pitchFamily="34" charset="0"/>
                  </a:endParaRPr>
                </a:p>
              </p:txBody>
            </p:sp>
            <p:pic>
              <p:nvPicPr>
                <p:cNvPr id="66" name="Picture 65">
                  <a:extLst>
                    <a:ext uri="{FF2B5EF4-FFF2-40B4-BE49-F238E27FC236}">
                      <a16:creationId xmlns:a16="http://schemas.microsoft.com/office/drawing/2014/main" id="{F4A81649-DF86-46C1-AEA1-BAB67CCF9FE4}"/>
                    </a:ext>
                  </a:extLst>
                </p:cNvPr>
                <p:cNvPicPr>
                  <a:picLocks noChangeAspect="1"/>
                </p:cNvPicPr>
                <p:nvPr/>
              </p:nvPicPr>
              <p:blipFill>
                <a:blip r:embed="rId11"/>
                <a:stretch>
                  <a:fillRect/>
                </a:stretch>
              </p:blipFill>
              <p:spPr>
                <a:xfrm>
                  <a:off x="1383069" y="4575670"/>
                  <a:ext cx="302960" cy="298010"/>
                </a:xfrm>
                <a:prstGeom prst="rect">
                  <a:avLst/>
                </a:prstGeom>
              </p:spPr>
            </p:pic>
          </p:grpSp>
          <p:sp>
            <p:nvSpPr>
              <p:cNvPr id="22" name="Field gateway">
                <a:extLst>
                  <a:ext uri="{FF2B5EF4-FFF2-40B4-BE49-F238E27FC236}">
                    <a16:creationId xmlns:a16="http://schemas.microsoft.com/office/drawing/2014/main" id="{7232B6AC-CFA2-4B49-9089-013DC4A1C72D}"/>
                  </a:ext>
                </a:extLst>
              </p:cNvPr>
              <p:cNvSpPr/>
              <p:nvPr/>
            </p:nvSpPr>
            <p:spPr>
              <a:xfrm>
                <a:off x="3333072" y="4135532"/>
                <a:ext cx="1070351" cy="34476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23" name="TextBox 22">
                <a:extLst>
                  <a:ext uri="{FF2B5EF4-FFF2-40B4-BE49-F238E27FC236}">
                    <a16:creationId xmlns:a16="http://schemas.microsoft.com/office/drawing/2014/main" id="{6E856298-9D2D-4462-864D-5C41FEE0AE6B}"/>
                  </a:ext>
                </a:extLst>
              </p:cNvPr>
              <p:cNvSpPr txBox="1"/>
              <p:nvPr/>
            </p:nvSpPr>
            <p:spPr>
              <a:xfrm>
                <a:off x="3468370" y="4110374"/>
                <a:ext cx="1201675"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Energy meter</a:t>
                </a:r>
                <a:endParaRPr lang="sv-SE" sz="900" dirty="0" err="1">
                  <a:solidFill>
                    <a:prstClr val="white"/>
                  </a:solidFill>
                  <a:latin typeface="Segoe UI Semibold" panose="020B0702040204020203" pitchFamily="34" charset="0"/>
                  <a:cs typeface="Segoe UI" pitchFamily="34" charset="0"/>
                </a:endParaRPr>
              </a:p>
            </p:txBody>
          </p:sp>
          <p:pic>
            <p:nvPicPr>
              <p:cNvPr id="24" name="Picture 23">
                <a:extLst>
                  <a:ext uri="{FF2B5EF4-FFF2-40B4-BE49-F238E27FC236}">
                    <a16:creationId xmlns:a16="http://schemas.microsoft.com/office/drawing/2014/main" id="{90CA2EF3-C81E-4E65-B4FE-E517E6D3760F}"/>
                  </a:ext>
                </a:extLst>
              </p:cNvPr>
              <p:cNvPicPr>
                <a:picLocks noChangeAspect="1"/>
              </p:cNvPicPr>
              <p:nvPr/>
            </p:nvPicPr>
            <p:blipFill>
              <a:blip r:embed="rId11"/>
              <a:stretch>
                <a:fillRect/>
              </a:stretch>
            </p:blipFill>
            <p:spPr>
              <a:xfrm>
                <a:off x="3365612" y="4197737"/>
                <a:ext cx="239936" cy="236016"/>
              </a:xfrm>
              <a:prstGeom prst="rect">
                <a:avLst/>
              </a:prstGeom>
            </p:spPr>
          </p:pic>
          <p:cxnSp>
            <p:nvCxnSpPr>
              <p:cNvPr id="34" name="Straight Connector 33">
                <a:extLst>
                  <a:ext uri="{FF2B5EF4-FFF2-40B4-BE49-F238E27FC236}">
                    <a16:creationId xmlns:a16="http://schemas.microsoft.com/office/drawing/2014/main" id="{060FAEA0-C529-4925-B355-D7644A4443FA}"/>
                  </a:ext>
                </a:extLst>
              </p:cNvPr>
              <p:cNvCxnSpPr>
                <a:stCxn id="22" idx="1"/>
                <a:endCxn id="32" idx="3"/>
              </p:cNvCxnSpPr>
              <p:nvPr/>
            </p:nvCxnSpPr>
            <p:spPr>
              <a:xfrm flipH="1" flipV="1">
                <a:off x="3043392" y="4304527"/>
                <a:ext cx="289680" cy="3386"/>
              </a:xfrm>
              <a:prstGeom prst="line">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44" name="Connector: Elbow 43">
              <a:extLst>
                <a:ext uri="{FF2B5EF4-FFF2-40B4-BE49-F238E27FC236}">
                  <a16:creationId xmlns:a16="http://schemas.microsoft.com/office/drawing/2014/main" id="{3BE771B0-40AC-433D-A0FF-233A123BC7C8}"/>
                </a:ext>
              </a:extLst>
            </p:cNvPr>
            <p:cNvCxnSpPr>
              <a:cxnSpLocks/>
              <a:stCxn id="22" idx="2"/>
            </p:cNvCxnSpPr>
            <p:nvPr/>
          </p:nvCxnSpPr>
          <p:spPr>
            <a:xfrm rot="16200000" flipH="1">
              <a:off x="3523992" y="4824548"/>
              <a:ext cx="690425" cy="1914"/>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21" name="Group 120">
            <a:extLst>
              <a:ext uri="{FF2B5EF4-FFF2-40B4-BE49-F238E27FC236}">
                <a16:creationId xmlns:a16="http://schemas.microsoft.com/office/drawing/2014/main" id="{7AF5F072-79AD-4389-A5BF-8E39FF3907DE}"/>
              </a:ext>
            </a:extLst>
          </p:cNvPr>
          <p:cNvGrpSpPr/>
          <p:nvPr/>
        </p:nvGrpSpPr>
        <p:grpSpPr>
          <a:xfrm>
            <a:off x="3496802" y="2820260"/>
            <a:ext cx="5312572" cy="3621627"/>
            <a:chOff x="3496802" y="2820260"/>
            <a:chExt cx="5312572" cy="3621627"/>
          </a:xfrm>
        </p:grpSpPr>
        <p:sp>
          <p:nvSpPr>
            <p:cNvPr id="122" name="IoT">
              <a:extLst>
                <a:ext uri="{FF2B5EF4-FFF2-40B4-BE49-F238E27FC236}">
                  <a16:creationId xmlns:a16="http://schemas.microsoft.com/office/drawing/2014/main" id="{7DD60912-03D5-4D3D-8D53-AC9DD956FA5B}"/>
                </a:ext>
              </a:extLst>
            </p:cNvPr>
            <p:cNvSpPr/>
            <p:nvPr/>
          </p:nvSpPr>
          <p:spPr>
            <a:xfrm>
              <a:off x="5373579" y="2828821"/>
              <a:ext cx="1383798" cy="3613066"/>
            </a:xfrm>
            <a:prstGeom prst="rect">
              <a:avLst/>
            </a:prstGeom>
            <a:solidFill>
              <a:schemeClr val="bg2"/>
            </a:solidFill>
            <a:ln w="3175">
              <a:solidFill>
                <a:schemeClr val="accent3"/>
              </a:solidFill>
              <a:headEnd type="none" w="med" len="med"/>
              <a:tailEnd type="none" w="med" len="med"/>
            </a:ln>
            <a:effectLst>
              <a:glow rad="101600">
                <a:schemeClr val="accent6">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200" dirty="0">
                  <a:solidFill>
                    <a:prstClr val="white"/>
                  </a:solidFill>
                  <a:latin typeface="Segoe UI Semibold" panose="020B0702040204020203" pitchFamily="34" charset="0"/>
                  <a:ea typeface="Segoe UI" pitchFamily="34" charset="0"/>
                  <a:cs typeface="Segoe UI" pitchFamily="34" charset="0"/>
                </a:rPr>
                <a:t>IoT Hub</a:t>
              </a:r>
            </a:p>
          </p:txBody>
        </p:sp>
        <p:grpSp>
          <p:nvGrpSpPr>
            <p:cNvPr id="123" name="Group 122">
              <a:extLst>
                <a:ext uri="{FF2B5EF4-FFF2-40B4-BE49-F238E27FC236}">
                  <a16:creationId xmlns:a16="http://schemas.microsoft.com/office/drawing/2014/main" id="{68B583CA-E74E-4C30-A1B5-FC55B8E63DF2}"/>
                </a:ext>
              </a:extLst>
            </p:cNvPr>
            <p:cNvGrpSpPr/>
            <p:nvPr/>
          </p:nvGrpSpPr>
          <p:grpSpPr>
            <a:xfrm>
              <a:off x="5451579" y="4153694"/>
              <a:ext cx="1242302" cy="619458"/>
              <a:chOff x="10326090" y="1095876"/>
              <a:chExt cx="1242302" cy="619458"/>
            </a:xfrm>
          </p:grpSpPr>
          <p:sp>
            <p:nvSpPr>
              <p:cNvPr id="152" name="Rectangle 151">
                <a:extLst>
                  <a:ext uri="{FF2B5EF4-FFF2-40B4-BE49-F238E27FC236}">
                    <a16:creationId xmlns:a16="http://schemas.microsoft.com/office/drawing/2014/main" id="{C03A7466-60FE-4116-AF83-FE042FF768EF}"/>
                  </a:ext>
                </a:extLst>
              </p:cNvPr>
              <p:cNvSpPr/>
              <p:nvPr/>
            </p:nvSpPr>
            <p:spPr bwMode="auto">
              <a:xfrm>
                <a:off x="10326090" y="1095876"/>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53" name="Picture 152">
                <a:extLst>
                  <a:ext uri="{FF2B5EF4-FFF2-40B4-BE49-F238E27FC236}">
                    <a16:creationId xmlns:a16="http://schemas.microsoft.com/office/drawing/2014/main" id="{927C64D4-34EB-4C77-9DEB-DCB192C63E17}"/>
                  </a:ext>
                </a:extLst>
              </p:cNvPr>
              <p:cNvPicPr>
                <a:picLocks noChangeAspect="1"/>
              </p:cNvPicPr>
              <p:nvPr/>
            </p:nvPicPr>
            <p:blipFill>
              <a:blip r:embed="rId12"/>
              <a:stretch>
                <a:fillRect/>
              </a:stretch>
            </p:blipFill>
            <p:spPr>
              <a:xfrm>
                <a:off x="10728776" y="1203220"/>
                <a:ext cx="401966" cy="401966"/>
              </a:xfrm>
              <a:prstGeom prst="rect">
                <a:avLst/>
              </a:prstGeom>
            </p:spPr>
          </p:pic>
        </p:grpSp>
        <p:grpSp>
          <p:nvGrpSpPr>
            <p:cNvPr id="124" name="Group 123">
              <a:extLst>
                <a:ext uri="{FF2B5EF4-FFF2-40B4-BE49-F238E27FC236}">
                  <a16:creationId xmlns:a16="http://schemas.microsoft.com/office/drawing/2014/main" id="{7F995073-E3B3-433B-96BE-331CEBC395C5}"/>
                </a:ext>
              </a:extLst>
            </p:cNvPr>
            <p:cNvGrpSpPr/>
            <p:nvPr/>
          </p:nvGrpSpPr>
          <p:grpSpPr>
            <a:xfrm>
              <a:off x="5451579" y="4928163"/>
              <a:ext cx="1242302" cy="619458"/>
              <a:chOff x="5451579" y="5024696"/>
              <a:chExt cx="1242302" cy="619458"/>
            </a:xfrm>
          </p:grpSpPr>
          <p:sp>
            <p:nvSpPr>
              <p:cNvPr id="150" name="Rectangle 149">
                <a:extLst>
                  <a:ext uri="{FF2B5EF4-FFF2-40B4-BE49-F238E27FC236}">
                    <a16:creationId xmlns:a16="http://schemas.microsoft.com/office/drawing/2014/main" id="{6EEF4E7F-D060-46A8-BC6D-FB6ED6904D40}"/>
                  </a:ext>
                </a:extLst>
              </p:cNvPr>
              <p:cNvSpPr/>
              <p:nvPr/>
            </p:nvSpPr>
            <p:spPr bwMode="auto">
              <a:xfrm>
                <a:off x="5451579" y="5024696"/>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51" name="Picture 150">
                <a:extLst>
                  <a:ext uri="{FF2B5EF4-FFF2-40B4-BE49-F238E27FC236}">
                    <a16:creationId xmlns:a16="http://schemas.microsoft.com/office/drawing/2014/main" id="{23B4D7D2-232D-4A6C-9405-A19536DD7565}"/>
                  </a:ext>
                </a:extLst>
              </p:cNvPr>
              <p:cNvPicPr>
                <a:picLocks noChangeAspect="1"/>
              </p:cNvPicPr>
              <p:nvPr/>
            </p:nvPicPr>
            <p:blipFill>
              <a:blip r:embed="rId13"/>
              <a:stretch>
                <a:fillRect/>
              </a:stretch>
            </p:blipFill>
            <p:spPr>
              <a:xfrm>
                <a:off x="5849421" y="5128470"/>
                <a:ext cx="401966" cy="401966"/>
              </a:xfrm>
              <a:prstGeom prst="rect">
                <a:avLst/>
              </a:prstGeom>
            </p:spPr>
          </p:pic>
        </p:grpSp>
        <p:grpSp>
          <p:nvGrpSpPr>
            <p:cNvPr id="125" name="Group 124">
              <a:extLst>
                <a:ext uri="{FF2B5EF4-FFF2-40B4-BE49-F238E27FC236}">
                  <a16:creationId xmlns:a16="http://schemas.microsoft.com/office/drawing/2014/main" id="{316363D5-5EE7-4EA8-8A3B-C4C3A7B6B498}"/>
                </a:ext>
              </a:extLst>
            </p:cNvPr>
            <p:cNvGrpSpPr/>
            <p:nvPr/>
          </p:nvGrpSpPr>
          <p:grpSpPr>
            <a:xfrm>
              <a:off x="5451579" y="3379225"/>
              <a:ext cx="1242302" cy="619458"/>
              <a:chOff x="5421099" y="3354753"/>
              <a:chExt cx="1242302" cy="619458"/>
            </a:xfrm>
          </p:grpSpPr>
          <p:sp>
            <p:nvSpPr>
              <p:cNvPr id="148" name="Rectangle 147">
                <a:extLst>
                  <a:ext uri="{FF2B5EF4-FFF2-40B4-BE49-F238E27FC236}">
                    <a16:creationId xmlns:a16="http://schemas.microsoft.com/office/drawing/2014/main" id="{D8B0C3E9-E777-425F-829C-8ABF8F7AC757}"/>
                  </a:ext>
                </a:extLst>
              </p:cNvPr>
              <p:cNvSpPr/>
              <p:nvPr/>
            </p:nvSpPr>
            <p:spPr bwMode="auto">
              <a:xfrm>
                <a:off x="5421099" y="3354753"/>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49" name="Picture 148">
                <a:extLst>
                  <a:ext uri="{FF2B5EF4-FFF2-40B4-BE49-F238E27FC236}">
                    <a16:creationId xmlns:a16="http://schemas.microsoft.com/office/drawing/2014/main" id="{234DDAEA-ECEF-458D-8B46-38635E61280C}"/>
                  </a:ext>
                </a:extLst>
              </p:cNvPr>
              <p:cNvPicPr>
                <a:picLocks noChangeAspect="1"/>
              </p:cNvPicPr>
              <p:nvPr/>
            </p:nvPicPr>
            <p:blipFill>
              <a:blip r:embed="rId14"/>
              <a:stretch>
                <a:fillRect/>
              </a:stretch>
            </p:blipFill>
            <p:spPr>
              <a:xfrm>
                <a:off x="5837962" y="3424886"/>
                <a:ext cx="400655" cy="488905"/>
              </a:xfrm>
              <a:prstGeom prst="rect">
                <a:avLst/>
              </a:prstGeom>
            </p:spPr>
          </p:pic>
        </p:grpSp>
        <p:pic>
          <p:nvPicPr>
            <p:cNvPr id="126" name="Picture 125">
              <a:extLst>
                <a:ext uri="{FF2B5EF4-FFF2-40B4-BE49-F238E27FC236}">
                  <a16:creationId xmlns:a16="http://schemas.microsoft.com/office/drawing/2014/main" id="{051D2B55-423F-45E0-97F2-E9ED6B5DAB96}"/>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483263" y="2866364"/>
              <a:ext cx="225642" cy="225642"/>
            </a:xfrm>
            <a:prstGeom prst="rect">
              <a:avLst/>
            </a:prstGeom>
          </p:spPr>
        </p:pic>
        <p:grpSp>
          <p:nvGrpSpPr>
            <p:cNvPr id="127" name="Group 126">
              <a:extLst>
                <a:ext uri="{FF2B5EF4-FFF2-40B4-BE49-F238E27FC236}">
                  <a16:creationId xmlns:a16="http://schemas.microsoft.com/office/drawing/2014/main" id="{2AEA0A26-FCE1-4879-A1B7-67DC99FDFD68}"/>
                </a:ext>
              </a:extLst>
            </p:cNvPr>
            <p:cNvGrpSpPr/>
            <p:nvPr/>
          </p:nvGrpSpPr>
          <p:grpSpPr>
            <a:xfrm>
              <a:off x="5451579" y="5702631"/>
              <a:ext cx="1242302" cy="619458"/>
              <a:chOff x="2748370" y="4229726"/>
              <a:chExt cx="1242302" cy="619458"/>
            </a:xfrm>
          </p:grpSpPr>
          <p:sp>
            <p:nvSpPr>
              <p:cNvPr id="146" name="Rectangle 145">
                <a:extLst>
                  <a:ext uri="{FF2B5EF4-FFF2-40B4-BE49-F238E27FC236}">
                    <a16:creationId xmlns:a16="http://schemas.microsoft.com/office/drawing/2014/main" id="{E97BFF82-996B-4298-A0B6-A3B09630771F}"/>
                  </a:ext>
                </a:extLst>
              </p:cNvPr>
              <p:cNvSpPr/>
              <p:nvPr/>
            </p:nvSpPr>
            <p:spPr bwMode="auto">
              <a:xfrm>
                <a:off x="2748370" y="4229726"/>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47" name="Picture 146">
                <a:extLst>
                  <a:ext uri="{FF2B5EF4-FFF2-40B4-BE49-F238E27FC236}">
                    <a16:creationId xmlns:a16="http://schemas.microsoft.com/office/drawing/2014/main" id="{04284867-A98E-41BC-968A-7C2575DEA038}"/>
                  </a:ext>
                </a:extLst>
              </p:cNvPr>
              <p:cNvPicPr>
                <a:picLocks noChangeAspect="1"/>
              </p:cNvPicPr>
              <p:nvPr/>
            </p:nvPicPr>
            <p:blipFill>
              <a:blip r:embed="rId16"/>
              <a:stretch>
                <a:fillRect/>
              </a:stretch>
            </p:blipFill>
            <p:spPr>
              <a:xfrm>
                <a:off x="3155964" y="4294230"/>
                <a:ext cx="424677" cy="490449"/>
              </a:xfrm>
              <a:prstGeom prst="rect">
                <a:avLst/>
              </a:prstGeom>
            </p:spPr>
          </p:pic>
        </p:grpSp>
        <p:grpSp>
          <p:nvGrpSpPr>
            <p:cNvPr id="128" name="Group 127">
              <a:extLst>
                <a:ext uri="{FF2B5EF4-FFF2-40B4-BE49-F238E27FC236}">
                  <a16:creationId xmlns:a16="http://schemas.microsoft.com/office/drawing/2014/main" id="{80DAF6CB-8AD8-4BDE-BAF4-B02D9B546F8C}"/>
                </a:ext>
              </a:extLst>
            </p:cNvPr>
            <p:cNvGrpSpPr/>
            <p:nvPr/>
          </p:nvGrpSpPr>
          <p:grpSpPr>
            <a:xfrm>
              <a:off x="7157018" y="2820260"/>
              <a:ext cx="1652356" cy="773253"/>
              <a:chOff x="5887432" y="1455632"/>
              <a:chExt cx="2096198" cy="980958"/>
            </a:xfrm>
            <a:effectLst>
              <a:glow rad="101600">
                <a:schemeClr val="accent6">
                  <a:satMod val="175000"/>
                  <a:alpha val="40000"/>
                </a:schemeClr>
              </a:glow>
            </a:effectLst>
          </p:grpSpPr>
          <p:sp>
            <p:nvSpPr>
              <p:cNvPr id="144" name="Field gateway">
                <a:extLst>
                  <a:ext uri="{FF2B5EF4-FFF2-40B4-BE49-F238E27FC236}">
                    <a16:creationId xmlns:a16="http://schemas.microsoft.com/office/drawing/2014/main" id="{69E343DE-5C08-4A40-A807-6FBB414F08D9}"/>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des.</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vattenfall.com</a:t>
                </a:r>
              </a:p>
            </p:txBody>
          </p:sp>
          <p:sp>
            <p:nvSpPr>
              <p:cNvPr id="145" name="TextBox 144">
                <a:extLst>
                  <a:ext uri="{FF2B5EF4-FFF2-40B4-BE49-F238E27FC236}">
                    <a16:creationId xmlns:a16="http://schemas.microsoft.com/office/drawing/2014/main" id="{4DAF0447-CDF2-4A78-BDC8-3A409EC0F1B9}"/>
                  </a:ext>
                </a:extLst>
              </p:cNvPr>
              <p:cNvSpPr txBox="1"/>
              <p:nvPr/>
            </p:nvSpPr>
            <p:spPr>
              <a:xfrm>
                <a:off x="6458850" y="1621896"/>
                <a:ext cx="1298163" cy="568103"/>
              </a:xfrm>
              <a:prstGeom prst="rect">
                <a:avLst/>
              </a:prstGeom>
              <a:noFill/>
            </p:spPr>
            <p:txBody>
              <a:bodyPr wrap="square" lIns="182880" tIns="146304" rIns="182880" bIns="146304" rtlCol="0">
                <a:spAutoFit/>
              </a:bodyPr>
              <a:lstStyle/>
              <a:p>
                <a:pPr>
                  <a:lnSpc>
                    <a:spcPct val="90000"/>
                  </a:lnSpc>
                  <a:spcAft>
                    <a:spcPts val="600"/>
                  </a:spcAft>
                </a:pPr>
                <a:r>
                  <a:rPr lang="sv-SE" sz="1100" dirty="0">
                    <a:gradFill>
                      <a:gsLst>
                        <a:gs pos="2917">
                          <a:schemeClr val="tx1"/>
                        </a:gs>
                        <a:gs pos="30000">
                          <a:schemeClr val="tx1"/>
                        </a:gs>
                      </a:gsLst>
                      <a:lin ang="5400000" scaled="0"/>
                    </a:gradFill>
                  </a:rPr>
                  <a:t>DES Portal</a:t>
                </a:r>
                <a:endParaRPr lang="sv-SE" sz="2000" dirty="0">
                  <a:gradFill>
                    <a:gsLst>
                      <a:gs pos="2917">
                        <a:schemeClr val="tx1"/>
                      </a:gs>
                      <a:gs pos="30000">
                        <a:schemeClr val="tx1"/>
                      </a:gs>
                    </a:gsLst>
                    <a:lin ang="5400000" scaled="0"/>
                  </a:gradFill>
                </a:endParaRPr>
              </a:p>
            </p:txBody>
          </p:sp>
        </p:grpSp>
        <p:pic>
          <p:nvPicPr>
            <p:cNvPr id="129" name="Picture 128">
              <a:extLst>
                <a:ext uri="{FF2B5EF4-FFF2-40B4-BE49-F238E27FC236}">
                  <a16:creationId xmlns:a16="http://schemas.microsoft.com/office/drawing/2014/main" id="{1C0DA07D-AC8A-44A9-B86E-60F605FCB5EB}"/>
                </a:ext>
              </a:extLst>
            </p:cNvPr>
            <p:cNvPicPr>
              <a:picLocks noChangeAspect="1"/>
            </p:cNvPicPr>
            <p:nvPr/>
          </p:nvPicPr>
          <p:blipFill>
            <a:blip r:embed="rId17"/>
            <a:stretch>
              <a:fillRect/>
            </a:stretch>
          </p:blipFill>
          <p:spPr>
            <a:xfrm>
              <a:off x="7300444" y="3017970"/>
              <a:ext cx="313490" cy="314514"/>
            </a:xfrm>
            <a:prstGeom prst="rect">
              <a:avLst/>
            </a:prstGeom>
          </p:spPr>
        </p:pic>
        <p:cxnSp>
          <p:nvCxnSpPr>
            <p:cNvPr id="130" name="Connector: Elbow 129">
              <a:extLst>
                <a:ext uri="{FF2B5EF4-FFF2-40B4-BE49-F238E27FC236}">
                  <a16:creationId xmlns:a16="http://schemas.microsoft.com/office/drawing/2014/main" id="{7602895D-81D9-4B5E-B3D1-F6A0A8DEBB9F}"/>
                </a:ext>
              </a:extLst>
            </p:cNvPr>
            <p:cNvCxnSpPr>
              <a:cxnSpLocks/>
              <a:stCxn id="144" idx="1"/>
            </p:cNvCxnSpPr>
            <p:nvPr/>
          </p:nvCxnSpPr>
          <p:spPr>
            <a:xfrm rot="10800000" flipV="1">
              <a:off x="6693882" y="3206887"/>
              <a:ext cx="463137" cy="458654"/>
            </a:xfrm>
            <a:prstGeom prst="bentConnector3">
              <a:avLst>
                <a:gd name="adj1" fmla="val 50000"/>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1" name="Rectangle 130">
              <a:extLst>
                <a:ext uri="{FF2B5EF4-FFF2-40B4-BE49-F238E27FC236}">
                  <a16:creationId xmlns:a16="http://schemas.microsoft.com/office/drawing/2014/main" id="{9E486D0B-D8B9-4FC2-A11D-AC2308E4296E}"/>
                </a:ext>
              </a:extLst>
            </p:cNvPr>
            <p:cNvSpPr/>
            <p:nvPr/>
          </p:nvSpPr>
          <p:spPr bwMode="auto">
            <a:xfrm>
              <a:off x="4046242" y="5348752"/>
              <a:ext cx="187864" cy="13334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132" name="Group 131">
              <a:extLst>
                <a:ext uri="{FF2B5EF4-FFF2-40B4-BE49-F238E27FC236}">
                  <a16:creationId xmlns:a16="http://schemas.microsoft.com/office/drawing/2014/main" id="{AAACAE62-3145-4E75-99B1-575E5A2008DC}"/>
                </a:ext>
              </a:extLst>
            </p:cNvPr>
            <p:cNvGrpSpPr/>
            <p:nvPr/>
          </p:nvGrpSpPr>
          <p:grpSpPr>
            <a:xfrm>
              <a:off x="3496802" y="5170718"/>
              <a:ext cx="746720" cy="947184"/>
              <a:chOff x="2120696" y="4192857"/>
              <a:chExt cx="942860" cy="1195980"/>
            </a:xfrm>
            <a:effectLst>
              <a:glow rad="101600">
                <a:schemeClr val="accent6">
                  <a:satMod val="175000"/>
                  <a:alpha val="40000"/>
                </a:schemeClr>
              </a:glow>
            </a:effectLst>
          </p:grpSpPr>
          <p:sp>
            <p:nvSpPr>
              <p:cNvPr id="142" name="Field gateway">
                <a:extLst>
                  <a:ext uri="{FF2B5EF4-FFF2-40B4-BE49-F238E27FC236}">
                    <a16:creationId xmlns:a16="http://schemas.microsoft.com/office/drawing/2014/main" id="{C1912DE5-E142-4AD6-9480-249B11456402}"/>
                  </a:ext>
                </a:extLst>
              </p:cNvPr>
              <p:cNvSpPr/>
              <p:nvPr/>
            </p:nvSpPr>
            <p:spPr>
              <a:xfrm>
                <a:off x="2120696" y="4192857"/>
                <a:ext cx="942860" cy="119598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Field Gateway</a:t>
                </a:r>
              </a:p>
            </p:txBody>
          </p:sp>
          <p:pic>
            <p:nvPicPr>
              <p:cNvPr id="143" name="Picture 142">
                <a:extLst>
                  <a:ext uri="{FF2B5EF4-FFF2-40B4-BE49-F238E27FC236}">
                    <a16:creationId xmlns:a16="http://schemas.microsoft.com/office/drawing/2014/main" id="{813981BE-63BF-414A-B2D3-8C5AC5959C3A}"/>
                  </a:ext>
                </a:extLst>
              </p:cNvPr>
              <p:cNvPicPr>
                <a:picLocks noChangeAspect="1"/>
              </p:cNvPicPr>
              <p:nvPr/>
            </p:nvPicPr>
            <p:blipFill>
              <a:blip r:embed="rId18"/>
              <a:stretch>
                <a:fillRect/>
              </a:stretch>
            </p:blipFill>
            <p:spPr>
              <a:xfrm>
                <a:off x="2226557" y="4356248"/>
                <a:ext cx="707143" cy="507536"/>
              </a:xfrm>
              <a:prstGeom prst="rect">
                <a:avLst/>
              </a:prstGeom>
            </p:spPr>
          </p:pic>
        </p:grpSp>
        <p:grpSp>
          <p:nvGrpSpPr>
            <p:cNvPr id="133" name="Group 132">
              <a:extLst>
                <a:ext uri="{FF2B5EF4-FFF2-40B4-BE49-F238E27FC236}">
                  <a16:creationId xmlns:a16="http://schemas.microsoft.com/office/drawing/2014/main" id="{A4827443-D84A-44CA-AC4B-1E5ADCBB4D28}"/>
                </a:ext>
              </a:extLst>
            </p:cNvPr>
            <p:cNvGrpSpPr/>
            <p:nvPr/>
          </p:nvGrpSpPr>
          <p:grpSpPr>
            <a:xfrm>
              <a:off x="7157018" y="5622765"/>
              <a:ext cx="1652356" cy="773252"/>
              <a:chOff x="5887432" y="1455632"/>
              <a:chExt cx="2096198" cy="980958"/>
            </a:xfrm>
            <a:effectLst>
              <a:glow rad="101600">
                <a:schemeClr val="accent6">
                  <a:satMod val="175000"/>
                  <a:alpha val="40000"/>
                </a:schemeClr>
              </a:glow>
            </a:effectLst>
          </p:grpSpPr>
          <p:grpSp>
            <p:nvGrpSpPr>
              <p:cNvPr id="138" name="Group 137">
                <a:extLst>
                  <a:ext uri="{FF2B5EF4-FFF2-40B4-BE49-F238E27FC236}">
                    <a16:creationId xmlns:a16="http://schemas.microsoft.com/office/drawing/2014/main" id="{3125732F-CDF3-4DFB-B0CA-9144A7C1FABC}"/>
                  </a:ext>
                </a:extLst>
              </p:cNvPr>
              <p:cNvGrpSpPr/>
              <p:nvPr/>
            </p:nvGrpSpPr>
            <p:grpSpPr>
              <a:xfrm>
                <a:off x="5887432" y="1455632"/>
                <a:ext cx="2096198" cy="980958"/>
                <a:chOff x="5887432" y="1455632"/>
                <a:chExt cx="2096198" cy="980958"/>
              </a:xfrm>
            </p:grpSpPr>
            <p:sp>
              <p:nvSpPr>
                <p:cNvPr id="140" name="Field gateway">
                  <a:extLst>
                    <a:ext uri="{FF2B5EF4-FFF2-40B4-BE49-F238E27FC236}">
                      <a16:creationId xmlns:a16="http://schemas.microsoft.com/office/drawing/2014/main" id="{B05BBC09-8D76-47C6-A33E-3D61CBF76AB3}"/>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vattenfall.</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microServiceBus.com</a:t>
                  </a:r>
                </a:p>
              </p:txBody>
            </p:sp>
            <p:pic>
              <p:nvPicPr>
                <p:cNvPr id="141" name="Picture 140">
                  <a:extLst>
                    <a:ext uri="{FF2B5EF4-FFF2-40B4-BE49-F238E27FC236}">
                      <a16:creationId xmlns:a16="http://schemas.microsoft.com/office/drawing/2014/main" id="{2526FCAC-83D0-48F2-B969-DC0D548B6265}"/>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070476" y="1589760"/>
                  <a:ext cx="492246" cy="492246"/>
                </a:xfrm>
                <a:prstGeom prst="rect">
                  <a:avLst/>
                </a:prstGeom>
              </p:spPr>
            </p:pic>
          </p:grpSp>
          <p:sp>
            <p:nvSpPr>
              <p:cNvPr id="139" name="TextBox 138">
                <a:extLst>
                  <a:ext uri="{FF2B5EF4-FFF2-40B4-BE49-F238E27FC236}">
                    <a16:creationId xmlns:a16="http://schemas.microsoft.com/office/drawing/2014/main" id="{C1ECDAFE-01D8-43D4-BF0E-92CED89656DE}"/>
                  </a:ext>
                </a:extLst>
              </p:cNvPr>
              <p:cNvSpPr txBox="1"/>
              <p:nvPr/>
            </p:nvSpPr>
            <p:spPr>
              <a:xfrm>
                <a:off x="6442088" y="1479274"/>
                <a:ext cx="1534131" cy="761377"/>
              </a:xfrm>
              <a:prstGeom prst="rect">
                <a:avLst/>
              </a:prstGeom>
              <a:noFill/>
            </p:spPr>
            <p:txBody>
              <a:bodyPr wrap="square" lIns="182880" tIns="146304" rIns="182880" bIns="146304" rtlCol="0">
                <a:spAutoFit/>
              </a:bodyPr>
              <a:lstStyle/>
              <a:p>
                <a:pPr>
                  <a:lnSpc>
                    <a:spcPct val="90000"/>
                  </a:lnSpc>
                  <a:spcAft>
                    <a:spcPts val="600"/>
                  </a:spcAft>
                </a:pPr>
                <a:r>
                  <a:rPr lang="sv-SE" sz="1100" dirty="0" err="1">
                    <a:gradFill>
                      <a:gsLst>
                        <a:gs pos="2917">
                          <a:schemeClr val="tx1"/>
                        </a:gs>
                        <a:gs pos="30000">
                          <a:schemeClr val="tx1"/>
                        </a:gs>
                      </a:gsLst>
                      <a:lin ang="5400000" scaled="0"/>
                    </a:gradFill>
                  </a:rPr>
                  <a:t>Device</a:t>
                </a:r>
                <a:r>
                  <a:rPr lang="sv-SE" sz="1100" dirty="0">
                    <a:gradFill>
                      <a:gsLst>
                        <a:gs pos="2917">
                          <a:schemeClr val="tx1"/>
                        </a:gs>
                        <a:gs pos="30000">
                          <a:schemeClr val="tx1"/>
                        </a:gs>
                      </a:gsLst>
                      <a:lin ang="5400000" scaled="0"/>
                    </a:gradFill>
                  </a:rPr>
                  <a:t> Management</a:t>
                </a:r>
                <a:endParaRPr lang="sv-SE" sz="2000" dirty="0">
                  <a:gradFill>
                    <a:gsLst>
                      <a:gs pos="2917">
                        <a:schemeClr val="tx1"/>
                      </a:gs>
                      <a:gs pos="30000">
                        <a:schemeClr val="tx1"/>
                      </a:gs>
                    </a:gsLst>
                    <a:lin ang="5400000" scaled="0"/>
                  </a:gradFill>
                </a:endParaRPr>
              </a:p>
            </p:txBody>
          </p:sp>
        </p:grpSp>
        <p:cxnSp>
          <p:nvCxnSpPr>
            <p:cNvPr id="134" name="Connector: Elbow 133">
              <a:extLst>
                <a:ext uri="{FF2B5EF4-FFF2-40B4-BE49-F238E27FC236}">
                  <a16:creationId xmlns:a16="http://schemas.microsoft.com/office/drawing/2014/main" id="{57E74E4F-8141-452B-B01E-506D06A6B37C}"/>
                </a:ext>
              </a:extLst>
            </p:cNvPr>
            <p:cNvCxnSpPr>
              <a:stCxn id="140" idx="2"/>
              <a:endCxn id="142" idx="2"/>
            </p:cNvCxnSpPr>
            <p:nvPr/>
          </p:nvCxnSpPr>
          <p:spPr>
            <a:xfrm rot="5400000" flipH="1">
              <a:off x="5787619" y="4200445"/>
              <a:ext cx="278119" cy="4113034"/>
            </a:xfrm>
            <a:prstGeom prst="bentConnector3">
              <a:avLst>
                <a:gd name="adj1" fmla="val -82195"/>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5" name="Connector: Elbow 134">
              <a:extLst>
                <a:ext uri="{FF2B5EF4-FFF2-40B4-BE49-F238E27FC236}">
                  <a16:creationId xmlns:a16="http://schemas.microsoft.com/office/drawing/2014/main" id="{34FDA7A2-3063-4992-852A-129381B4495A}"/>
                </a:ext>
              </a:extLst>
            </p:cNvPr>
            <p:cNvCxnSpPr>
              <a:cxnSpLocks/>
              <a:endCxn id="131" idx="3"/>
            </p:cNvCxnSpPr>
            <p:nvPr/>
          </p:nvCxnSpPr>
          <p:spPr>
            <a:xfrm rot="10800000" flipV="1">
              <a:off x="4234107" y="3842281"/>
              <a:ext cx="1217473" cy="1573143"/>
            </a:xfrm>
            <a:prstGeom prst="bentConnector3">
              <a:avLst>
                <a:gd name="adj1" fmla="val 50000"/>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6" name="Straight Arrow Connector 135">
              <a:extLst>
                <a:ext uri="{FF2B5EF4-FFF2-40B4-BE49-F238E27FC236}">
                  <a16:creationId xmlns:a16="http://schemas.microsoft.com/office/drawing/2014/main" id="{28FB50F6-3C34-4231-91FC-8B5EECE9A52A}"/>
                </a:ext>
              </a:extLst>
            </p:cNvPr>
            <p:cNvCxnSpPr>
              <a:cxnSpLocks/>
              <a:stCxn id="140" idx="1"/>
            </p:cNvCxnSpPr>
            <p:nvPr/>
          </p:nvCxnSpPr>
          <p:spPr>
            <a:xfrm flipH="1">
              <a:off x="6693881" y="6009391"/>
              <a:ext cx="463137"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7" name="Connector: Elbow 136">
              <a:extLst>
                <a:ext uri="{FF2B5EF4-FFF2-40B4-BE49-F238E27FC236}">
                  <a16:creationId xmlns:a16="http://schemas.microsoft.com/office/drawing/2014/main" id="{8E80CA8F-3C2B-45AB-A87C-B7E90C1E3830}"/>
                </a:ext>
              </a:extLst>
            </p:cNvPr>
            <p:cNvCxnSpPr>
              <a:endCxn id="150" idx="1"/>
            </p:cNvCxnSpPr>
            <p:nvPr/>
          </p:nvCxnSpPr>
          <p:spPr>
            <a:xfrm flipV="1">
              <a:off x="4243522" y="5237892"/>
              <a:ext cx="1208057" cy="403509"/>
            </a:xfrm>
            <a:prstGeom prst="bentConnector3">
              <a:avLst>
                <a:gd name="adj1" fmla="val 69114"/>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67" name="Group 166">
            <a:extLst>
              <a:ext uri="{FF2B5EF4-FFF2-40B4-BE49-F238E27FC236}">
                <a16:creationId xmlns:a16="http://schemas.microsoft.com/office/drawing/2014/main" id="{07D70416-D633-4CAD-B584-C9020C64D510}"/>
              </a:ext>
            </a:extLst>
          </p:cNvPr>
          <p:cNvGrpSpPr/>
          <p:nvPr/>
        </p:nvGrpSpPr>
        <p:grpSpPr>
          <a:xfrm>
            <a:off x="6693881" y="4616814"/>
            <a:ext cx="2138137" cy="793702"/>
            <a:chOff x="6693881" y="4616814"/>
            <a:chExt cx="2138137" cy="793702"/>
          </a:xfrm>
        </p:grpSpPr>
        <p:grpSp>
          <p:nvGrpSpPr>
            <p:cNvPr id="166" name="Group 165">
              <a:extLst>
                <a:ext uri="{FF2B5EF4-FFF2-40B4-BE49-F238E27FC236}">
                  <a16:creationId xmlns:a16="http://schemas.microsoft.com/office/drawing/2014/main" id="{4D0B2F40-B16F-45D0-8096-7B672715DD0E}"/>
                </a:ext>
              </a:extLst>
            </p:cNvPr>
            <p:cNvGrpSpPr/>
            <p:nvPr/>
          </p:nvGrpSpPr>
          <p:grpSpPr>
            <a:xfrm>
              <a:off x="7125133" y="4616814"/>
              <a:ext cx="1706885" cy="793702"/>
              <a:chOff x="7125133" y="4616814"/>
              <a:chExt cx="1706885" cy="793702"/>
            </a:xfrm>
          </p:grpSpPr>
          <p:sp>
            <p:nvSpPr>
              <p:cNvPr id="38" name="Rectangle 37">
                <a:extLst>
                  <a:ext uri="{FF2B5EF4-FFF2-40B4-BE49-F238E27FC236}">
                    <a16:creationId xmlns:a16="http://schemas.microsoft.com/office/drawing/2014/main" id="{F2A494BC-9439-47A7-B238-CD8EC838E9B2}"/>
                  </a:ext>
                </a:extLst>
              </p:cNvPr>
              <p:cNvSpPr/>
              <p:nvPr/>
            </p:nvSpPr>
            <p:spPr>
              <a:xfrm>
                <a:off x="7125133" y="4616814"/>
                <a:ext cx="1706885" cy="793702"/>
              </a:xfrm>
              <a:prstGeom prst="rect">
                <a:avLst/>
              </a:prstGeom>
              <a:solidFill>
                <a:srgbClr val="00162E"/>
              </a:solidFill>
              <a:ln w="3175">
                <a:solidFill>
                  <a:schemeClr val="accent3"/>
                </a:solidFill>
                <a:headEnd type="none" w="med" len="med"/>
                <a:tailEnd type="none" w="med" len="med"/>
              </a:ln>
              <a:effectLst>
                <a:glow rad="101600">
                  <a:schemeClr val="accent6">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DES Event processing</a:t>
                </a:r>
              </a:p>
            </p:txBody>
          </p:sp>
          <p:pic>
            <p:nvPicPr>
              <p:cNvPr id="36" name="Picture 35">
                <a:extLst>
                  <a:ext uri="{FF2B5EF4-FFF2-40B4-BE49-F238E27FC236}">
                    <a16:creationId xmlns:a16="http://schemas.microsoft.com/office/drawing/2014/main" id="{BF181F52-BF65-4333-98AE-16E4EAAEA3CE}"/>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7208207" y="4733191"/>
                <a:ext cx="414714" cy="414714"/>
              </a:xfrm>
              <a:prstGeom prst="rect">
                <a:avLst/>
              </a:prstGeom>
            </p:spPr>
          </p:pic>
          <p:pic>
            <p:nvPicPr>
              <p:cNvPr id="4100" name="Picture 4099">
                <a:extLst>
                  <a:ext uri="{FF2B5EF4-FFF2-40B4-BE49-F238E27FC236}">
                    <a16:creationId xmlns:a16="http://schemas.microsoft.com/office/drawing/2014/main" id="{64FC8FC2-8740-49E8-A685-8C8B365F7D71}"/>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7727543" y="4741011"/>
                <a:ext cx="414714" cy="414714"/>
              </a:xfrm>
              <a:prstGeom prst="rect">
                <a:avLst/>
              </a:prstGeom>
            </p:spPr>
          </p:pic>
          <p:pic>
            <p:nvPicPr>
              <p:cNvPr id="4106" name="Picture 4105">
                <a:extLst>
                  <a:ext uri="{FF2B5EF4-FFF2-40B4-BE49-F238E27FC236}">
                    <a16:creationId xmlns:a16="http://schemas.microsoft.com/office/drawing/2014/main" id="{AA07A54F-4B86-4A1A-8E36-98A38963216A}"/>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8201377" y="4690117"/>
                <a:ext cx="531495" cy="531495"/>
              </a:xfrm>
              <a:prstGeom prst="rect">
                <a:avLst/>
              </a:prstGeom>
            </p:spPr>
          </p:pic>
        </p:grpSp>
        <p:cxnSp>
          <p:nvCxnSpPr>
            <p:cNvPr id="4113" name="Connector: Elbow 4112">
              <a:extLst>
                <a:ext uri="{FF2B5EF4-FFF2-40B4-BE49-F238E27FC236}">
                  <a16:creationId xmlns:a16="http://schemas.microsoft.com/office/drawing/2014/main" id="{758D9C5A-4057-4467-B9A6-FDFB2BC3C726}"/>
                </a:ext>
              </a:extLst>
            </p:cNvPr>
            <p:cNvCxnSpPr>
              <a:stCxn id="150" idx="3"/>
              <a:endCxn id="38" idx="1"/>
            </p:cNvCxnSpPr>
            <p:nvPr/>
          </p:nvCxnSpPr>
          <p:spPr>
            <a:xfrm flipV="1">
              <a:off x="6693881" y="5013665"/>
              <a:ext cx="431252" cy="224227"/>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70" name="Group 169">
            <a:extLst>
              <a:ext uri="{FF2B5EF4-FFF2-40B4-BE49-F238E27FC236}">
                <a16:creationId xmlns:a16="http://schemas.microsoft.com/office/drawing/2014/main" id="{44B60298-DE28-401B-88D9-9F62C6E6F706}"/>
              </a:ext>
            </a:extLst>
          </p:cNvPr>
          <p:cNvGrpSpPr/>
          <p:nvPr/>
        </p:nvGrpSpPr>
        <p:grpSpPr>
          <a:xfrm>
            <a:off x="8832018" y="3696011"/>
            <a:ext cx="2924756" cy="1317654"/>
            <a:chOff x="8832018" y="3696011"/>
            <a:chExt cx="2924756" cy="1317654"/>
          </a:xfrm>
        </p:grpSpPr>
        <p:grpSp>
          <p:nvGrpSpPr>
            <p:cNvPr id="4127" name="Group 4126">
              <a:extLst>
                <a:ext uri="{FF2B5EF4-FFF2-40B4-BE49-F238E27FC236}">
                  <a16:creationId xmlns:a16="http://schemas.microsoft.com/office/drawing/2014/main" id="{A5FCD8B7-7FB3-48EC-890A-77E623205565}"/>
                </a:ext>
              </a:extLst>
            </p:cNvPr>
            <p:cNvGrpSpPr/>
            <p:nvPr/>
          </p:nvGrpSpPr>
          <p:grpSpPr>
            <a:xfrm>
              <a:off x="10025156" y="3696011"/>
              <a:ext cx="1731618" cy="813857"/>
              <a:chOff x="10248993" y="3117484"/>
              <a:chExt cx="1731618" cy="813857"/>
            </a:xfrm>
          </p:grpSpPr>
          <p:sp>
            <p:nvSpPr>
              <p:cNvPr id="57" name="Rectangle 56">
                <a:extLst>
                  <a:ext uri="{FF2B5EF4-FFF2-40B4-BE49-F238E27FC236}">
                    <a16:creationId xmlns:a16="http://schemas.microsoft.com/office/drawing/2014/main" id="{CBCE8EE8-48B7-42D4-A587-04847DA269C9}"/>
                  </a:ext>
                </a:extLst>
              </p:cNvPr>
              <p:cNvSpPr/>
              <p:nvPr/>
            </p:nvSpPr>
            <p:spPr>
              <a:xfrm>
                <a:off x="10248993" y="3117484"/>
                <a:ext cx="1731618" cy="813857"/>
              </a:xfrm>
              <a:prstGeom prst="rect">
                <a:avLst/>
              </a:prstGeom>
              <a:solidFill>
                <a:srgbClr val="00162E"/>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Analysis storage</a:t>
                </a:r>
              </a:p>
            </p:txBody>
          </p:sp>
          <p:pic>
            <p:nvPicPr>
              <p:cNvPr id="4116" name="Graphic 4115">
                <a:extLst>
                  <a:ext uri="{FF2B5EF4-FFF2-40B4-BE49-F238E27FC236}">
                    <a16:creationId xmlns:a16="http://schemas.microsoft.com/office/drawing/2014/main" id="{308DEB6A-9E71-453A-932B-454E0C0BE026}"/>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11437781" y="3286765"/>
                <a:ext cx="400808" cy="400808"/>
              </a:xfrm>
              <a:prstGeom prst="rect">
                <a:avLst/>
              </a:prstGeom>
            </p:spPr>
          </p:pic>
          <p:pic>
            <p:nvPicPr>
              <p:cNvPr id="4120" name="Picture 4119">
                <a:extLst>
                  <a:ext uri="{FF2B5EF4-FFF2-40B4-BE49-F238E27FC236}">
                    <a16:creationId xmlns:a16="http://schemas.microsoft.com/office/drawing/2014/main" id="{E606BA0F-E85D-475C-8114-3A99B259378B}"/>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10951303" y="3289731"/>
                <a:ext cx="374762" cy="374762"/>
              </a:xfrm>
              <a:prstGeom prst="rect">
                <a:avLst/>
              </a:prstGeom>
            </p:spPr>
          </p:pic>
          <p:pic>
            <p:nvPicPr>
              <p:cNvPr id="4121" name="Graphic 4120">
                <a:extLst>
                  <a:ext uri="{FF2B5EF4-FFF2-40B4-BE49-F238E27FC236}">
                    <a16:creationId xmlns:a16="http://schemas.microsoft.com/office/drawing/2014/main" id="{4A068DF1-C773-4F1F-8F74-C03D32CC2F2A}"/>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10421474" y="3293970"/>
                <a:ext cx="357348" cy="357346"/>
              </a:xfrm>
              <a:prstGeom prst="rect">
                <a:avLst/>
              </a:prstGeom>
            </p:spPr>
          </p:pic>
        </p:grpSp>
        <p:cxnSp>
          <p:nvCxnSpPr>
            <p:cNvPr id="154" name="Connector: Elbow 153">
              <a:extLst>
                <a:ext uri="{FF2B5EF4-FFF2-40B4-BE49-F238E27FC236}">
                  <a16:creationId xmlns:a16="http://schemas.microsoft.com/office/drawing/2014/main" id="{59B44914-7EFF-4E82-8D5E-CC69B7BB9F1F}"/>
                </a:ext>
              </a:extLst>
            </p:cNvPr>
            <p:cNvCxnSpPr>
              <a:stCxn id="38" idx="3"/>
              <a:endCxn id="57" idx="1"/>
            </p:cNvCxnSpPr>
            <p:nvPr/>
          </p:nvCxnSpPr>
          <p:spPr>
            <a:xfrm flipV="1">
              <a:off x="8832018" y="4102940"/>
              <a:ext cx="1193138" cy="910725"/>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68" name="Group 167">
            <a:extLst>
              <a:ext uri="{FF2B5EF4-FFF2-40B4-BE49-F238E27FC236}">
                <a16:creationId xmlns:a16="http://schemas.microsoft.com/office/drawing/2014/main" id="{D44601AB-D976-46AD-9181-7F820599BAC4}"/>
              </a:ext>
            </a:extLst>
          </p:cNvPr>
          <p:cNvGrpSpPr/>
          <p:nvPr/>
        </p:nvGrpSpPr>
        <p:grpSpPr>
          <a:xfrm>
            <a:off x="8832018" y="4606703"/>
            <a:ext cx="2924756" cy="813857"/>
            <a:chOff x="8832018" y="4606703"/>
            <a:chExt cx="2924756" cy="813857"/>
          </a:xfrm>
        </p:grpSpPr>
        <p:grpSp>
          <p:nvGrpSpPr>
            <p:cNvPr id="4126" name="Group 4125">
              <a:extLst>
                <a:ext uri="{FF2B5EF4-FFF2-40B4-BE49-F238E27FC236}">
                  <a16:creationId xmlns:a16="http://schemas.microsoft.com/office/drawing/2014/main" id="{FAED60F5-F3B5-4871-881C-E3FAE0DD381C}"/>
                </a:ext>
              </a:extLst>
            </p:cNvPr>
            <p:cNvGrpSpPr/>
            <p:nvPr/>
          </p:nvGrpSpPr>
          <p:grpSpPr>
            <a:xfrm>
              <a:off x="10025156" y="4606703"/>
              <a:ext cx="1731618" cy="813857"/>
              <a:chOff x="10272875" y="4024639"/>
              <a:chExt cx="1731618" cy="813857"/>
            </a:xfrm>
          </p:grpSpPr>
          <p:sp>
            <p:nvSpPr>
              <p:cNvPr id="180" name="Rectangle 179">
                <a:extLst>
                  <a:ext uri="{FF2B5EF4-FFF2-40B4-BE49-F238E27FC236}">
                    <a16:creationId xmlns:a16="http://schemas.microsoft.com/office/drawing/2014/main" id="{72FF6FEC-A0F5-46ED-9827-5C372959EBCB}"/>
                  </a:ext>
                </a:extLst>
              </p:cNvPr>
              <p:cNvSpPr/>
              <p:nvPr/>
            </p:nvSpPr>
            <p:spPr>
              <a:xfrm>
                <a:off x="10272875" y="4024639"/>
                <a:ext cx="1731618" cy="813857"/>
              </a:xfrm>
              <a:prstGeom prst="rect">
                <a:avLst/>
              </a:prstGeom>
              <a:solidFill>
                <a:srgbClr val="00162E"/>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Cold storage</a:t>
                </a:r>
              </a:p>
            </p:txBody>
          </p:sp>
          <p:pic>
            <p:nvPicPr>
              <p:cNvPr id="4115" name="Picture 4114">
                <a:extLst>
                  <a:ext uri="{FF2B5EF4-FFF2-40B4-BE49-F238E27FC236}">
                    <a16:creationId xmlns:a16="http://schemas.microsoft.com/office/drawing/2014/main" id="{A7EADE83-908C-4B8D-9B42-7E7B2C9D4C3A}"/>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10386045" y="4154076"/>
                <a:ext cx="419452" cy="419452"/>
              </a:xfrm>
              <a:prstGeom prst="rect">
                <a:avLst/>
              </a:prstGeom>
            </p:spPr>
          </p:pic>
        </p:grpSp>
        <p:cxnSp>
          <p:nvCxnSpPr>
            <p:cNvPr id="156" name="Connector: Elbow 155">
              <a:extLst>
                <a:ext uri="{FF2B5EF4-FFF2-40B4-BE49-F238E27FC236}">
                  <a16:creationId xmlns:a16="http://schemas.microsoft.com/office/drawing/2014/main" id="{428EC008-65D7-4370-8983-809745DC1047}"/>
                </a:ext>
              </a:extLst>
            </p:cNvPr>
            <p:cNvCxnSpPr>
              <a:stCxn id="38" idx="3"/>
              <a:endCxn id="180" idx="1"/>
            </p:cNvCxnSpPr>
            <p:nvPr/>
          </p:nvCxnSpPr>
          <p:spPr>
            <a:xfrm flipV="1">
              <a:off x="8832018" y="5013632"/>
              <a:ext cx="1193138" cy="33"/>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69" name="Group 168">
            <a:extLst>
              <a:ext uri="{FF2B5EF4-FFF2-40B4-BE49-F238E27FC236}">
                <a16:creationId xmlns:a16="http://schemas.microsoft.com/office/drawing/2014/main" id="{6227EE03-5511-4CFD-8F47-18AFAC9281C3}"/>
              </a:ext>
            </a:extLst>
          </p:cNvPr>
          <p:cNvGrpSpPr/>
          <p:nvPr/>
        </p:nvGrpSpPr>
        <p:grpSpPr>
          <a:xfrm>
            <a:off x="8832018" y="5013665"/>
            <a:ext cx="2924756" cy="1317587"/>
            <a:chOff x="8832018" y="5013665"/>
            <a:chExt cx="2924756" cy="1317587"/>
          </a:xfrm>
        </p:grpSpPr>
        <p:grpSp>
          <p:nvGrpSpPr>
            <p:cNvPr id="4125" name="Group 4124">
              <a:extLst>
                <a:ext uri="{FF2B5EF4-FFF2-40B4-BE49-F238E27FC236}">
                  <a16:creationId xmlns:a16="http://schemas.microsoft.com/office/drawing/2014/main" id="{66FD1CDE-0956-4C88-9C37-6A142A809ED8}"/>
                </a:ext>
              </a:extLst>
            </p:cNvPr>
            <p:cNvGrpSpPr/>
            <p:nvPr/>
          </p:nvGrpSpPr>
          <p:grpSpPr>
            <a:xfrm>
              <a:off x="10025156" y="5517395"/>
              <a:ext cx="1731618" cy="813857"/>
              <a:chOff x="10272875" y="4938868"/>
              <a:chExt cx="1731618" cy="813857"/>
            </a:xfrm>
          </p:grpSpPr>
          <p:sp>
            <p:nvSpPr>
              <p:cNvPr id="181" name="Rectangle 180">
                <a:extLst>
                  <a:ext uri="{FF2B5EF4-FFF2-40B4-BE49-F238E27FC236}">
                    <a16:creationId xmlns:a16="http://schemas.microsoft.com/office/drawing/2014/main" id="{E5F64285-E138-4649-BF90-7D913D615523}"/>
                  </a:ext>
                </a:extLst>
              </p:cNvPr>
              <p:cNvSpPr/>
              <p:nvPr/>
            </p:nvSpPr>
            <p:spPr>
              <a:xfrm>
                <a:off x="10272875" y="4938868"/>
                <a:ext cx="1731618" cy="813857"/>
              </a:xfrm>
              <a:prstGeom prst="rect">
                <a:avLst/>
              </a:prstGeom>
              <a:solidFill>
                <a:srgbClr val="00162E"/>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Application</a:t>
                </a:r>
              </a:p>
            </p:txBody>
          </p:sp>
          <p:pic>
            <p:nvPicPr>
              <p:cNvPr id="59" name="Picture 58">
                <a:extLst>
                  <a:ext uri="{FF2B5EF4-FFF2-40B4-BE49-F238E27FC236}">
                    <a16:creationId xmlns:a16="http://schemas.microsoft.com/office/drawing/2014/main" id="{70B4A89A-F89B-481D-8229-2F669AA4A467}"/>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10421474" y="5060587"/>
                <a:ext cx="389817" cy="389816"/>
              </a:xfrm>
              <a:prstGeom prst="rect">
                <a:avLst/>
              </a:prstGeom>
            </p:spPr>
          </p:pic>
          <p:pic>
            <p:nvPicPr>
              <p:cNvPr id="171" name="Picture 170">
                <a:extLst>
                  <a:ext uri="{FF2B5EF4-FFF2-40B4-BE49-F238E27FC236}">
                    <a16:creationId xmlns:a16="http://schemas.microsoft.com/office/drawing/2014/main" id="{B3C72A14-A9D5-4469-BB94-D7809CD7D79A}"/>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10951303" y="5060587"/>
                <a:ext cx="358481" cy="358481"/>
              </a:xfrm>
              <a:prstGeom prst="rect">
                <a:avLst/>
              </a:prstGeom>
            </p:spPr>
          </p:pic>
        </p:grpSp>
        <p:cxnSp>
          <p:nvCxnSpPr>
            <p:cNvPr id="158" name="Connector: Elbow 157">
              <a:extLst>
                <a:ext uri="{FF2B5EF4-FFF2-40B4-BE49-F238E27FC236}">
                  <a16:creationId xmlns:a16="http://schemas.microsoft.com/office/drawing/2014/main" id="{84B5477B-BDB9-40F0-9F5D-D8A694F981AB}"/>
                </a:ext>
              </a:extLst>
            </p:cNvPr>
            <p:cNvCxnSpPr>
              <a:stCxn id="38" idx="3"/>
              <a:endCxn id="181" idx="1"/>
            </p:cNvCxnSpPr>
            <p:nvPr/>
          </p:nvCxnSpPr>
          <p:spPr>
            <a:xfrm>
              <a:off x="8832018" y="5013665"/>
              <a:ext cx="1193138" cy="910659"/>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03" name="Rectangle 102">
            <a:extLst>
              <a:ext uri="{FF2B5EF4-FFF2-40B4-BE49-F238E27FC236}">
                <a16:creationId xmlns:a16="http://schemas.microsoft.com/office/drawing/2014/main" id="{F76E9BD5-4C24-41C2-B320-6BE5F301A247}"/>
              </a:ext>
            </a:extLst>
          </p:cNvPr>
          <p:cNvSpPr/>
          <p:nvPr/>
        </p:nvSpPr>
        <p:spPr bwMode="auto">
          <a:xfrm>
            <a:off x="2236229" y="354277"/>
            <a:ext cx="1281825"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37" name="Group 36">
            <a:extLst>
              <a:ext uri="{FF2B5EF4-FFF2-40B4-BE49-F238E27FC236}">
                <a16:creationId xmlns:a16="http://schemas.microsoft.com/office/drawing/2014/main" id="{8CE23D3E-0A19-439C-A187-4A84DDE8BC81}"/>
              </a:ext>
            </a:extLst>
          </p:cNvPr>
          <p:cNvGrpSpPr/>
          <p:nvPr/>
        </p:nvGrpSpPr>
        <p:grpSpPr>
          <a:xfrm>
            <a:off x="1378506" y="4937732"/>
            <a:ext cx="2089864" cy="868194"/>
            <a:chOff x="1378506" y="4937732"/>
            <a:chExt cx="2089864" cy="868194"/>
          </a:xfrm>
        </p:grpSpPr>
        <p:grpSp>
          <p:nvGrpSpPr>
            <p:cNvPr id="6" name="Group 5">
              <a:extLst>
                <a:ext uri="{FF2B5EF4-FFF2-40B4-BE49-F238E27FC236}">
                  <a16:creationId xmlns:a16="http://schemas.microsoft.com/office/drawing/2014/main" id="{E298F315-F9C2-43EA-82E0-7228BF710925}"/>
                </a:ext>
              </a:extLst>
            </p:cNvPr>
            <p:cNvGrpSpPr/>
            <p:nvPr/>
          </p:nvGrpSpPr>
          <p:grpSpPr>
            <a:xfrm>
              <a:off x="1378506" y="4937732"/>
              <a:ext cx="1113008" cy="868194"/>
              <a:chOff x="1378506" y="4937732"/>
              <a:chExt cx="1113008" cy="868194"/>
            </a:xfrm>
          </p:grpSpPr>
          <p:sp>
            <p:nvSpPr>
              <p:cNvPr id="106" name="Field gateway">
                <a:extLst>
                  <a:ext uri="{FF2B5EF4-FFF2-40B4-BE49-F238E27FC236}">
                    <a16:creationId xmlns:a16="http://schemas.microsoft.com/office/drawing/2014/main" id="{E24DC2E0-99C5-4DC0-825F-264CC5119763}"/>
                  </a:ext>
                </a:extLst>
              </p:cNvPr>
              <p:cNvSpPr/>
              <p:nvPr/>
            </p:nvSpPr>
            <p:spPr>
              <a:xfrm>
                <a:off x="1378506" y="4937732"/>
                <a:ext cx="1113008" cy="86819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Solar home</a:t>
                </a:r>
              </a:p>
            </p:txBody>
          </p:sp>
          <p:pic>
            <p:nvPicPr>
              <p:cNvPr id="108" name="Picture 107">
                <a:extLst>
                  <a:ext uri="{FF2B5EF4-FFF2-40B4-BE49-F238E27FC236}">
                    <a16:creationId xmlns:a16="http://schemas.microsoft.com/office/drawing/2014/main" id="{85289D2F-F308-49BA-97B3-0388222C4945}"/>
                  </a:ext>
                </a:extLst>
              </p:cNvPr>
              <p:cNvPicPr>
                <a:picLocks noChangeAspect="1"/>
              </p:cNvPicPr>
              <p:nvPr/>
            </p:nvPicPr>
            <p:blipFill>
              <a:blip r:embed="rId31"/>
              <a:stretch>
                <a:fillRect/>
              </a:stretch>
            </p:blipFill>
            <p:spPr>
              <a:xfrm>
                <a:off x="1738403" y="5083952"/>
                <a:ext cx="367397" cy="385042"/>
              </a:xfrm>
              <a:prstGeom prst="rect">
                <a:avLst/>
              </a:prstGeom>
            </p:spPr>
          </p:pic>
        </p:grpSp>
        <p:cxnSp>
          <p:nvCxnSpPr>
            <p:cNvPr id="35" name="Straight Arrow Connector 34">
              <a:extLst>
                <a:ext uri="{FF2B5EF4-FFF2-40B4-BE49-F238E27FC236}">
                  <a16:creationId xmlns:a16="http://schemas.microsoft.com/office/drawing/2014/main" id="{52724E66-9A1C-452B-BEB7-DB97626E6847}"/>
                </a:ext>
              </a:extLst>
            </p:cNvPr>
            <p:cNvCxnSpPr>
              <a:cxnSpLocks/>
            </p:cNvCxnSpPr>
            <p:nvPr/>
          </p:nvCxnSpPr>
          <p:spPr>
            <a:xfrm>
              <a:off x="2491514" y="5594079"/>
              <a:ext cx="976856"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5D4E324B-C0F0-40AB-A6B4-9CA912ED0680}"/>
              </a:ext>
            </a:extLst>
          </p:cNvPr>
          <p:cNvGrpSpPr/>
          <p:nvPr/>
        </p:nvGrpSpPr>
        <p:grpSpPr>
          <a:xfrm>
            <a:off x="1378506" y="5876057"/>
            <a:ext cx="2089864" cy="868194"/>
            <a:chOff x="1378506" y="5876057"/>
            <a:chExt cx="2089864" cy="868194"/>
          </a:xfrm>
        </p:grpSpPr>
        <p:grpSp>
          <p:nvGrpSpPr>
            <p:cNvPr id="7" name="Group 6">
              <a:extLst>
                <a:ext uri="{FF2B5EF4-FFF2-40B4-BE49-F238E27FC236}">
                  <a16:creationId xmlns:a16="http://schemas.microsoft.com/office/drawing/2014/main" id="{E67621DA-6874-461E-BDA8-E73FA5ECE3C2}"/>
                </a:ext>
              </a:extLst>
            </p:cNvPr>
            <p:cNvGrpSpPr/>
            <p:nvPr/>
          </p:nvGrpSpPr>
          <p:grpSpPr>
            <a:xfrm>
              <a:off x="1378506" y="5876057"/>
              <a:ext cx="1113008" cy="868194"/>
              <a:chOff x="1378506" y="5876057"/>
              <a:chExt cx="1113008" cy="868194"/>
            </a:xfrm>
          </p:grpSpPr>
          <p:sp>
            <p:nvSpPr>
              <p:cNvPr id="110" name="Field gateway">
                <a:extLst>
                  <a:ext uri="{FF2B5EF4-FFF2-40B4-BE49-F238E27FC236}">
                    <a16:creationId xmlns:a16="http://schemas.microsoft.com/office/drawing/2014/main" id="{30A7F7E8-4F1C-4302-BBB2-10832277C042}"/>
                  </a:ext>
                </a:extLst>
              </p:cNvPr>
              <p:cNvSpPr/>
              <p:nvPr/>
            </p:nvSpPr>
            <p:spPr>
              <a:xfrm>
                <a:off x="1378506" y="5876057"/>
                <a:ext cx="1113008" cy="86819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Charge</a:t>
                </a:r>
              </a:p>
            </p:txBody>
          </p:sp>
          <p:pic>
            <p:nvPicPr>
              <p:cNvPr id="111" name="Picture 110">
                <a:extLst>
                  <a:ext uri="{FF2B5EF4-FFF2-40B4-BE49-F238E27FC236}">
                    <a16:creationId xmlns:a16="http://schemas.microsoft.com/office/drawing/2014/main" id="{BA8DFD38-CC99-4BA4-917F-378F696D854C}"/>
                  </a:ext>
                </a:extLst>
              </p:cNvPr>
              <p:cNvPicPr>
                <a:picLocks noChangeAspect="1"/>
              </p:cNvPicPr>
              <p:nvPr/>
            </p:nvPicPr>
            <p:blipFill>
              <a:blip r:embed="rId32"/>
              <a:stretch>
                <a:fillRect/>
              </a:stretch>
            </p:blipFill>
            <p:spPr>
              <a:xfrm>
                <a:off x="1769512" y="6053234"/>
                <a:ext cx="406316" cy="376664"/>
              </a:xfrm>
              <a:prstGeom prst="rect">
                <a:avLst/>
              </a:prstGeom>
            </p:spPr>
          </p:pic>
        </p:grpSp>
        <p:cxnSp>
          <p:nvCxnSpPr>
            <p:cNvPr id="118" name="Straight Arrow Connector 117">
              <a:extLst>
                <a:ext uri="{FF2B5EF4-FFF2-40B4-BE49-F238E27FC236}">
                  <a16:creationId xmlns:a16="http://schemas.microsoft.com/office/drawing/2014/main" id="{1426759F-D095-44C6-AB73-758A52302A4D}"/>
                </a:ext>
              </a:extLst>
            </p:cNvPr>
            <p:cNvCxnSpPr>
              <a:cxnSpLocks/>
            </p:cNvCxnSpPr>
            <p:nvPr/>
          </p:nvCxnSpPr>
          <p:spPr>
            <a:xfrm>
              <a:off x="2491514" y="6032229"/>
              <a:ext cx="976856"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55" name="Rectangle 154">
            <a:extLst>
              <a:ext uri="{FF2B5EF4-FFF2-40B4-BE49-F238E27FC236}">
                <a16:creationId xmlns:a16="http://schemas.microsoft.com/office/drawing/2014/main" id="{E31CFE10-97F7-4F8E-BE82-9EC8C8A1721E}"/>
              </a:ext>
            </a:extLst>
          </p:cNvPr>
          <p:cNvSpPr/>
          <p:nvPr/>
        </p:nvSpPr>
        <p:spPr bwMode="auto">
          <a:xfrm>
            <a:off x="3582602" y="354277"/>
            <a:ext cx="1262096"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sp>
        <p:nvSpPr>
          <p:cNvPr id="157" name="Rectangle 156">
            <a:extLst>
              <a:ext uri="{FF2B5EF4-FFF2-40B4-BE49-F238E27FC236}">
                <a16:creationId xmlns:a16="http://schemas.microsoft.com/office/drawing/2014/main" id="{28EA371E-7D7E-4EC0-8B04-A330A9EDBC49}"/>
              </a:ext>
            </a:extLst>
          </p:cNvPr>
          <p:cNvSpPr/>
          <p:nvPr/>
        </p:nvSpPr>
        <p:spPr bwMode="auto">
          <a:xfrm>
            <a:off x="897321" y="354277"/>
            <a:ext cx="1281825"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spTree>
    <p:extLst>
      <p:ext uri="{BB962C8B-B14F-4D97-AF65-F5344CB8AC3E}">
        <p14:creationId xmlns:p14="http://schemas.microsoft.com/office/powerpoint/2010/main" val="10073385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9"/>
                                        </p:tgtEl>
                                        <p:attrNameLst>
                                          <p:attrName>style.visibility</p:attrName>
                                        </p:attrNameLst>
                                      </p:cBhvr>
                                      <p:to>
                                        <p:strVal val="visible"/>
                                      </p:to>
                                    </p:set>
                                    <p:animEffect transition="in" filter="fade">
                                      <p:cBhvr>
                                        <p:cTn id="12" dur="500"/>
                                        <p:tgtEl>
                                          <p:spTgt spid="39"/>
                                        </p:tgtEl>
                                      </p:cBhvr>
                                    </p:animEffect>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155"/>
                                        </p:tgtEl>
                                        <p:attrNameLst>
                                          <p:attrName>style.visibility</p:attrName>
                                        </p:attrNameLst>
                                      </p:cBhvr>
                                      <p:to>
                                        <p:strVal val="visible"/>
                                      </p:to>
                                    </p:set>
                                    <p:animEffect transition="in" filter="fade">
                                      <p:cBhvr>
                                        <p:cTn id="16" dur="500"/>
                                        <p:tgtEl>
                                          <p:spTgt spid="1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5"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METER</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grpSp>
        <p:nvGrpSpPr>
          <p:cNvPr id="118" name="Group 117">
            <a:extLst>
              <a:ext uri="{FF2B5EF4-FFF2-40B4-BE49-F238E27FC236}">
                <a16:creationId xmlns:a16="http://schemas.microsoft.com/office/drawing/2014/main" id="{A80CBEBF-B682-43B4-A7B6-67F619286581}"/>
              </a:ext>
            </a:extLst>
          </p:cNvPr>
          <p:cNvGrpSpPr/>
          <p:nvPr/>
        </p:nvGrpSpPr>
        <p:grpSpPr>
          <a:xfrm>
            <a:off x="3485341" y="3650454"/>
            <a:ext cx="4461510" cy="1762126"/>
            <a:chOff x="7330440" y="2212975"/>
            <a:chExt cx="4461510" cy="1762126"/>
          </a:xfrm>
        </p:grpSpPr>
        <p:sp>
          <p:nvSpPr>
            <p:cNvPr id="119" name="Rectangle 118">
              <a:extLst>
                <a:ext uri="{FF2B5EF4-FFF2-40B4-BE49-F238E27FC236}">
                  <a16:creationId xmlns:a16="http://schemas.microsoft.com/office/drawing/2014/main" id="{94775B48-13D5-4982-B64A-669B1512D356}"/>
                </a:ext>
              </a:extLst>
            </p:cNvPr>
            <p:cNvSpPr/>
            <p:nvPr/>
          </p:nvSpPr>
          <p:spPr>
            <a:xfrm>
              <a:off x="7396162" y="3741738"/>
              <a:ext cx="109537" cy="233362"/>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0" name="Rectangle 119">
              <a:extLst>
                <a:ext uri="{FF2B5EF4-FFF2-40B4-BE49-F238E27FC236}">
                  <a16:creationId xmlns:a16="http://schemas.microsoft.com/office/drawing/2014/main" id="{FF32D17D-AE95-4DF8-831B-9EC68BC2F996}"/>
                </a:ext>
              </a:extLst>
            </p:cNvPr>
            <p:cNvSpPr/>
            <p:nvPr/>
          </p:nvSpPr>
          <p:spPr>
            <a:xfrm>
              <a:off x="7543799" y="3670300"/>
              <a:ext cx="109535"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1" name="Rectangle 120">
              <a:extLst>
                <a:ext uri="{FF2B5EF4-FFF2-40B4-BE49-F238E27FC236}">
                  <a16:creationId xmlns:a16="http://schemas.microsoft.com/office/drawing/2014/main" id="{93446C3A-20A3-42E5-81B3-06CF83540CBB}"/>
                </a:ext>
              </a:extLst>
            </p:cNvPr>
            <p:cNvSpPr/>
            <p:nvPr/>
          </p:nvSpPr>
          <p:spPr>
            <a:xfrm>
              <a:off x="7691436" y="3603625"/>
              <a:ext cx="109537"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2" name="Rectangle 121">
              <a:extLst>
                <a:ext uri="{FF2B5EF4-FFF2-40B4-BE49-F238E27FC236}">
                  <a16:creationId xmlns:a16="http://schemas.microsoft.com/office/drawing/2014/main" id="{ED359D76-F23A-419F-A6DC-716DAFE42EBE}"/>
                </a:ext>
              </a:extLst>
            </p:cNvPr>
            <p:cNvSpPr/>
            <p:nvPr/>
          </p:nvSpPr>
          <p:spPr>
            <a:xfrm>
              <a:off x="7839076" y="3517901"/>
              <a:ext cx="104776" cy="4572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3" name="Rectangle 122">
              <a:extLst>
                <a:ext uri="{FF2B5EF4-FFF2-40B4-BE49-F238E27FC236}">
                  <a16:creationId xmlns:a16="http://schemas.microsoft.com/office/drawing/2014/main" id="{AD0A86C1-0F61-45AF-AAC4-F2358E2F8BF8}"/>
                </a:ext>
              </a:extLst>
            </p:cNvPr>
            <p:cNvSpPr/>
            <p:nvPr/>
          </p:nvSpPr>
          <p:spPr>
            <a:xfrm>
              <a:off x="7986713" y="3517901"/>
              <a:ext cx="104776" cy="4572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4" name="Rectangle 123">
              <a:extLst>
                <a:ext uri="{FF2B5EF4-FFF2-40B4-BE49-F238E27FC236}">
                  <a16:creationId xmlns:a16="http://schemas.microsoft.com/office/drawing/2014/main" id="{E5978FD8-8D2B-47E0-8FF9-CF08F51632DB}"/>
                </a:ext>
              </a:extLst>
            </p:cNvPr>
            <p:cNvSpPr/>
            <p:nvPr/>
          </p:nvSpPr>
          <p:spPr>
            <a:xfrm>
              <a:off x="8134350" y="3241675"/>
              <a:ext cx="119046"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5" name="Rectangle 124">
              <a:extLst>
                <a:ext uri="{FF2B5EF4-FFF2-40B4-BE49-F238E27FC236}">
                  <a16:creationId xmlns:a16="http://schemas.microsoft.com/office/drawing/2014/main" id="{292FD743-910E-416F-ABB7-640CD1DC682C}"/>
                </a:ext>
              </a:extLst>
            </p:cNvPr>
            <p:cNvSpPr/>
            <p:nvPr/>
          </p:nvSpPr>
          <p:spPr>
            <a:xfrm>
              <a:off x="8296272" y="2898775"/>
              <a:ext cx="104761" cy="10763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6" name="Rectangle 125">
              <a:extLst>
                <a:ext uri="{FF2B5EF4-FFF2-40B4-BE49-F238E27FC236}">
                  <a16:creationId xmlns:a16="http://schemas.microsoft.com/office/drawing/2014/main" id="{159D4C4D-786F-43C8-A2FE-A65431D6E237}"/>
                </a:ext>
              </a:extLst>
            </p:cNvPr>
            <p:cNvSpPr/>
            <p:nvPr/>
          </p:nvSpPr>
          <p:spPr>
            <a:xfrm>
              <a:off x="8443895" y="2212975"/>
              <a:ext cx="104789" cy="1762125"/>
            </a:xfrm>
            <a:prstGeom prst="rect">
              <a:avLst/>
            </a:prstGeom>
            <a:solidFill>
              <a:srgbClr val="FF0000">
                <a:alpha val="46000"/>
              </a:srgbClr>
            </a:solidFill>
            <a:ln w="127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7" name="Rectangle 126">
              <a:extLst>
                <a:ext uri="{FF2B5EF4-FFF2-40B4-BE49-F238E27FC236}">
                  <a16:creationId xmlns:a16="http://schemas.microsoft.com/office/drawing/2014/main" id="{1AE0EFA7-61C9-4504-BF22-143BC6FDEE99}"/>
                </a:ext>
              </a:extLst>
            </p:cNvPr>
            <p:cNvSpPr/>
            <p:nvPr/>
          </p:nvSpPr>
          <p:spPr>
            <a:xfrm>
              <a:off x="8591532" y="2212975"/>
              <a:ext cx="104789" cy="1762125"/>
            </a:xfrm>
            <a:prstGeom prst="rect">
              <a:avLst/>
            </a:prstGeom>
            <a:solidFill>
              <a:srgbClr val="FF0000">
                <a:alpha val="46000"/>
              </a:srgbClr>
            </a:solidFill>
            <a:ln w="127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8" name="Rectangle 127">
              <a:extLst>
                <a:ext uri="{FF2B5EF4-FFF2-40B4-BE49-F238E27FC236}">
                  <a16:creationId xmlns:a16="http://schemas.microsoft.com/office/drawing/2014/main" id="{FE415794-7DEB-4566-A931-C073698F9106}"/>
                </a:ext>
              </a:extLst>
            </p:cNvPr>
            <p:cNvSpPr/>
            <p:nvPr/>
          </p:nvSpPr>
          <p:spPr>
            <a:xfrm>
              <a:off x="8739183" y="2898775"/>
              <a:ext cx="104775" cy="10763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9" name="Rectangle 128">
              <a:extLst>
                <a:ext uri="{FF2B5EF4-FFF2-40B4-BE49-F238E27FC236}">
                  <a16:creationId xmlns:a16="http://schemas.microsoft.com/office/drawing/2014/main" id="{17FB589A-4095-4821-9A54-09BC7856CB74}"/>
                </a:ext>
              </a:extLst>
            </p:cNvPr>
            <p:cNvSpPr/>
            <p:nvPr/>
          </p:nvSpPr>
          <p:spPr>
            <a:xfrm>
              <a:off x="8886820" y="3241675"/>
              <a:ext cx="104775"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0" name="Rectangle 129">
              <a:extLst>
                <a:ext uri="{FF2B5EF4-FFF2-40B4-BE49-F238E27FC236}">
                  <a16:creationId xmlns:a16="http://schemas.microsoft.com/office/drawing/2014/main" id="{0326997F-22CB-49DE-9203-9FEE9449ABA5}"/>
                </a:ext>
              </a:extLst>
            </p:cNvPr>
            <p:cNvSpPr/>
            <p:nvPr/>
          </p:nvSpPr>
          <p:spPr>
            <a:xfrm>
              <a:off x="9034457" y="3241675"/>
              <a:ext cx="104775"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1" name="Rectangle 130">
              <a:extLst>
                <a:ext uri="{FF2B5EF4-FFF2-40B4-BE49-F238E27FC236}">
                  <a16:creationId xmlns:a16="http://schemas.microsoft.com/office/drawing/2014/main" id="{6DDFB9FE-6114-402A-8CB2-D5C3A20EAB23}"/>
                </a:ext>
              </a:extLst>
            </p:cNvPr>
            <p:cNvSpPr/>
            <p:nvPr/>
          </p:nvSpPr>
          <p:spPr>
            <a:xfrm>
              <a:off x="9182080" y="3603625"/>
              <a:ext cx="104789"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2" name="Rectangle 131">
              <a:extLst>
                <a:ext uri="{FF2B5EF4-FFF2-40B4-BE49-F238E27FC236}">
                  <a16:creationId xmlns:a16="http://schemas.microsoft.com/office/drawing/2014/main" id="{5E23940B-8E7A-4827-A96E-4B153E3CFA04}"/>
                </a:ext>
              </a:extLst>
            </p:cNvPr>
            <p:cNvSpPr/>
            <p:nvPr/>
          </p:nvSpPr>
          <p:spPr>
            <a:xfrm>
              <a:off x="9329717" y="3603625"/>
              <a:ext cx="104789"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3" name="Rectangle 132">
              <a:extLst>
                <a:ext uri="{FF2B5EF4-FFF2-40B4-BE49-F238E27FC236}">
                  <a16:creationId xmlns:a16="http://schemas.microsoft.com/office/drawing/2014/main" id="{588DE8AD-5DBC-49E5-8421-385E3095AC2B}"/>
                </a:ext>
              </a:extLst>
            </p:cNvPr>
            <p:cNvSpPr/>
            <p:nvPr/>
          </p:nvSpPr>
          <p:spPr>
            <a:xfrm>
              <a:off x="9477354"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4" name="Rectangle 133">
              <a:extLst>
                <a:ext uri="{FF2B5EF4-FFF2-40B4-BE49-F238E27FC236}">
                  <a16:creationId xmlns:a16="http://schemas.microsoft.com/office/drawing/2014/main" id="{BCAEC8C0-525A-4DE0-8963-2755F8B126D7}"/>
                </a:ext>
              </a:extLst>
            </p:cNvPr>
            <p:cNvSpPr/>
            <p:nvPr/>
          </p:nvSpPr>
          <p:spPr>
            <a:xfrm>
              <a:off x="9624991"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5" name="Rectangle 134">
              <a:extLst>
                <a:ext uri="{FF2B5EF4-FFF2-40B4-BE49-F238E27FC236}">
                  <a16:creationId xmlns:a16="http://schemas.microsoft.com/office/drawing/2014/main" id="{1396841E-4D2F-49AC-8922-FE509415C5CA}"/>
                </a:ext>
              </a:extLst>
            </p:cNvPr>
            <p:cNvSpPr/>
            <p:nvPr/>
          </p:nvSpPr>
          <p:spPr>
            <a:xfrm>
              <a:off x="9772628"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6" name="Rectangle 135">
              <a:extLst>
                <a:ext uri="{FF2B5EF4-FFF2-40B4-BE49-F238E27FC236}">
                  <a16:creationId xmlns:a16="http://schemas.microsoft.com/office/drawing/2014/main" id="{AE5F61D1-2657-4168-B929-CB857EE81058}"/>
                </a:ext>
              </a:extLst>
            </p:cNvPr>
            <p:cNvSpPr/>
            <p:nvPr/>
          </p:nvSpPr>
          <p:spPr>
            <a:xfrm>
              <a:off x="9920265"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7" name="Rectangle 136">
              <a:extLst>
                <a:ext uri="{FF2B5EF4-FFF2-40B4-BE49-F238E27FC236}">
                  <a16:creationId xmlns:a16="http://schemas.microsoft.com/office/drawing/2014/main" id="{D5F8A32C-E21D-46EF-8F50-0D609E6F139B}"/>
                </a:ext>
              </a:extLst>
            </p:cNvPr>
            <p:cNvSpPr/>
            <p:nvPr/>
          </p:nvSpPr>
          <p:spPr>
            <a:xfrm>
              <a:off x="10067902"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8" name="Rectangle 137">
              <a:extLst>
                <a:ext uri="{FF2B5EF4-FFF2-40B4-BE49-F238E27FC236}">
                  <a16:creationId xmlns:a16="http://schemas.microsoft.com/office/drawing/2014/main" id="{F47040E2-59F7-4FAC-9247-0DE4F208965C}"/>
                </a:ext>
              </a:extLst>
            </p:cNvPr>
            <p:cNvSpPr/>
            <p:nvPr/>
          </p:nvSpPr>
          <p:spPr>
            <a:xfrm>
              <a:off x="10215539" y="3603625"/>
              <a:ext cx="104789"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9" name="Rectangle 138">
              <a:extLst>
                <a:ext uri="{FF2B5EF4-FFF2-40B4-BE49-F238E27FC236}">
                  <a16:creationId xmlns:a16="http://schemas.microsoft.com/office/drawing/2014/main" id="{ACDF9B41-5C46-4244-B698-8463FA2BCDDC}"/>
                </a:ext>
              </a:extLst>
            </p:cNvPr>
            <p:cNvSpPr/>
            <p:nvPr/>
          </p:nvSpPr>
          <p:spPr>
            <a:xfrm>
              <a:off x="10363162" y="3603625"/>
              <a:ext cx="104803"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0" name="Rectangle 139">
              <a:extLst>
                <a:ext uri="{FF2B5EF4-FFF2-40B4-BE49-F238E27FC236}">
                  <a16:creationId xmlns:a16="http://schemas.microsoft.com/office/drawing/2014/main" id="{65351511-57FE-4FF9-9142-7D6A1B6106C6}"/>
                </a:ext>
              </a:extLst>
            </p:cNvPr>
            <p:cNvSpPr/>
            <p:nvPr/>
          </p:nvSpPr>
          <p:spPr>
            <a:xfrm>
              <a:off x="10510827" y="3241675"/>
              <a:ext cx="104775"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1" name="Rectangle 140">
              <a:extLst>
                <a:ext uri="{FF2B5EF4-FFF2-40B4-BE49-F238E27FC236}">
                  <a16:creationId xmlns:a16="http://schemas.microsoft.com/office/drawing/2014/main" id="{0E448F57-6AF0-4767-A932-5160259CA2CA}"/>
                </a:ext>
              </a:extLst>
            </p:cNvPr>
            <p:cNvSpPr/>
            <p:nvPr/>
          </p:nvSpPr>
          <p:spPr>
            <a:xfrm>
              <a:off x="10658436" y="2974975"/>
              <a:ext cx="104803" cy="10001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2" name="Rectangle 141">
              <a:extLst>
                <a:ext uri="{FF2B5EF4-FFF2-40B4-BE49-F238E27FC236}">
                  <a16:creationId xmlns:a16="http://schemas.microsoft.com/office/drawing/2014/main" id="{1286E05D-FED5-4013-A319-A005259F99F0}"/>
                </a:ext>
              </a:extLst>
            </p:cNvPr>
            <p:cNvSpPr/>
            <p:nvPr/>
          </p:nvSpPr>
          <p:spPr>
            <a:xfrm>
              <a:off x="10806073" y="2708275"/>
              <a:ext cx="104803" cy="1266825"/>
            </a:xfrm>
            <a:prstGeom prst="rect">
              <a:avLst/>
            </a:prstGeom>
            <a:solidFill>
              <a:srgbClr val="FF0000">
                <a:alpha val="46000"/>
              </a:srgbClr>
            </a:solidFill>
            <a:ln w="127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3" name="Rectangle 142">
              <a:extLst>
                <a:ext uri="{FF2B5EF4-FFF2-40B4-BE49-F238E27FC236}">
                  <a16:creationId xmlns:a16="http://schemas.microsoft.com/office/drawing/2014/main" id="{6D55729C-1587-44F1-8FC7-BD27C8F0179F}"/>
                </a:ext>
              </a:extLst>
            </p:cNvPr>
            <p:cNvSpPr/>
            <p:nvPr/>
          </p:nvSpPr>
          <p:spPr>
            <a:xfrm>
              <a:off x="10953738" y="2403475"/>
              <a:ext cx="104775" cy="1571625"/>
            </a:xfrm>
            <a:prstGeom prst="rect">
              <a:avLst/>
            </a:prstGeom>
            <a:solidFill>
              <a:srgbClr val="FF0000">
                <a:alpha val="46000"/>
              </a:srgbClr>
            </a:solidFill>
            <a:ln w="127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4" name="Rectangle 143">
              <a:extLst>
                <a:ext uri="{FF2B5EF4-FFF2-40B4-BE49-F238E27FC236}">
                  <a16:creationId xmlns:a16="http://schemas.microsoft.com/office/drawing/2014/main" id="{6BFA9D78-285D-4095-B6B5-1D5073E55878}"/>
                </a:ext>
              </a:extLst>
            </p:cNvPr>
            <p:cNvSpPr/>
            <p:nvPr/>
          </p:nvSpPr>
          <p:spPr>
            <a:xfrm>
              <a:off x="11101361" y="2832100"/>
              <a:ext cx="104789" cy="1143001"/>
            </a:xfrm>
            <a:prstGeom prst="rect">
              <a:avLst/>
            </a:prstGeom>
            <a:solidFill>
              <a:srgbClr val="ED7D31">
                <a:alpha val="46000"/>
              </a:srgbClr>
            </a:solidFill>
            <a:ln w="12700" cap="flat" cmpd="sng" algn="ctr">
              <a:solidFill>
                <a:srgbClr val="ED7D31"/>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5" name="Rectangle 144">
              <a:extLst>
                <a:ext uri="{FF2B5EF4-FFF2-40B4-BE49-F238E27FC236}">
                  <a16:creationId xmlns:a16="http://schemas.microsoft.com/office/drawing/2014/main" id="{09E80638-E8DA-4E16-BD40-EF6FF31D87BC}"/>
                </a:ext>
              </a:extLst>
            </p:cNvPr>
            <p:cNvSpPr/>
            <p:nvPr/>
          </p:nvSpPr>
          <p:spPr>
            <a:xfrm>
              <a:off x="11248984" y="3070225"/>
              <a:ext cx="104803" cy="904876"/>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6" name="Rectangle 145">
              <a:extLst>
                <a:ext uri="{FF2B5EF4-FFF2-40B4-BE49-F238E27FC236}">
                  <a16:creationId xmlns:a16="http://schemas.microsoft.com/office/drawing/2014/main" id="{62075E16-06C1-4638-9ED3-FF277F5E7562}"/>
                </a:ext>
              </a:extLst>
            </p:cNvPr>
            <p:cNvSpPr/>
            <p:nvPr/>
          </p:nvSpPr>
          <p:spPr>
            <a:xfrm>
              <a:off x="11396649" y="3241675"/>
              <a:ext cx="104775"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7" name="Rectangle 146">
              <a:extLst>
                <a:ext uri="{FF2B5EF4-FFF2-40B4-BE49-F238E27FC236}">
                  <a16:creationId xmlns:a16="http://schemas.microsoft.com/office/drawing/2014/main" id="{9AA2D4F3-50FE-45AB-AB72-D86D0F5C7366}"/>
                </a:ext>
              </a:extLst>
            </p:cNvPr>
            <p:cNvSpPr/>
            <p:nvPr/>
          </p:nvSpPr>
          <p:spPr>
            <a:xfrm>
              <a:off x="11544258" y="3603625"/>
              <a:ext cx="104803"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8" name="Rectangle 147">
              <a:extLst>
                <a:ext uri="{FF2B5EF4-FFF2-40B4-BE49-F238E27FC236}">
                  <a16:creationId xmlns:a16="http://schemas.microsoft.com/office/drawing/2014/main" id="{BBDD3BDC-E5FF-44F8-93EF-332D4ED92AF4}"/>
                </a:ext>
              </a:extLst>
            </p:cNvPr>
            <p:cNvSpPr/>
            <p:nvPr/>
          </p:nvSpPr>
          <p:spPr>
            <a:xfrm>
              <a:off x="11691895" y="3670300"/>
              <a:ext cx="100055"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149" name="Straight Connector 148">
              <a:extLst>
                <a:ext uri="{FF2B5EF4-FFF2-40B4-BE49-F238E27FC236}">
                  <a16:creationId xmlns:a16="http://schemas.microsoft.com/office/drawing/2014/main" id="{3DCC41A5-F24C-42D0-A2E1-0BF6FD73D26C}"/>
                </a:ext>
              </a:extLst>
            </p:cNvPr>
            <p:cNvCxnSpPr/>
            <p:nvPr/>
          </p:nvCxnSpPr>
          <p:spPr>
            <a:xfrm>
              <a:off x="7330440" y="3022600"/>
              <a:ext cx="4461510" cy="47625"/>
            </a:xfrm>
            <a:prstGeom prst="line">
              <a:avLst/>
            </a:prstGeom>
            <a:noFill/>
            <a:ln w="38100" cap="flat" cmpd="sng" algn="ctr">
              <a:solidFill>
                <a:srgbClr val="FF0000">
                  <a:alpha val="48000"/>
                </a:srgbClr>
              </a:solidFill>
              <a:prstDash val="sysDash"/>
              <a:miter lim="800000"/>
            </a:ln>
            <a:effectLst/>
          </p:spPr>
        </p:cxnSp>
      </p:grpSp>
      <p:sp>
        <p:nvSpPr>
          <p:cNvPr id="49" name="Callout: Line with Accent Bar 48">
            <a:extLst>
              <a:ext uri="{FF2B5EF4-FFF2-40B4-BE49-F238E27FC236}">
                <a16:creationId xmlns:a16="http://schemas.microsoft.com/office/drawing/2014/main" id="{FC1345B1-E429-49BF-B949-C7FB8FEF3A22}"/>
              </a:ext>
            </a:extLst>
          </p:cNvPr>
          <p:cNvSpPr/>
          <p:nvPr/>
        </p:nvSpPr>
        <p:spPr bwMode="auto">
          <a:xfrm>
            <a:off x="1131728" y="4530720"/>
            <a:ext cx="1612899" cy="488905"/>
          </a:xfrm>
          <a:prstGeom prst="accentCallout1">
            <a:avLst>
              <a:gd name="adj1" fmla="val 48623"/>
              <a:gd name="adj2" fmla="val 106331"/>
              <a:gd name="adj3" fmla="val -12349"/>
              <a:gd name="adj4" fmla="val 138911"/>
            </a:avLst>
          </a:prstGeom>
          <a:noFill/>
          <a:ln>
            <a:solidFill>
              <a:srgbClr val="FFFF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r" defTabSz="932472" fontAlgn="base">
              <a:spcBef>
                <a:spcPct val="0"/>
              </a:spcBef>
              <a:spcAft>
                <a:spcPct val="0"/>
              </a:spcAft>
            </a:pPr>
            <a:r>
              <a:rPr lang="en-US" sz="2000" dirty="0">
                <a:solidFill>
                  <a:schemeClr val="tx1"/>
                </a:solidFill>
                <a:latin typeface="+mj-lt"/>
              </a:rPr>
              <a:t> Limit  </a:t>
            </a:r>
          </a:p>
        </p:txBody>
      </p:sp>
      <p:sp>
        <p:nvSpPr>
          <p:cNvPr id="51" name="Rectangle 50">
            <a:extLst>
              <a:ext uri="{FF2B5EF4-FFF2-40B4-BE49-F238E27FC236}">
                <a16:creationId xmlns:a16="http://schemas.microsoft.com/office/drawing/2014/main" id="{67D0B280-B1DB-4654-A257-86E95D812484}"/>
              </a:ext>
            </a:extLst>
          </p:cNvPr>
          <p:cNvSpPr/>
          <p:nvPr/>
        </p:nvSpPr>
        <p:spPr bwMode="auto">
          <a:xfrm>
            <a:off x="3610310" y="354277"/>
            <a:ext cx="1262096"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spTree>
    <p:extLst>
      <p:ext uri="{BB962C8B-B14F-4D97-AF65-F5344CB8AC3E}">
        <p14:creationId xmlns:p14="http://schemas.microsoft.com/office/powerpoint/2010/main" val="8493131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1000"/>
                                  </p:stCondLst>
                                  <p:childTnLst>
                                    <p:set>
                                      <p:cBhvr>
                                        <p:cTn id="6" dur="1" fill="hold">
                                          <p:stCondLst>
                                            <p:cond delay="0"/>
                                          </p:stCondLst>
                                        </p:cTn>
                                        <p:tgtEl>
                                          <p:spTgt spid="118"/>
                                        </p:tgtEl>
                                        <p:attrNameLst>
                                          <p:attrName>style.visibility</p:attrName>
                                        </p:attrNameLst>
                                      </p:cBhvr>
                                      <p:to>
                                        <p:strVal val="visible"/>
                                      </p:to>
                                    </p:set>
                                    <p:animEffect transition="in" filter="fade">
                                      <p:cBhvr>
                                        <p:cTn id="7" dur="500"/>
                                        <p:tgtEl>
                                          <p:spTgt spid="118"/>
                                        </p:tgtEl>
                                      </p:cBhvr>
                                    </p:animEffect>
                                  </p:childTnLst>
                                </p:cTn>
                              </p:par>
                            </p:childTnLst>
                          </p:cTn>
                        </p:par>
                        <p:par>
                          <p:cTn id="8" fill="hold">
                            <p:stCondLst>
                              <p:cond delay="1500"/>
                            </p:stCondLst>
                            <p:childTnLst>
                              <p:par>
                                <p:cTn id="9" presetID="10" presetClass="entr" presetSubtype="0" fill="hold" grpId="0" nodeType="afterEffect">
                                  <p:stCondLst>
                                    <p:cond delay="0"/>
                                  </p:stCondLst>
                                  <p:childTnLst>
                                    <p:set>
                                      <p:cBhvr>
                                        <p:cTn id="10" dur="1" fill="hold">
                                          <p:stCondLst>
                                            <p:cond delay="0"/>
                                          </p:stCondLst>
                                        </p:cTn>
                                        <p:tgtEl>
                                          <p:spTgt spid="49"/>
                                        </p:tgtEl>
                                        <p:attrNameLst>
                                          <p:attrName>style.visibility</p:attrName>
                                        </p:attrNameLst>
                                      </p:cBhvr>
                                      <p:to>
                                        <p:strVal val="visible"/>
                                      </p:to>
                                    </p:set>
                                    <p:animEffect transition="in" filter="fade">
                                      <p:cBhvr>
                                        <p:cTn id="11" dur="500"/>
                                        <p:tgtEl>
                                          <p:spTgt spid="49"/>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51"/>
                                        </p:tgtEl>
                                        <p:attrNameLst>
                                          <p:attrName>style.visibility</p:attrName>
                                        </p:attrNameLst>
                                      </p:cBhvr>
                                      <p:to>
                                        <p:strVal val="visible"/>
                                      </p:to>
                                    </p:set>
                                    <p:animEffect transition="in" filter="fade">
                                      <p:cBhvr>
                                        <p:cTn id="15" dur="5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51"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5CE635B8-4354-4490-BC66-8CBE63376D2A}"/>
              </a:ext>
            </a:extLst>
          </p:cNvPr>
          <p:cNvSpPr/>
          <p:nvPr/>
        </p:nvSpPr>
        <p:spPr bwMode="auto">
          <a:xfrm>
            <a:off x="3576342" y="5177302"/>
            <a:ext cx="187864" cy="13334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sp>
        <p:nvSpPr>
          <p:cNvPr id="204" name="Rectangle 203">
            <a:extLst>
              <a:ext uri="{FF2B5EF4-FFF2-40B4-BE49-F238E27FC236}">
                <a16:creationId xmlns:a16="http://schemas.microsoft.com/office/drawing/2014/main" id="{7068EF1F-59E6-4D5D-9DB6-BA82C76106D3}"/>
              </a:ext>
            </a:extLst>
          </p:cNvPr>
          <p:cNvSpPr/>
          <p:nvPr/>
        </p:nvSpPr>
        <p:spPr bwMode="auto">
          <a:xfrm>
            <a:off x="3979542" y="5177302"/>
            <a:ext cx="187864" cy="13334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METER</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grpSp>
        <p:nvGrpSpPr>
          <p:cNvPr id="76" name="Group 75">
            <a:extLst>
              <a:ext uri="{FF2B5EF4-FFF2-40B4-BE49-F238E27FC236}">
                <a16:creationId xmlns:a16="http://schemas.microsoft.com/office/drawing/2014/main" id="{941D3486-B2D6-4FFB-8F42-D6700A9B9773}"/>
              </a:ext>
            </a:extLst>
          </p:cNvPr>
          <p:cNvGrpSpPr/>
          <p:nvPr/>
        </p:nvGrpSpPr>
        <p:grpSpPr>
          <a:xfrm>
            <a:off x="303978" y="2912437"/>
            <a:ext cx="1268659" cy="3596143"/>
            <a:chOff x="303978" y="2912437"/>
            <a:chExt cx="1268659" cy="3596143"/>
          </a:xfrm>
        </p:grpSpPr>
        <p:sp>
          <p:nvSpPr>
            <p:cNvPr id="77" name="IoT">
              <a:extLst>
                <a:ext uri="{FF2B5EF4-FFF2-40B4-BE49-F238E27FC236}">
                  <a16:creationId xmlns:a16="http://schemas.microsoft.com/office/drawing/2014/main" id="{57FD0963-5703-442B-8EF9-731CAC0F7F36}"/>
                </a:ext>
              </a:extLst>
            </p:cNvPr>
            <p:cNvSpPr/>
            <p:nvPr/>
          </p:nvSpPr>
          <p:spPr>
            <a:xfrm>
              <a:off x="303978" y="2912437"/>
              <a:ext cx="1242302" cy="3596143"/>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050" dirty="0">
                  <a:solidFill>
                    <a:prstClr val="white"/>
                  </a:solidFill>
                  <a:latin typeface="Segoe UI Semibold" panose="020B0702040204020203" pitchFamily="34" charset="0"/>
                  <a:ea typeface="Segoe UI" pitchFamily="34" charset="0"/>
                  <a:cs typeface="Segoe UI" pitchFamily="34" charset="0"/>
                </a:rPr>
                <a:t>Site</a:t>
              </a:r>
            </a:p>
          </p:txBody>
        </p:sp>
        <p:grpSp>
          <p:nvGrpSpPr>
            <p:cNvPr id="78" name="Group 77">
              <a:extLst>
                <a:ext uri="{FF2B5EF4-FFF2-40B4-BE49-F238E27FC236}">
                  <a16:creationId xmlns:a16="http://schemas.microsoft.com/office/drawing/2014/main" id="{826F64E4-2E8C-4E7C-BC86-45A4884A69B3}"/>
                </a:ext>
              </a:extLst>
            </p:cNvPr>
            <p:cNvGrpSpPr/>
            <p:nvPr/>
          </p:nvGrpSpPr>
          <p:grpSpPr>
            <a:xfrm>
              <a:off x="303978" y="3308331"/>
              <a:ext cx="1242302" cy="961502"/>
              <a:chOff x="523074" y="2148986"/>
              <a:chExt cx="1575998" cy="1219773"/>
            </a:xfrm>
          </p:grpSpPr>
          <p:pic>
            <p:nvPicPr>
              <p:cNvPr id="84" name="Picture 83">
                <a:extLst>
                  <a:ext uri="{FF2B5EF4-FFF2-40B4-BE49-F238E27FC236}">
                    <a16:creationId xmlns:a16="http://schemas.microsoft.com/office/drawing/2014/main" id="{4EB8A5FF-3280-4E90-9C4D-DE0E883013FC}"/>
                  </a:ext>
                </a:extLst>
              </p:cNvPr>
              <p:cNvPicPr>
                <a:picLocks noChangeAspect="1"/>
              </p:cNvPicPr>
              <p:nvPr/>
            </p:nvPicPr>
            <p:blipFill>
              <a:blip r:embed="rId6"/>
              <a:stretch>
                <a:fillRect/>
              </a:stretch>
            </p:blipFill>
            <p:spPr>
              <a:xfrm>
                <a:off x="736548" y="2148986"/>
                <a:ext cx="1101128" cy="711255"/>
              </a:xfrm>
              <a:prstGeom prst="rect">
                <a:avLst/>
              </a:prstGeom>
            </p:spPr>
          </p:pic>
          <p:sp>
            <p:nvSpPr>
              <p:cNvPr id="85" name="TextBox 84">
                <a:extLst>
                  <a:ext uri="{FF2B5EF4-FFF2-40B4-BE49-F238E27FC236}">
                    <a16:creationId xmlns:a16="http://schemas.microsoft.com/office/drawing/2014/main" id="{F6850959-6B14-4A77-AB3E-D07FD28A39CB}"/>
                  </a:ext>
                </a:extLst>
              </p:cNvPr>
              <p:cNvSpPr txBox="1"/>
              <p:nvPr/>
            </p:nvSpPr>
            <p:spPr>
              <a:xfrm>
                <a:off x="523074" y="2809441"/>
                <a:ext cx="1575998" cy="559318"/>
              </a:xfrm>
              <a:prstGeom prst="rect">
                <a:avLst/>
              </a:prstGeom>
              <a:noFill/>
            </p:spPr>
            <p:txBody>
              <a:bodyPr wrap="square" lIns="182880" tIns="146304" rIns="182880" bIns="146304" rtlCol="0">
                <a:spAutoFit/>
              </a:bodyPr>
              <a:lstStyle/>
              <a:p>
                <a:pPr algn="ctr">
                  <a:lnSpc>
                    <a:spcPct val="90000"/>
                  </a:lnSpc>
                  <a:spcAft>
                    <a:spcPts val="600"/>
                  </a:spcAft>
                </a:pPr>
                <a:r>
                  <a:rPr lang="sv-SE" sz="1050" dirty="0">
                    <a:gradFill>
                      <a:gsLst>
                        <a:gs pos="2917">
                          <a:schemeClr val="tx1"/>
                        </a:gs>
                        <a:gs pos="30000">
                          <a:schemeClr val="tx1"/>
                        </a:gs>
                      </a:gsLst>
                      <a:lin ang="5400000" scaled="0"/>
                    </a:gradFill>
                  </a:rPr>
                  <a:t>Solar</a:t>
                </a:r>
                <a:endParaRPr lang="sv-SE" sz="1200" dirty="0">
                  <a:gradFill>
                    <a:gsLst>
                      <a:gs pos="2917">
                        <a:schemeClr val="tx1"/>
                      </a:gs>
                      <a:gs pos="30000">
                        <a:schemeClr val="tx1"/>
                      </a:gs>
                    </a:gsLst>
                    <a:lin ang="5400000" scaled="0"/>
                  </a:gradFill>
                </a:endParaRPr>
              </a:p>
            </p:txBody>
          </p:sp>
        </p:grpSp>
        <p:grpSp>
          <p:nvGrpSpPr>
            <p:cNvPr id="79" name="Group 78">
              <a:extLst>
                <a:ext uri="{FF2B5EF4-FFF2-40B4-BE49-F238E27FC236}">
                  <a16:creationId xmlns:a16="http://schemas.microsoft.com/office/drawing/2014/main" id="{0F14194F-6FFD-4002-BE70-B7CB13844387}"/>
                </a:ext>
              </a:extLst>
            </p:cNvPr>
            <p:cNvGrpSpPr/>
            <p:nvPr/>
          </p:nvGrpSpPr>
          <p:grpSpPr>
            <a:xfrm>
              <a:off x="304286" y="4446919"/>
              <a:ext cx="1268351" cy="2060115"/>
              <a:chOff x="3008281" y="2640337"/>
              <a:chExt cx="1609044" cy="2613485"/>
            </a:xfrm>
          </p:grpSpPr>
          <p:pic>
            <p:nvPicPr>
              <p:cNvPr id="80" name="Picture 79">
                <a:extLst>
                  <a:ext uri="{FF2B5EF4-FFF2-40B4-BE49-F238E27FC236}">
                    <a16:creationId xmlns:a16="http://schemas.microsoft.com/office/drawing/2014/main" id="{D80C24FF-291A-4E73-89FB-23A0E665EAA9}"/>
                  </a:ext>
                </a:extLst>
              </p:cNvPr>
              <p:cNvPicPr>
                <a:picLocks noChangeAspect="1"/>
              </p:cNvPicPr>
              <p:nvPr/>
            </p:nvPicPr>
            <p:blipFill>
              <a:blip r:embed="rId7"/>
              <a:stretch>
                <a:fillRect/>
              </a:stretch>
            </p:blipFill>
            <p:spPr>
              <a:xfrm>
                <a:off x="3321450" y="2640337"/>
                <a:ext cx="482476" cy="753869"/>
              </a:xfrm>
              <a:prstGeom prst="rect">
                <a:avLst/>
              </a:prstGeom>
            </p:spPr>
          </p:pic>
          <p:pic>
            <p:nvPicPr>
              <p:cNvPr id="81" name="Picture 80">
                <a:extLst>
                  <a:ext uri="{FF2B5EF4-FFF2-40B4-BE49-F238E27FC236}">
                    <a16:creationId xmlns:a16="http://schemas.microsoft.com/office/drawing/2014/main" id="{7C6B9E3C-DC63-42B5-9060-C5E1C33C002C}"/>
                  </a:ext>
                </a:extLst>
              </p:cNvPr>
              <p:cNvPicPr>
                <a:picLocks noChangeAspect="1"/>
              </p:cNvPicPr>
              <p:nvPr/>
            </p:nvPicPr>
            <p:blipFill>
              <a:blip r:embed="rId7"/>
              <a:stretch>
                <a:fillRect/>
              </a:stretch>
            </p:blipFill>
            <p:spPr>
              <a:xfrm>
                <a:off x="3762918" y="2640337"/>
                <a:ext cx="482476" cy="753869"/>
              </a:xfrm>
              <a:prstGeom prst="rect">
                <a:avLst/>
              </a:prstGeom>
            </p:spPr>
          </p:pic>
          <p:sp>
            <p:nvSpPr>
              <p:cNvPr id="82" name="TextBox 81">
                <a:extLst>
                  <a:ext uri="{FF2B5EF4-FFF2-40B4-BE49-F238E27FC236}">
                    <a16:creationId xmlns:a16="http://schemas.microsoft.com/office/drawing/2014/main" id="{87D8E659-6583-41E9-B096-4E004894C764}"/>
                  </a:ext>
                </a:extLst>
              </p:cNvPr>
              <p:cNvSpPr txBox="1"/>
              <p:nvPr/>
            </p:nvSpPr>
            <p:spPr>
              <a:xfrm>
                <a:off x="3041327" y="3333949"/>
                <a:ext cx="1575998" cy="559318"/>
              </a:xfrm>
              <a:prstGeom prst="rect">
                <a:avLst/>
              </a:prstGeom>
              <a:noFill/>
            </p:spPr>
            <p:txBody>
              <a:bodyPr wrap="square" lIns="182880" tIns="146304" rIns="182880" bIns="146304" rtlCol="0">
                <a:spAutoFit/>
              </a:bodyPr>
              <a:lstStyle/>
              <a:p>
                <a:pPr algn="ctr">
                  <a:lnSpc>
                    <a:spcPct val="90000"/>
                  </a:lnSpc>
                  <a:spcAft>
                    <a:spcPts val="600"/>
                  </a:spcAft>
                </a:pPr>
                <a:r>
                  <a:rPr lang="sv-SE" sz="1050" dirty="0" err="1">
                    <a:gradFill>
                      <a:gsLst>
                        <a:gs pos="2917">
                          <a:schemeClr val="tx1"/>
                        </a:gs>
                        <a:gs pos="30000">
                          <a:schemeClr val="tx1"/>
                        </a:gs>
                      </a:gsLst>
                      <a:lin ang="5400000" scaled="0"/>
                    </a:gradFill>
                  </a:rPr>
                  <a:t>Wind</a:t>
                </a:r>
                <a:endParaRPr lang="sv-SE" sz="1200" dirty="0">
                  <a:gradFill>
                    <a:gsLst>
                      <a:gs pos="2917">
                        <a:schemeClr val="tx1"/>
                      </a:gs>
                      <a:gs pos="30000">
                        <a:schemeClr val="tx1"/>
                      </a:gs>
                    </a:gsLst>
                    <a:lin ang="5400000" scaled="0"/>
                  </a:gradFill>
                </a:endParaRPr>
              </a:p>
            </p:txBody>
          </p:sp>
          <p:sp>
            <p:nvSpPr>
              <p:cNvPr id="83" name="TextBox 82">
                <a:extLst>
                  <a:ext uri="{FF2B5EF4-FFF2-40B4-BE49-F238E27FC236}">
                    <a16:creationId xmlns:a16="http://schemas.microsoft.com/office/drawing/2014/main" id="{BE889F5A-0238-453D-937C-32DDD765CB98}"/>
                  </a:ext>
                </a:extLst>
              </p:cNvPr>
              <p:cNvSpPr txBox="1"/>
              <p:nvPr/>
            </p:nvSpPr>
            <p:spPr>
              <a:xfrm>
                <a:off x="3008281" y="4694504"/>
                <a:ext cx="1575998" cy="559318"/>
              </a:xfrm>
              <a:prstGeom prst="rect">
                <a:avLst/>
              </a:prstGeom>
              <a:noFill/>
            </p:spPr>
            <p:txBody>
              <a:bodyPr wrap="square" lIns="182880" tIns="146304" rIns="182880" bIns="146304" rtlCol="0">
                <a:spAutoFit/>
              </a:bodyPr>
              <a:lstStyle/>
              <a:p>
                <a:pPr algn="ctr">
                  <a:lnSpc>
                    <a:spcPct val="90000"/>
                  </a:lnSpc>
                  <a:spcAft>
                    <a:spcPts val="600"/>
                  </a:spcAft>
                </a:pPr>
                <a:r>
                  <a:rPr lang="sv-SE" sz="1050" dirty="0">
                    <a:gradFill>
                      <a:gsLst>
                        <a:gs pos="2917">
                          <a:schemeClr val="tx1"/>
                        </a:gs>
                        <a:gs pos="30000">
                          <a:schemeClr val="tx1"/>
                        </a:gs>
                      </a:gsLst>
                      <a:lin ang="5400000" scaled="0"/>
                    </a:gradFill>
                  </a:rPr>
                  <a:t>Grid</a:t>
                </a:r>
                <a:endParaRPr lang="sv-SE" sz="1200" dirty="0">
                  <a:gradFill>
                    <a:gsLst>
                      <a:gs pos="2917">
                        <a:schemeClr val="tx1"/>
                      </a:gs>
                      <a:gs pos="30000">
                        <a:schemeClr val="tx1"/>
                      </a:gs>
                    </a:gsLst>
                    <a:lin ang="5400000" scaled="0"/>
                  </a:gradFill>
                </a:endParaRPr>
              </a:p>
            </p:txBody>
          </p:sp>
        </p:grpSp>
        <p:pic>
          <p:nvPicPr>
            <p:cNvPr id="158" name="Picture 157">
              <a:extLst>
                <a:ext uri="{FF2B5EF4-FFF2-40B4-BE49-F238E27FC236}">
                  <a16:creationId xmlns:a16="http://schemas.microsoft.com/office/drawing/2014/main" id="{4E8DCE21-781D-47FD-BCDD-4C52C2E3D344}"/>
                </a:ext>
              </a:extLst>
            </p:cNvPr>
            <p:cNvPicPr>
              <a:picLocks noChangeAspect="1"/>
            </p:cNvPicPr>
            <p:nvPr/>
          </p:nvPicPr>
          <p:blipFill>
            <a:blip r:embed="rId8"/>
            <a:stretch>
              <a:fillRect/>
            </a:stretch>
          </p:blipFill>
          <p:spPr>
            <a:xfrm>
              <a:off x="819987" y="5593891"/>
              <a:ext cx="303035" cy="567109"/>
            </a:xfrm>
            <a:prstGeom prst="rect">
              <a:avLst/>
            </a:prstGeom>
          </p:spPr>
        </p:pic>
      </p:grpSp>
      <p:sp>
        <p:nvSpPr>
          <p:cNvPr id="161" name="Rectangle 160">
            <a:extLst>
              <a:ext uri="{FF2B5EF4-FFF2-40B4-BE49-F238E27FC236}">
                <a16:creationId xmlns:a16="http://schemas.microsoft.com/office/drawing/2014/main" id="{69B0042E-36B1-4F38-84B4-22E9796EA026}"/>
              </a:ext>
            </a:extLst>
          </p:cNvPr>
          <p:cNvSpPr/>
          <p:nvPr/>
        </p:nvSpPr>
        <p:spPr bwMode="auto">
          <a:xfrm>
            <a:off x="2036218" y="4190053"/>
            <a:ext cx="166007" cy="12013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grpSp>
        <p:nvGrpSpPr>
          <p:cNvPr id="68" name="Group 67">
            <a:extLst>
              <a:ext uri="{FF2B5EF4-FFF2-40B4-BE49-F238E27FC236}">
                <a16:creationId xmlns:a16="http://schemas.microsoft.com/office/drawing/2014/main" id="{A42AEDB2-7E06-481C-B8C8-AA46B4F02D90}"/>
              </a:ext>
            </a:extLst>
          </p:cNvPr>
          <p:cNvGrpSpPr/>
          <p:nvPr/>
        </p:nvGrpSpPr>
        <p:grpSpPr>
          <a:xfrm>
            <a:off x="1583267" y="3102888"/>
            <a:ext cx="2286895" cy="2067830"/>
            <a:chOff x="1583267" y="3102888"/>
            <a:chExt cx="2286895" cy="2067830"/>
          </a:xfrm>
        </p:grpSpPr>
        <p:cxnSp>
          <p:nvCxnSpPr>
            <p:cNvPr id="108" name="Straight Arrow Connector 107">
              <a:extLst>
                <a:ext uri="{FF2B5EF4-FFF2-40B4-BE49-F238E27FC236}">
                  <a16:creationId xmlns:a16="http://schemas.microsoft.com/office/drawing/2014/main" id="{6BB0070C-54E4-4452-8483-E87A95B83A3F}"/>
                </a:ext>
              </a:extLst>
            </p:cNvPr>
            <p:cNvCxnSpPr>
              <a:cxnSpLocks/>
            </p:cNvCxnSpPr>
            <p:nvPr/>
          </p:nvCxnSpPr>
          <p:spPr>
            <a:xfrm>
              <a:off x="1583267" y="3308126"/>
              <a:ext cx="345498" cy="205"/>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72" name="Group 171">
              <a:extLst>
                <a:ext uri="{FF2B5EF4-FFF2-40B4-BE49-F238E27FC236}">
                  <a16:creationId xmlns:a16="http://schemas.microsoft.com/office/drawing/2014/main" id="{7FE1800D-8D09-43C6-8EFF-5D1CB9116739}"/>
                </a:ext>
              </a:extLst>
            </p:cNvPr>
            <p:cNvGrpSpPr/>
            <p:nvPr/>
          </p:nvGrpSpPr>
          <p:grpSpPr>
            <a:xfrm>
              <a:off x="1954794" y="3102888"/>
              <a:ext cx="1323163" cy="392416"/>
              <a:chOff x="8879884" y="3445470"/>
              <a:chExt cx="1678579" cy="497822"/>
            </a:xfrm>
          </p:grpSpPr>
          <p:sp>
            <p:nvSpPr>
              <p:cNvPr id="173" name="Field gateway">
                <a:extLst>
                  <a:ext uri="{FF2B5EF4-FFF2-40B4-BE49-F238E27FC236}">
                    <a16:creationId xmlns:a16="http://schemas.microsoft.com/office/drawing/2014/main" id="{D14BC9EF-DA58-4F4C-ACD9-675EA98656A6}"/>
                  </a:ext>
                </a:extLst>
              </p:cNvPr>
              <p:cNvSpPr/>
              <p:nvPr/>
            </p:nvSpPr>
            <p:spPr>
              <a:xfrm>
                <a:off x="8879884" y="3465983"/>
                <a:ext cx="167857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  </a:t>
                </a:r>
              </a:p>
            </p:txBody>
          </p:sp>
          <p:sp>
            <p:nvSpPr>
              <p:cNvPr id="174" name="TextBox 173">
                <a:extLst>
                  <a:ext uri="{FF2B5EF4-FFF2-40B4-BE49-F238E27FC236}">
                    <a16:creationId xmlns:a16="http://schemas.microsoft.com/office/drawing/2014/main" id="{408F7232-98DB-4AC8-A640-02D6E785F9BE}"/>
                  </a:ext>
                </a:extLst>
              </p:cNvPr>
              <p:cNvSpPr txBox="1"/>
              <p:nvPr/>
            </p:nvSpPr>
            <p:spPr>
              <a:xfrm>
                <a:off x="9103780" y="3445470"/>
                <a:ext cx="1176311" cy="497822"/>
              </a:xfrm>
              <a:prstGeom prst="rect">
                <a:avLst/>
              </a:prstGeom>
              <a:noFill/>
            </p:spPr>
            <p:txBody>
              <a:bodyPr wrap="square" lIns="182880" tIns="146304" rIns="182880" bIns="146304" rtlCol="0">
                <a:spAutoFit/>
              </a:bodyPr>
              <a:lstStyle/>
              <a:p>
                <a:pPr>
                  <a:lnSpc>
                    <a:spcPct val="90000"/>
                  </a:lnSpc>
                  <a:spcAft>
                    <a:spcPts val="600"/>
                  </a:spcAft>
                </a:pPr>
                <a:r>
                  <a:rPr lang="en-US" sz="700" dirty="0">
                    <a:solidFill>
                      <a:prstClr val="white"/>
                    </a:solidFill>
                    <a:latin typeface="Segoe UI Semibold" panose="020B0702040204020203" pitchFamily="34" charset="0"/>
                    <a:cs typeface="Segoe UI" pitchFamily="34" charset="0"/>
                  </a:rPr>
                  <a:t>Power meter</a:t>
                </a:r>
                <a:endParaRPr lang="sv-SE" sz="700" dirty="0" err="1">
                  <a:solidFill>
                    <a:prstClr val="white"/>
                  </a:solidFill>
                  <a:latin typeface="Segoe UI Semibold" panose="020B0702040204020203" pitchFamily="34" charset="0"/>
                  <a:cs typeface="Segoe UI" pitchFamily="34" charset="0"/>
                </a:endParaRPr>
              </a:p>
            </p:txBody>
          </p:sp>
          <p:pic>
            <p:nvPicPr>
              <p:cNvPr id="175" name="Picture 174">
                <a:extLst>
                  <a:ext uri="{FF2B5EF4-FFF2-40B4-BE49-F238E27FC236}">
                    <a16:creationId xmlns:a16="http://schemas.microsoft.com/office/drawing/2014/main" id="{69AD0B2A-CE53-4A46-81F4-6836DD01022C}"/>
                  </a:ext>
                </a:extLst>
              </p:cNvPr>
              <p:cNvPicPr>
                <a:picLocks noChangeAspect="1"/>
              </p:cNvPicPr>
              <p:nvPr/>
            </p:nvPicPr>
            <p:blipFill>
              <a:blip r:embed="rId9"/>
              <a:stretch>
                <a:fillRect/>
              </a:stretch>
            </p:blipFill>
            <p:spPr>
              <a:xfrm>
                <a:off x="8928592" y="3529287"/>
                <a:ext cx="302960" cy="298010"/>
              </a:xfrm>
              <a:prstGeom prst="rect">
                <a:avLst/>
              </a:prstGeom>
            </p:spPr>
          </p:pic>
        </p:grpSp>
        <p:cxnSp>
          <p:nvCxnSpPr>
            <p:cNvPr id="7" name="Connector: Elbow 6">
              <a:extLst>
                <a:ext uri="{FF2B5EF4-FFF2-40B4-BE49-F238E27FC236}">
                  <a16:creationId xmlns:a16="http://schemas.microsoft.com/office/drawing/2014/main" id="{7C0BF5A1-0681-4531-B982-7FA40664EE90}"/>
                </a:ext>
              </a:extLst>
            </p:cNvPr>
            <p:cNvCxnSpPr>
              <a:cxnSpLocks/>
              <a:stCxn id="173" idx="3"/>
              <a:endCxn id="231" idx="0"/>
            </p:cNvCxnSpPr>
            <p:nvPr/>
          </p:nvCxnSpPr>
          <p:spPr>
            <a:xfrm>
              <a:off x="3277957" y="3290632"/>
              <a:ext cx="592205" cy="1880086"/>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72" name="Group 71">
            <a:extLst>
              <a:ext uri="{FF2B5EF4-FFF2-40B4-BE49-F238E27FC236}">
                <a16:creationId xmlns:a16="http://schemas.microsoft.com/office/drawing/2014/main" id="{37DD5AE6-1270-458E-83DF-06DC9167B6EB}"/>
              </a:ext>
            </a:extLst>
          </p:cNvPr>
          <p:cNvGrpSpPr/>
          <p:nvPr/>
        </p:nvGrpSpPr>
        <p:grpSpPr>
          <a:xfrm>
            <a:off x="1576918" y="4163764"/>
            <a:ext cx="2093356" cy="2353134"/>
            <a:chOff x="1576918" y="4163764"/>
            <a:chExt cx="2093356" cy="2353134"/>
          </a:xfrm>
        </p:grpSpPr>
        <p:cxnSp>
          <p:nvCxnSpPr>
            <p:cNvPr id="98" name="Straight Arrow Connector 97">
              <a:extLst>
                <a:ext uri="{FF2B5EF4-FFF2-40B4-BE49-F238E27FC236}">
                  <a16:creationId xmlns:a16="http://schemas.microsoft.com/office/drawing/2014/main" id="{7FBD1D23-04F9-47D5-AE78-620E2C2B5E58}"/>
                </a:ext>
              </a:extLst>
            </p:cNvPr>
            <p:cNvCxnSpPr>
              <a:cxnSpLocks/>
            </p:cNvCxnSpPr>
            <p:nvPr/>
          </p:nvCxnSpPr>
          <p:spPr>
            <a:xfrm>
              <a:off x="1576918" y="6073853"/>
              <a:ext cx="345498" cy="205"/>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62" name="Group 161">
              <a:extLst>
                <a:ext uri="{FF2B5EF4-FFF2-40B4-BE49-F238E27FC236}">
                  <a16:creationId xmlns:a16="http://schemas.microsoft.com/office/drawing/2014/main" id="{BEEC0502-3CA2-4C7D-B6C9-779AD010A33E}"/>
                </a:ext>
              </a:extLst>
            </p:cNvPr>
            <p:cNvGrpSpPr/>
            <p:nvPr/>
          </p:nvGrpSpPr>
          <p:grpSpPr>
            <a:xfrm>
              <a:off x="1942752" y="4163764"/>
              <a:ext cx="1323163" cy="406264"/>
              <a:chOff x="5841409" y="4148535"/>
              <a:chExt cx="1678579" cy="515391"/>
            </a:xfrm>
          </p:grpSpPr>
          <p:sp>
            <p:nvSpPr>
              <p:cNvPr id="163" name="Field gateway">
                <a:extLst>
                  <a:ext uri="{FF2B5EF4-FFF2-40B4-BE49-F238E27FC236}">
                    <a16:creationId xmlns:a16="http://schemas.microsoft.com/office/drawing/2014/main" id="{395A3D70-148E-490B-A853-1AD8434E8264}"/>
                  </a:ext>
                </a:extLst>
              </p:cNvPr>
              <p:cNvSpPr/>
              <p:nvPr/>
            </p:nvSpPr>
            <p:spPr>
              <a:xfrm>
                <a:off x="5841409" y="4170034"/>
                <a:ext cx="167857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  </a:t>
                </a:r>
              </a:p>
            </p:txBody>
          </p:sp>
          <p:sp>
            <p:nvSpPr>
              <p:cNvPr id="164" name="TextBox 163">
                <a:extLst>
                  <a:ext uri="{FF2B5EF4-FFF2-40B4-BE49-F238E27FC236}">
                    <a16:creationId xmlns:a16="http://schemas.microsoft.com/office/drawing/2014/main" id="{2F81475C-22AE-4B0D-9D45-20DF69958297}"/>
                  </a:ext>
                </a:extLst>
              </p:cNvPr>
              <p:cNvSpPr txBox="1"/>
              <p:nvPr/>
            </p:nvSpPr>
            <p:spPr>
              <a:xfrm>
                <a:off x="6103472" y="4148535"/>
                <a:ext cx="1364605" cy="515391"/>
              </a:xfrm>
              <a:prstGeom prst="rect">
                <a:avLst/>
              </a:prstGeom>
              <a:noFill/>
            </p:spPr>
            <p:txBody>
              <a:bodyPr wrap="square" lIns="182880" tIns="146304" rIns="182880" bIns="146304" rtlCol="0">
                <a:spAutoFit/>
              </a:bodyPr>
              <a:lstStyle/>
              <a:p>
                <a:pPr>
                  <a:lnSpc>
                    <a:spcPct val="90000"/>
                  </a:lnSpc>
                  <a:spcAft>
                    <a:spcPts val="600"/>
                  </a:spcAft>
                </a:pPr>
                <a:r>
                  <a:rPr lang="en-US" sz="700" dirty="0">
                    <a:solidFill>
                      <a:prstClr val="white"/>
                    </a:solidFill>
                    <a:latin typeface="Segoe UI Semibold" panose="020B0702040204020203" pitchFamily="34" charset="0"/>
                    <a:cs typeface="Segoe UI" pitchFamily="34" charset="0"/>
                  </a:rPr>
                  <a:t>Battery controller</a:t>
                </a:r>
                <a:endParaRPr lang="sv-SE" sz="700" dirty="0" err="1">
                  <a:solidFill>
                    <a:prstClr val="white"/>
                  </a:solidFill>
                  <a:latin typeface="Segoe UI Semibold" panose="020B0702040204020203" pitchFamily="34" charset="0"/>
                  <a:cs typeface="Segoe UI" pitchFamily="34" charset="0"/>
                </a:endParaRPr>
              </a:p>
            </p:txBody>
          </p:sp>
          <p:pic>
            <p:nvPicPr>
              <p:cNvPr id="165" name="Picture 164">
                <a:extLst>
                  <a:ext uri="{FF2B5EF4-FFF2-40B4-BE49-F238E27FC236}">
                    <a16:creationId xmlns:a16="http://schemas.microsoft.com/office/drawing/2014/main" id="{8DE41D3F-83BE-4508-AC79-4C658B76FD66}"/>
                  </a:ext>
                </a:extLst>
              </p:cNvPr>
              <p:cNvPicPr>
                <a:picLocks noChangeAspect="1"/>
              </p:cNvPicPr>
              <p:nvPr/>
            </p:nvPicPr>
            <p:blipFill>
              <a:blip r:embed="rId10"/>
              <a:stretch>
                <a:fillRect/>
              </a:stretch>
            </p:blipFill>
            <p:spPr>
              <a:xfrm>
                <a:off x="5919158" y="4229900"/>
                <a:ext cx="292293" cy="314353"/>
              </a:xfrm>
              <a:prstGeom prst="rect">
                <a:avLst/>
              </a:prstGeom>
            </p:spPr>
          </p:pic>
        </p:grpSp>
        <p:grpSp>
          <p:nvGrpSpPr>
            <p:cNvPr id="166" name="Group 165">
              <a:extLst>
                <a:ext uri="{FF2B5EF4-FFF2-40B4-BE49-F238E27FC236}">
                  <a16:creationId xmlns:a16="http://schemas.microsoft.com/office/drawing/2014/main" id="{DA3ED7EC-638C-4A9C-B479-AC40377A0E17}"/>
                </a:ext>
              </a:extLst>
            </p:cNvPr>
            <p:cNvGrpSpPr/>
            <p:nvPr/>
          </p:nvGrpSpPr>
          <p:grpSpPr>
            <a:xfrm>
              <a:off x="1942750" y="5461384"/>
              <a:ext cx="1323163" cy="1055514"/>
              <a:chOff x="7711911" y="5475298"/>
              <a:chExt cx="1323163" cy="1055514"/>
            </a:xfrm>
          </p:grpSpPr>
          <p:sp>
            <p:nvSpPr>
              <p:cNvPr id="167" name="Field gateway">
                <a:extLst>
                  <a:ext uri="{FF2B5EF4-FFF2-40B4-BE49-F238E27FC236}">
                    <a16:creationId xmlns:a16="http://schemas.microsoft.com/office/drawing/2014/main" id="{773B983C-A928-402B-9FF6-3B47DD2550D2}"/>
                  </a:ext>
                </a:extLst>
              </p:cNvPr>
              <p:cNvSpPr/>
              <p:nvPr/>
            </p:nvSpPr>
            <p:spPr>
              <a:xfrm>
                <a:off x="7711911" y="5475298"/>
                <a:ext cx="1323163" cy="105551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Battery</a:t>
                </a:r>
              </a:p>
            </p:txBody>
          </p:sp>
          <p:pic>
            <p:nvPicPr>
              <p:cNvPr id="168" name="Picture 167">
                <a:extLst>
                  <a:ext uri="{FF2B5EF4-FFF2-40B4-BE49-F238E27FC236}">
                    <a16:creationId xmlns:a16="http://schemas.microsoft.com/office/drawing/2014/main" id="{DB5C6ED4-FBAA-4EA1-A8D3-04125B04E9B5}"/>
                  </a:ext>
                </a:extLst>
              </p:cNvPr>
              <p:cNvPicPr>
                <a:picLocks noChangeAspect="1"/>
              </p:cNvPicPr>
              <p:nvPr/>
            </p:nvPicPr>
            <p:blipFill>
              <a:blip r:embed="rId11"/>
              <a:stretch>
                <a:fillRect/>
              </a:stretch>
            </p:blipFill>
            <p:spPr>
              <a:xfrm>
                <a:off x="8113719" y="5745437"/>
                <a:ext cx="543636" cy="423441"/>
              </a:xfrm>
              <a:prstGeom prst="rect">
                <a:avLst/>
              </a:prstGeom>
            </p:spPr>
          </p:pic>
        </p:grpSp>
        <p:cxnSp>
          <p:nvCxnSpPr>
            <p:cNvPr id="169" name="Straight Arrow Connector 168">
              <a:extLst>
                <a:ext uri="{FF2B5EF4-FFF2-40B4-BE49-F238E27FC236}">
                  <a16:creationId xmlns:a16="http://schemas.microsoft.com/office/drawing/2014/main" id="{89361F71-FCED-40AF-BCC4-0506796E3437}"/>
                </a:ext>
              </a:extLst>
            </p:cNvPr>
            <p:cNvCxnSpPr>
              <a:cxnSpLocks/>
              <a:stCxn id="163" idx="2"/>
              <a:endCxn id="167" idx="0"/>
            </p:cNvCxnSpPr>
            <p:nvPr/>
          </p:nvCxnSpPr>
          <p:spPr>
            <a:xfrm flipH="1">
              <a:off x="2604332" y="4523857"/>
              <a:ext cx="2" cy="937527"/>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FBC27F2B-4803-4BAD-A0A7-942862FB0EA0}"/>
                </a:ext>
              </a:extLst>
            </p:cNvPr>
            <p:cNvCxnSpPr>
              <a:cxnSpLocks/>
              <a:stCxn id="163" idx="3"/>
              <a:endCxn id="15" idx="0"/>
            </p:cNvCxnSpPr>
            <p:nvPr/>
          </p:nvCxnSpPr>
          <p:spPr>
            <a:xfrm>
              <a:off x="3265915" y="4352284"/>
              <a:ext cx="404359" cy="825018"/>
            </a:xfrm>
            <a:prstGeom prst="bentConnector2">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5EA0831B-DF0A-47C8-97F4-823E10396257}"/>
              </a:ext>
            </a:extLst>
          </p:cNvPr>
          <p:cNvGrpSpPr/>
          <p:nvPr/>
        </p:nvGrpSpPr>
        <p:grpSpPr>
          <a:xfrm>
            <a:off x="8809374" y="5636752"/>
            <a:ext cx="2324702" cy="738775"/>
            <a:chOff x="8809374" y="5636752"/>
            <a:chExt cx="2324702" cy="738775"/>
          </a:xfrm>
        </p:grpSpPr>
        <p:grpSp>
          <p:nvGrpSpPr>
            <p:cNvPr id="182" name="Group 181">
              <a:extLst>
                <a:ext uri="{FF2B5EF4-FFF2-40B4-BE49-F238E27FC236}">
                  <a16:creationId xmlns:a16="http://schemas.microsoft.com/office/drawing/2014/main" id="{63666735-3ECD-4F57-B7A1-EE1019E1BAA7}"/>
                </a:ext>
              </a:extLst>
            </p:cNvPr>
            <p:cNvGrpSpPr/>
            <p:nvPr/>
          </p:nvGrpSpPr>
          <p:grpSpPr>
            <a:xfrm>
              <a:off x="10035275" y="5636752"/>
              <a:ext cx="1098801" cy="738775"/>
              <a:chOff x="2051583" y="2577902"/>
              <a:chExt cx="1098801" cy="738775"/>
            </a:xfrm>
          </p:grpSpPr>
          <p:sp>
            <p:nvSpPr>
              <p:cNvPr id="183" name="Field gateway">
                <a:extLst>
                  <a:ext uri="{FF2B5EF4-FFF2-40B4-BE49-F238E27FC236}">
                    <a16:creationId xmlns:a16="http://schemas.microsoft.com/office/drawing/2014/main" id="{07D81580-0351-40A7-A461-3521CCA3B8FB}"/>
                  </a:ext>
                </a:extLst>
              </p:cNvPr>
              <p:cNvSpPr/>
              <p:nvPr/>
            </p:nvSpPr>
            <p:spPr>
              <a:xfrm>
                <a:off x="2051583" y="2577902"/>
                <a:ext cx="1098801" cy="738775"/>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AI</a:t>
                </a:r>
              </a:p>
            </p:txBody>
          </p:sp>
          <p:pic>
            <p:nvPicPr>
              <p:cNvPr id="184" name="Picture 183">
                <a:extLst>
                  <a:ext uri="{FF2B5EF4-FFF2-40B4-BE49-F238E27FC236}">
                    <a16:creationId xmlns:a16="http://schemas.microsoft.com/office/drawing/2014/main" id="{EDAE1F41-9CD4-4A68-A748-84EE65E81062}"/>
                  </a:ext>
                </a:extLst>
              </p:cNvPr>
              <p:cNvPicPr>
                <a:picLocks noChangeAspect="1"/>
              </p:cNvPicPr>
              <p:nvPr/>
            </p:nvPicPr>
            <p:blipFill>
              <a:blip r:embed="rId12"/>
              <a:stretch>
                <a:fillRect/>
              </a:stretch>
            </p:blipFill>
            <p:spPr>
              <a:xfrm>
                <a:off x="2342398" y="2679875"/>
                <a:ext cx="435745" cy="435745"/>
              </a:xfrm>
              <a:prstGeom prst="rect">
                <a:avLst/>
              </a:prstGeom>
            </p:spPr>
          </p:pic>
        </p:grpSp>
        <p:cxnSp>
          <p:nvCxnSpPr>
            <p:cNvPr id="27" name="Straight Arrow Connector 26">
              <a:extLst>
                <a:ext uri="{FF2B5EF4-FFF2-40B4-BE49-F238E27FC236}">
                  <a16:creationId xmlns:a16="http://schemas.microsoft.com/office/drawing/2014/main" id="{77449DEB-AEA9-4082-8AD0-CEE04BF4779E}"/>
                </a:ext>
              </a:extLst>
            </p:cNvPr>
            <p:cNvCxnSpPr>
              <a:cxnSpLocks/>
              <a:stCxn id="183" idx="1"/>
            </p:cNvCxnSpPr>
            <p:nvPr/>
          </p:nvCxnSpPr>
          <p:spPr>
            <a:xfrm flipH="1">
              <a:off x="8809374" y="6006140"/>
              <a:ext cx="1225901" cy="325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94" name="Group 193">
            <a:extLst>
              <a:ext uri="{FF2B5EF4-FFF2-40B4-BE49-F238E27FC236}">
                <a16:creationId xmlns:a16="http://schemas.microsoft.com/office/drawing/2014/main" id="{E7FC3B45-7718-446E-83BE-67737493B65D}"/>
              </a:ext>
            </a:extLst>
          </p:cNvPr>
          <p:cNvGrpSpPr/>
          <p:nvPr/>
        </p:nvGrpSpPr>
        <p:grpSpPr>
          <a:xfrm>
            <a:off x="10526046" y="3900445"/>
            <a:ext cx="1553884" cy="1529848"/>
            <a:chOff x="3674622" y="3900446"/>
            <a:chExt cx="1553884" cy="1529848"/>
          </a:xfrm>
        </p:grpSpPr>
        <p:cxnSp>
          <p:nvCxnSpPr>
            <p:cNvPr id="195" name="Connector: Elbow 194">
              <a:extLst>
                <a:ext uri="{FF2B5EF4-FFF2-40B4-BE49-F238E27FC236}">
                  <a16:creationId xmlns:a16="http://schemas.microsoft.com/office/drawing/2014/main" id="{DCC3667D-0A06-4F14-B1E3-69DE23275397}"/>
                </a:ext>
              </a:extLst>
            </p:cNvPr>
            <p:cNvCxnSpPr>
              <a:cxnSpLocks/>
              <a:stCxn id="202" idx="1"/>
              <a:endCxn id="186" idx="3"/>
            </p:cNvCxnSpPr>
            <p:nvPr/>
          </p:nvCxnSpPr>
          <p:spPr>
            <a:xfrm rot="10800000">
              <a:off x="3674623" y="4714045"/>
              <a:ext cx="455083" cy="346862"/>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6" name="Connector: Elbow 195">
              <a:extLst>
                <a:ext uri="{FF2B5EF4-FFF2-40B4-BE49-F238E27FC236}">
                  <a16:creationId xmlns:a16="http://schemas.microsoft.com/office/drawing/2014/main" id="{E5CF38C8-7D3D-49AA-819C-277CD47458D3}"/>
                </a:ext>
              </a:extLst>
            </p:cNvPr>
            <p:cNvCxnSpPr>
              <a:cxnSpLocks/>
              <a:stCxn id="199" idx="1"/>
              <a:endCxn id="186" idx="3"/>
            </p:cNvCxnSpPr>
            <p:nvPr/>
          </p:nvCxnSpPr>
          <p:spPr>
            <a:xfrm rot="10800000" flipV="1">
              <a:off x="3674622" y="4269833"/>
              <a:ext cx="455084" cy="444211"/>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97" name="Group 196">
              <a:extLst>
                <a:ext uri="{FF2B5EF4-FFF2-40B4-BE49-F238E27FC236}">
                  <a16:creationId xmlns:a16="http://schemas.microsoft.com/office/drawing/2014/main" id="{9C16CDF5-9669-4780-87E9-E5B678B8BDF5}"/>
                </a:ext>
              </a:extLst>
            </p:cNvPr>
            <p:cNvGrpSpPr/>
            <p:nvPr/>
          </p:nvGrpSpPr>
          <p:grpSpPr>
            <a:xfrm>
              <a:off x="4129705" y="4691519"/>
              <a:ext cx="1098800" cy="738775"/>
              <a:chOff x="3901915" y="4162035"/>
              <a:chExt cx="1393951" cy="937219"/>
            </a:xfrm>
          </p:grpSpPr>
          <p:sp>
            <p:nvSpPr>
              <p:cNvPr id="202" name="Field gateway">
                <a:extLst>
                  <a:ext uri="{FF2B5EF4-FFF2-40B4-BE49-F238E27FC236}">
                    <a16:creationId xmlns:a16="http://schemas.microsoft.com/office/drawing/2014/main" id="{94F774C4-F65F-4F0C-8960-7E1A01AA9197}"/>
                  </a:ext>
                </a:extLst>
              </p:cNvPr>
              <p:cNvSpPr/>
              <p:nvPr/>
            </p:nvSpPr>
            <p:spPr>
              <a:xfrm>
                <a:off x="3901915" y="4162035"/>
                <a:ext cx="1393951" cy="9372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Weather</a:t>
                </a:r>
              </a:p>
            </p:txBody>
          </p:sp>
          <p:pic>
            <p:nvPicPr>
              <p:cNvPr id="203" name="Picture 202">
                <a:extLst>
                  <a:ext uri="{FF2B5EF4-FFF2-40B4-BE49-F238E27FC236}">
                    <a16:creationId xmlns:a16="http://schemas.microsoft.com/office/drawing/2014/main" id="{CBDAF22B-8D8C-4E00-9D8D-42911465AF00}"/>
                  </a:ext>
                </a:extLst>
              </p:cNvPr>
              <p:cNvPicPr>
                <a:picLocks noChangeAspect="1"/>
              </p:cNvPicPr>
              <p:nvPr/>
            </p:nvPicPr>
            <p:blipFill>
              <a:blip r:embed="rId13"/>
              <a:stretch>
                <a:fillRect/>
              </a:stretch>
            </p:blipFill>
            <p:spPr>
              <a:xfrm>
                <a:off x="4269824" y="4260960"/>
                <a:ext cx="632864" cy="565206"/>
              </a:xfrm>
              <a:prstGeom prst="rect">
                <a:avLst/>
              </a:prstGeom>
            </p:spPr>
          </p:pic>
        </p:grpSp>
        <p:grpSp>
          <p:nvGrpSpPr>
            <p:cNvPr id="198" name="Group 197">
              <a:extLst>
                <a:ext uri="{FF2B5EF4-FFF2-40B4-BE49-F238E27FC236}">
                  <a16:creationId xmlns:a16="http://schemas.microsoft.com/office/drawing/2014/main" id="{1EBDE7AE-2640-4E8F-9901-25725777FB2B}"/>
                </a:ext>
              </a:extLst>
            </p:cNvPr>
            <p:cNvGrpSpPr/>
            <p:nvPr/>
          </p:nvGrpSpPr>
          <p:grpSpPr>
            <a:xfrm>
              <a:off x="4129706" y="3900446"/>
              <a:ext cx="1098800" cy="738775"/>
              <a:chOff x="3778092" y="3158469"/>
              <a:chExt cx="1393951" cy="937219"/>
            </a:xfrm>
          </p:grpSpPr>
          <p:sp>
            <p:nvSpPr>
              <p:cNvPr id="199" name="Field gateway">
                <a:extLst>
                  <a:ext uri="{FF2B5EF4-FFF2-40B4-BE49-F238E27FC236}">
                    <a16:creationId xmlns:a16="http://schemas.microsoft.com/office/drawing/2014/main" id="{3057C5A8-2AA2-4212-9C91-90FCFB3F14AE}"/>
                  </a:ext>
                </a:extLst>
              </p:cNvPr>
              <p:cNvSpPr/>
              <p:nvPr/>
            </p:nvSpPr>
            <p:spPr>
              <a:xfrm>
                <a:off x="3778092" y="3158469"/>
                <a:ext cx="1393951" cy="9372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Spot Price</a:t>
                </a:r>
              </a:p>
            </p:txBody>
          </p:sp>
          <p:pic>
            <p:nvPicPr>
              <p:cNvPr id="200" name="Picture 199">
                <a:extLst>
                  <a:ext uri="{FF2B5EF4-FFF2-40B4-BE49-F238E27FC236}">
                    <a16:creationId xmlns:a16="http://schemas.microsoft.com/office/drawing/2014/main" id="{C3D24387-E776-4531-BB65-70F9B9E42509}"/>
                  </a:ext>
                </a:extLst>
              </p:cNvPr>
              <p:cNvPicPr>
                <a:picLocks noChangeAspect="1"/>
              </p:cNvPicPr>
              <p:nvPr/>
            </p:nvPicPr>
            <p:blipFill>
              <a:blip r:embed="rId14"/>
              <a:stretch>
                <a:fillRect/>
              </a:stretch>
            </p:blipFill>
            <p:spPr>
              <a:xfrm>
                <a:off x="3977609" y="3299446"/>
                <a:ext cx="497457" cy="492588"/>
              </a:xfrm>
              <a:prstGeom prst="rect">
                <a:avLst/>
              </a:prstGeom>
            </p:spPr>
          </p:pic>
          <p:pic>
            <p:nvPicPr>
              <p:cNvPr id="201" name="Picture 200">
                <a:extLst>
                  <a:ext uri="{FF2B5EF4-FFF2-40B4-BE49-F238E27FC236}">
                    <a16:creationId xmlns:a16="http://schemas.microsoft.com/office/drawing/2014/main" id="{22803562-A91C-4A1C-86F2-CFC248370431}"/>
                  </a:ext>
                </a:extLst>
              </p:cNvPr>
              <p:cNvPicPr>
                <a:picLocks noChangeAspect="1"/>
              </p:cNvPicPr>
              <p:nvPr/>
            </p:nvPicPr>
            <p:blipFill>
              <a:blip r:embed="rId15"/>
              <a:stretch>
                <a:fillRect/>
              </a:stretch>
            </p:blipFill>
            <p:spPr>
              <a:xfrm>
                <a:off x="4603556" y="3430162"/>
                <a:ext cx="350610" cy="349966"/>
              </a:xfrm>
              <a:prstGeom prst="rect">
                <a:avLst/>
              </a:prstGeom>
            </p:spPr>
          </p:pic>
        </p:grpSp>
      </p:grpSp>
      <p:grpSp>
        <p:nvGrpSpPr>
          <p:cNvPr id="210" name="Group 209">
            <a:extLst>
              <a:ext uri="{FF2B5EF4-FFF2-40B4-BE49-F238E27FC236}">
                <a16:creationId xmlns:a16="http://schemas.microsoft.com/office/drawing/2014/main" id="{BD1D72FC-CC9B-4241-852B-152CD2A5CF41}"/>
              </a:ext>
            </a:extLst>
          </p:cNvPr>
          <p:cNvGrpSpPr/>
          <p:nvPr/>
        </p:nvGrpSpPr>
        <p:grpSpPr>
          <a:xfrm>
            <a:off x="3496802" y="2820260"/>
            <a:ext cx="5312572" cy="3621627"/>
            <a:chOff x="3496802" y="2820260"/>
            <a:chExt cx="5312572" cy="3621627"/>
          </a:xfrm>
        </p:grpSpPr>
        <p:sp>
          <p:nvSpPr>
            <p:cNvPr id="211" name="IoT">
              <a:extLst>
                <a:ext uri="{FF2B5EF4-FFF2-40B4-BE49-F238E27FC236}">
                  <a16:creationId xmlns:a16="http://schemas.microsoft.com/office/drawing/2014/main" id="{1C5219AE-9B66-4C10-8E8B-440873A25026}"/>
                </a:ext>
              </a:extLst>
            </p:cNvPr>
            <p:cNvSpPr/>
            <p:nvPr/>
          </p:nvSpPr>
          <p:spPr>
            <a:xfrm>
              <a:off x="5373579" y="2828821"/>
              <a:ext cx="1383798" cy="3613066"/>
            </a:xfrm>
            <a:prstGeom prst="rect">
              <a:avLst/>
            </a:prstGeom>
            <a:solidFill>
              <a:schemeClr val="bg2"/>
            </a:solidFill>
            <a:ln w="3175">
              <a:solidFill>
                <a:schemeClr val="accent3"/>
              </a:solidFill>
              <a:headEnd type="none" w="med" len="med"/>
              <a:tailEnd type="none" w="med" len="med"/>
            </a:ln>
            <a:effectLst>
              <a:glow rad="101600">
                <a:schemeClr val="accent6">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200" dirty="0">
                  <a:solidFill>
                    <a:prstClr val="white"/>
                  </a:solidFill>
                  <a:latin typeface="Segoe UI Semibold" panose="020B0702040204020203" pitchFamily="34" charset="0"/>
                  <a:ea typeface="Segoe UI" pitchFamily="34" charset="0"/>
                  <a:cs typeface="Segoe UI" pitchFamily="34" charset="0"/>
                </a:rPr>
                <a:t>IoT Hub</a:t>
              </a:r>
            </a:p>
          </p:txBody>
        </p:sp>
        <p:grpSp>
          <p:nvGrpSpPr>
            <p:cNvPr id="212" name="Group 211">
              <a:extLst>
                <a:ext uri="{FF2B5EF4-FFF2-40B4-BE49-F238E27FC236}">
                  <a16:creationId xmlns:a16="http://schemas.microsoft.com/office/drawing/2014/main" id="{517B6100-2090-4D02-B594-B292DC0E9E4C}"/>
                </a:ext>
              </a:extLst>
            </p:cNvPr>
            <p:cNvGrpSpPr/>
            <p:nvPr/>
          </p:nvGrpSpPr>
          <p:grpSpPr>
            <a:xfrm>
              <a:off x="5451579" y="4153694"/>
              <a:ext cx="1242302" cy="619458"/>
              <a:chOff x="10326090" y="1095876"/>
              <a:chExt cx="1242302" cy="619458"/>
            </a:xfrm>
          </p:grpSpPr>
          <p:sp>
            <p:nvSpPr>
              <p:cNvPr id="241" name="Rectangle 240">
                <a:extLst>
                  <a:ext uri="{FF2B5EF4-FFF2-40B4-BE49-F238E27FC236}">
                    <a16:creationId xmlns:a16="http://schemas.microsoft.com/office/drawing/2014/main" id="{796A1EAA-50E6-4381-9DB0-3198CDFAF502}"/>
                  </a:ext>
                </a:extLst>
              </p:cNvPr>
              <p:cNvSpPr/>
              <p:nvPr/>
            </p:nvSpPr>
            <p:spPr bwMode="auto">
              <a:xfrm>
                <a:off x="10326090" y="1095876"/>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242" name="Picture 241">
                <a:extLst>
                  <a:ext uri="{FF2B5EF4-FFF2-40B4-BE49-F238E27FC236}">
                    <a16:creationId xmlns:a16="http://schemas.microsoft.com/office/drawing/2014/main" id="{8B179D43-C9DD-443F-8185-BC4117994E5E}"/>
                  </a:ext>
                </a:extLst>
              </p:cNvPr>
              <p:cNvPicPr>
                <a:picLocks noChangeAspect="1"/>
              </p:cNvPicPr>
              <p:nvPr/>
            </p:nvPicPr>
            <p:blipFill>
              <a:blip r:embed="rId16"/>
              <a:stretch>
                <a:fillRect/>
              </a:stretch>
            </p:blipFill>
            <p:spPr>
              <a:xfrm>
                <a:off x="10728776" y="1203220"/>
                <a:ext cx="401966" cy="401966"/>
              </a:xfrm>
              <a:prstGeom prst="rect">
                <a:avLst/>
              </a:prstGeom>
            </p:spPr>
          </p:pic>
        </p:grpSp>
        <p:grpSp>
          <p:nvGrpSpPr>
            <p:cNvPr id="213" name="Group 212">
              <a:extLst>
                <a:ext uri="{FF2B5EF4-FFF2-40B4-BE49-F238E27FC236}">
                  <a16:creationId xmlns:a16="http://schemas.microsoft.com/office/drawing/2014/main" id="{0EBB9046-5A33-4736-A082-13C6F91AAD08}"/>
                </a:ext>
              </a:extLst>
            </p:cNvPr>
            <p:cNvGrpSpPr/>
            <p:nvPr/>
          </p:nvGrpSpPr>
          <p:grpSpPr>
            <a:xfrm>
              <a:off x="5451579" y="4928163"/>
              <a:ext cx="1242302" cy="619458"/>
              <a:chOff x="5451579" y="5024696"/>
              <a:chExt cx="1242302" cy="619458"/>
            </a:xfrm>
          </p:grpSpPr>
          <p:sp>
            <p:nvSpPr>
              <p:cNvPr id="239" name="Rectangle 238">
                <a:extLst>
                  <a:ext uri="{FF2B5EF4-FFF2-40B4-BE49-F238E27FC236}">
                    <a16:creationId xmlns:a16="http://schemas.microsoft.com/office/drawing/2014/main" id="{E3E86872-B196-49E2-A4F5-2EC1AC3043EE}"/>
                  </a:ext>
                </a:extLst>
              </p:cNvPr>
              <p:cNvSpPr/>
              <p:nvPr/>
            </p:nvSpPr>
            <p:spPr bwMode="auto">
              <a:xfrm>
                <a:off x="5451579" y="5024696"/>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240" name="Picture 239">
                <a:extLst>
                  <a:ext uri="{FF2B5EF4-FFF2-40B4-BE49-F238E27FC236}">
                    <a16:creationId xmlns:a16="http://schemas.microsoft.com/office/drawing/2014/main" id="{364A3BDC-9F4E-4D4A-B399-58B358B6702D}"/>
                  </a:ext>
                </a:extLst>
              </p:cNvPr>
              <p:cNvPicPr>
                <a:picLocks noChangeAspect="1"/>
              </p:cNvPicPr>
              <p:nvPr/>
            </p:nvPicPr>
            <p:blipFill>
              <a:blip r:embed="rId17"/>
              <a:stretch>
                <a:fillRect/>
              </a:stretch>
            </p:blipFill>
            <p:spPr>
              <a:xfrm>
                <a:off x="5849421" y="5128470"/>
                <a:ext cx="401966" cy="401966"/>
              </a:xfrm>
              <a:prstGeom prst="rect">
                <a:avLst/>
              </a:prstGeom>
            </p:spPr>
          </p:pic>
        </p:grpSp>
        <p:grpSp>
          <p:nvGrpSpPr>
            <p:cNvPr id="214" name="Group 213">
              <a:extLst>
                <a:ext uri="{FF2B5EF4-FFF2-40B4-BE49-F238E27FC236}">
                  <a16:creationId xmlns:a16="http://schemas.microsoft.com/office/drawing/2014/main" id="{5790E587-5291-4D01-9992-F81764FE8B6D}"/>
                </a:ext>
              </a:extLst>
            </p:cNvPr>
            <p:cNvGrpSpPr/>
            <p:nvPr/>
          </p:nvGrpSpPr>
          <p:grpSpPr>
            <a:xfrm>
              <a:off x="5451579" y="3379225"/>
              <a:ext cx="1242302" cy="619458"/>
              <a:chOff x="5421099" y="3354753"/>
              <a:chExt cx="1242302" cy="619458"/>
            </a:xfrm>
          </p:grpSpPr>
          <p:sp>
            <p:nvSpPr>
              <p:cNvPr id="237" name="Rectangle 236">
                <a:extLst>
                  <a:ext uri="{FF2B5EF4-FFF2-40B4-BE49-F238E27FC236}">
                    <a16:creationId xmlns:a16="http://schemas.microsoft.com/office/drawing/2014/main" id="{AC74D9ED-9993-4059-B7AB-F0A029BDDAF3}"/>
                  </a:ext>
                </a:extLst>
              </p:cNvPr>
              <p:cNvSpPr/>
              <p:nvPr/>
            </p:nvSpPr>
            <p:spPr bwMode="auto">
              <a:xfrm>
                <a:off x="5421099" y="3354753"/>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238" name="Picture 237">
                <a:extLst>
                  <a:ext uri="{FF2B5EF4-FFF2-40B4-BE49-F238E27FC236}">
                    <a16:creationId xmlns:a16="http://schemas.microsoft.com/office/drawing/2014/main" id="{2C8F7B79-5C24-46DD-A72D-34B54D2F729A}"/>
                  </a:ext>
                </a:extLst>
              </p:cNvPr>
              <p:cNvPicPr>
                <a:picLocks noChangeAspect="1"/>
              </p:cNvPicPr>
              <p:nvPr/>
            </p:nvPicPr>
            <p:blipFill>
              <a:blip r:embed="rId18"/>
              <a:stretch>
                <a:fillRect/>
              </a:stretch>
            </p:blipFill>
            <p:spPr>
              <a:xfrm>
                <a:off x="5837962" y="3424886"/>
                <a:ext cx="400655" cy="488905"/>
              </a:xfrm>
              <a:prstGeom prst="rect">
                <a:avLst/>
              </a:prstGeom>
            </p:spPr>
          </p:pic>
        </p:grpSp>
        <p:pic>
          <p:nvPicPr>
            <p:cNvPr id="215" name="Picture 214">
              <a:extLst>
                <a:ext uri="{FF2B5EF4-FFF2-40B4-BE49-F238E27FC236}">
                  <a16:creationId xmlns:a16="http://schemas.microsoft.com/office/drawing/2014/main" id="{94BF591A-3BC9-4B95-B067-6326E5E33A5E}"/>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483263" y="2866364"/>
              <a:ext cx="225642" cy="225642"/>
            </a:xfrm>
            <a:prstGeom prst="rect">
              <a:avLst/>
            </a:prstGeom>
          </p:spPr>
        </p:pic>
        <p:grpSp>
          <p:nvGrpSpPr>
            <p:cNvPr id="216" name="Group 215">
              <a:extLst>
                <a:ext uri="{FF2B5EF4-FFF2-40B4-BE49-F238E27FC236}">
                  <a16:creationId xmlns:a16="http://schemas.microsoft.com/office/drawing/2014/main" id="{FA54B8D2-DABB-4905-9CC5-556BAA931B39}"/>
                </a:ext>
              </a:extLst>
            </p:cNvPr>
            <p:cNvGrpSpPr/>
            <p:nvPr/>
          </p:nvGrpSpPr>
          <p:grpSpPr>
            <a:xfrm>
              <a:off x="5451579" y="5702631"/>
              <a:ext cx="1242302" cy="619458"/>
              <a:chOff x="2748370" y="4229726"/>
              <a:chExt cx="1242302" cy="619458"/>
            </a:xfrm>
          </p:grpSpPr>
          <p:sp>
            <p:nvSpPr>
              <p:cNvPr id="235" name="Rectangle 234">
                <a:extLst>
                  <a:ext uri="{FF2B5EF4-FFF2-40B4-BE49-F238E27FC236}">
                    <a16:creationId xmlns:a16="http://schemas.microsoft.com/office/drawing/2014/main" id="{5C435171-FB17-4D87-ACCE-6BECCB893F7E}"/>
                  </a:ext>
                </a:extLst>
              </p:cNvPr>
              <p:cNvSpPr/>
              <p:nvPr/>
            </p:nvSpPr>
            <p:spPr bwMode="auto">
              <a:xfrm>
                <a:off x="2748370" y="4229726"/>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236" name="Picture 235">
                <a:extLst>
                  <a:ext uri="{FF2B5EF4-FFF2-40B4-BE49-F238E27FC236}">
                    <a16:creationId xmlns:a16="http://schemas.microsoft.com/office/drawing/2014/main" id="{A56193BF-6F6F-40AD-82D9-02B3EC470421}"/>
                  </a:ext>
                </a:extLst>
              </p:cNvPr>
              <p:cNvPicPr>
                <a:picLocks noChangeAspect="1"/>
              </p:cNvPicPr>
              <p:nvPr/>
            </p:nvPicPr>
            <p:blipFill>
              <a:blip r:embed="rId20"/>
              <a:stretch>
                <a:fillRect/>
              </a:stretch>
            </p:blipFill>
            <p:spPr>
              <a:xfrm>
                <a:off x="3155964" y="4294230"/>
                <a:ext cx="424677" cy="490449"/>
              </a:xfrm>
              <a:prstGeom prst="rect">
                <a:avLst/>
              </a:prstGeom>
            </p:spPr>
          </p:pic>
        </p:grpSp>
        <p:grpSp>
          <p:nvGrpSpPr>
            <p:cNvPr id="217" name="Group 216">
              <a:extLst>
                <a:ext uri="{FF2B5EF4-FFF2-40B4-BE49-F238E27FC236}">
                  <a16:creationId xmlns:a16="http://schemas.microsoft.com/office/drawing/2014/main" id="{25775B01-B62F-446E-9D49-2DAE16DC2146}"/>
                </a:ext>
              </a:extLst>
            </p:cNvPr>
            <p:cNvGrpSpPr/>
            <p:nvPr/>
          </p:nvGrpSpPr>
          <p:grpSpPr>
            <a:xfrm>
              <a:off x="7157018" y="2820260"/>
              <a:ext cx="1652356" cy="773253"/>
              <a:chOff x="5887432" y="1455632"/>
              <a:chExt cx="2096198" cy="980958"/>
            </a:xfrm>
            <a:effectLst>
              <a:glow rad="101600">
                <a:schemeClr val="accent6">
                  <a:satMod val="175000"/>
                  <a:alpha val="40000"/>
                </a:schemeClr>
              </a:glow>
            </a:effectLst>
          </p:grpSpPr>
          <p:sp>
            <p:nvSpPr>
              <p:cNvPr id="233" name="Field gateway">
                <a:extLst>
                  <a:ext uri="{FF2B5EF4-FFF2-40B4-BE49-F238E27FC236}">
                    <a16:creationId xmlns:a16="http://schemas.microsoft.com/office/drawing/2014/main" id="{830F14CE-7C4F-447D-AFF6-D5435A7924E3}"/>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des.</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vattenfall.com</a:t>
                </a:r>
              </a:p>
            </p:txBody>
          </p:sp>
          <p:sp>
            <p:nvSpPr>
              <p:cNvPr id="234" name="TextBox 233">
                <a:extLst>
                  <a:ext uri="{FF2B5EF4-FFF2-40B4-BE49-F238E27FC236}">
                    <a16:creationId xmlns:a16="http://schemas.microsoft.com/office/drawing/2014/main" id="{CCCE024C-CC08-4910-91C5-EAB840DCBEE1}"/>
                  </a:ext>
                </a:extLst>
              </p:cNvPr>
              <p:cNvSpPr txBox="1"/>
              <p:nvPr/>
            </p:nvSpPr>
            <p:spPr>
              <a:xfrm>
                <a:off x="6458850" y="1621896"/>
                <a:ext cx="1298163" cy="568103"/>
              </a:xfrm>
              <a:prstGeom prst="rect">
                <a:avLst/>
              </a:prstGeom>
              <a:noFill/>
            </p:spPr>
            <p:txBody>
              <a:bodyPr wrap="square" lIns="182880" tIns="146304" rIns="182880" bIns="146304" rtlCol="0">
                <a:spAutoFit/>
              </a:bodyPr>
              <a:lstStyle/>
              <a:p>
                <a:pPr>
                  <a:lnSpc>
                    <a:spcPct val="90000"/>
                  </a:lnSpc>
                  <a:spcAft>
                    <a:spcPts val="600"/>
                  </a:spcAft>
                </a:pPr>
                <a:r>
                  <a:rPr lang="sv-SE" sz="1100" dirty="0">
                    <a:gradFill>
                      <a:gsLst>
                        <a:gs pos="2917">
                          <a:schemeClr val="tx1"/>
                        </a:gs>
                        <a:gs pos="30000">
                          <a:schemeClr val="tx1"/>
                        </a:gs>
                      </a:gsLst>
                      <a:lin ang="5400000" scaled="0"/>
                    </a:gradFill>
                  </a:rPr>
                  <a:t>DES Portal</a:t>
                </a:r>
                <a:endParaRPr lang="sv-SE" sz="2000" dirty="0">
                  <a:gradFill>
                    <a:gsLst>
                      <a:gs pos="2917">
                        <a:schemeClr val="tx1"/>
                      </a:gs>
                      <a:gs pos="30000">
                        <a:schemeClr val="tx1"/>
                      </a:gs>
                    </a:gsLst>
                    <a:lin ang="5400000" scaled="0"/>
                  </a:gradFill>
                </a:endParaRPr>
              </a:p>
            </p:txBody>
          </p:sp>
        </p:grpSp>
        <p:pic>
          <p:nvPicPr>
            <p:cNvPr id="218" name="Picture 217">
              <a:extLst>
                <a:ext uri="{FF2B5EF4-FFF2-40B4-BE49-F238E27FC236}">
                  <a16:creationId xmlns:a16="http://schemas.microsoft.com/office/drawing/2014/main" id="{13FD665E-612A-4835-9CA6-F600182C8C84}"/>
                </a:ext>
              </a:extLst>
            </p:cNvPr>
            <p:cNvPicPr>
              <a:picLocks noChangeAspect="1"/>
            </p:cNvPicPr>
            <p:nvPr/>
          </p:nvPicPr>
          <p:blipFill>
            <a:blip r:embed="rId21"/>
            <a:stretch>
              <a:fillRect/>
            </a:stretch>
          </p:blipFill>
          <p:spPr>
            <a:xfrm>
              <a:off x="7300444" y="3017970"/>
              <a:ext cx="313490" cy="314514"/>
            </a:xfrm>
            <a:prstGeom prst="rect">
              <a:avLst/>
            </a:prstGeom>
          </p:spPr>
        </p:pic>
        <p:cxnSp>
          <p:nvCxnSpPr>
            <p:cNvPr id="219" name="Connector: Elbow 218">
              <a:extLst>
                <a:ext uri="{FF2B5EF4-FFF2-40B4-BE49-F238E27FC236}">
                  <a16:creationId xmlns:a16="http://schemas.microsoft.com/office/drawing/2014/main" id="{2EEFF243-6E26-4C6D-AEC5-8175A9DE2BE3}"/>
                </a:ext>
              </a:extLst>
            </p:cNvPr>
            <p:cNvCxnSpPr>
              <a:cxnSpLocks/>
              <a:stCxn id="233" idx="1"/>
            </p:cNvCxnSpPr>
            <p:nvPr/>
          </p:nvCxnSpPr>
          <p:spPr>
            <a:xfrm rot="10800000" flipV="1">
              <a:off x="6693882" y="3206887"/>
              <a:ext cx="463137" cy="458654"/>
            </a:xfrm>
            <a:prstGeom prst="bentConnector3">
              <a:avLst>
                <a:gd name="adj1" fmla="val 50000"/>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20" name="Rectangle 219">
              <a:extLst>
                <a:ext uri="{FF2B5EF4-FFF2-40B4-BE49-F238E27FC236}">
                  <a16:creationId xmlns:a16="http://schemas.microsoft.com/office/drawing/2014/main" id="{805255F7-430A-4D2B-B607-1EA7F4B034D9}"/>
                </a:ext>
              </a:extLst>
            </p:cNvPr>
            <p:cNvSpPr/>
            <p:nvPr/>
          </p:nvSpPr>
          <p:spPr bwMode="auto">
            <a:xfrm>
              <a:off x="4046242" y="5348752"/>
              <a:ext cx="187864" cy="13334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221" name="Group 220">
              <a:extLst>
                <a:ext uri="{FF2B5EF4-FFF2-40B4-BE49-F238E27FC236}">
                  <a16:creationId xmlns:a16="http://schemas.microsoft.com/office/drawing/2014/main" id="{31415A82-4A8C-49FB-96C7-3A1D0520DBC3}"/>
                </a:ext>
              </a:extLst>
            </p:cNvPr>
            <p:cNvGrpSpPr/>
            <p:nvPr/>
          </p:nvGrpSpPr>
          <p:grpSpPr>
            <a:xfrm>
              <a:off x="3496802" y="5170718"/>
              <a:ext cx="746720" cy="947184"/>
              <a:chOff x="2120696" y="4192857"/>
              <a:chExt cx="942860" cy="1195980"/>
            </a:xfrm>
            <a:effectLst>
              <a:glow rad="101600">
                <a:schemeClr val="accent6">
                  <a:satMod val="175000"/>
                  <a:alpha val="40000"/>
                </a:schemeClr>
              </a:glow>
            </a:effectLst>
          </p:grpSpPr>
          <p:sp>
            <p:nvSpPr>
              <p:cNvPr id="231" name="Field gateway">
                <a:extLst>
                  <a:ext uri="{FF2B5EF4-FFF2-40B4-BE49-F238E27FC236}">
                    <a16:creationId xmlns:a16="http://schemas.microsoft.com/office/drawing/2014/main" id="{D8981C5C-D128-46DB-825B-9BC086ADFF71}"/>
                  </a:ext>
                </a:extLst>
              </p:cNvPr>
              <p:cNvSpPr/>
              <p:nvPr/>
            </p:nvSpPr>
            <p:spPr>
              <a:xfrm>
                <a:off x="2120696" y="4192857"/>
                <a:ext cx="942860" cy="119598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Field Gateway</a:t>
                </a:r>
              </a:p>
            </p:txBody>
          </p:sp>
          <p:pic>
            <p:nvPicPr>
              <p:cNvPr id="232" name="Picture 231">
                <a:extLst>
                  <a:ext uri="{FF2B5EF4-FFF2-40B4-BE49-F238E27FC236}">
                    <a16:creationId xmlns:a16="http://schemas.microsoft.com/office/drawing/2014/main" id="{2A97DA18-1B3D-4FD4-BFDD-803DF697D3AA}"/>
                  </a:ext>
                </a:extLst>
              </p:cNvPr>
              <p:cNvPicPr>
                <a:picLocks noChangeAspect="1"/>
              </p:cNvPicPr>
              <p:nvPr/>
            </p:nvPicPr>
            <p:blipFill>
              <a:blip r:embed="rId22"/>
              <a:stretch>
                <a:fillRect/>
              </a:stretch>
            </p:blipFill>
            <p:spPr>
              <a:xfrm>
                <a:off x="2226557" y="4356248"/>
                <a:ext cx="707143" cy="507536"/>
              </a:xfrm>
              <a:prstGeom prst="rect">
                <a:avLst/>
              </a:prstGeom>
            </p:spPr>
          </p:pic>
        </p:grpSp>
        <p:grpSp>
          <p:nvGrpSpPr>
            <p:cNvPr id="222" name="Group 221">
              <a:extLst>
                <a:ext uri="{FF2B5EF4-FFF2-40B4-BE49-F238E27FC236}">
                  <a16:creationId xmlns:a16="http://schemas.microsoft.com/office/drawing/2014/main" id="{E62A3A2C-14FF-4F34-8D8E-CA2AB79D4E14}"/>
                </a:ext>
              </a:extLst>
            </p:cNvPr>
            <p:cNvGrpSpPr/>
            <p:nvPr/>
          </p:nvGrpSpPr>
          <p:grpSpPr>
            <a:xfrm>
              <a:off x="7157018" y="5622765"/>
              <a:ext cx="1652356" cy="773252"/>
              <a:chOff x="5887432" y="1455632"/>
              <a:chExt cx="2096198" cy="980958"/>
            </a:xfrm>
            <a:effectLst>
              <a:glow rad="101600">
                <a:schemeClr val="accent6">
                  <a:satMod val="175000"/>
                  <a:alpha val="40000"/>
                </a:schemeClr>
              </a:glow>
            </a:effectLst>
          </p:grpSpPr>
          <p:grpSp>
            <p:nvGrpSpPr>
              <p:cNvPr id="227" name="Group 226">
                <a:extLst>
                  <a:ext uri="{FF2B5EF4-FFF2-40B4-BE49-F238E27FC236}">
                    <a16:creationId xmlns:a16="http://schemas.microsoft.com/office/drawing/2014/main" id="{958D580A-FEC3-4A94-AD5E-1DBEBE2943E2}"/>
                  </a:ext>
                </a:extLst>
              </p:cNvPr>
              <p:cNvGrpSpPr/>
              <p:nvPr/>
            </p:nvGrpSpPr>
            <p:grpSpPr>
              <a:xfrm>
                <a:off x="5887432" y="1455632"/>
                <a:ext cx="2096198" cy="980958"/>
                <a:chOff x="5887432" y="1455632"/>
                <a:chExt cx="2096198" cy="980958"/>
              </a:xfrm>
            </p:grpSpPr>
            <p:sp>
              <p:nvSpPr>
                <p:cNvPr id="229" name="Field gateway">
                  <a:extLst>
                    <a:ext uri="{FF2B5EF4-FFF2-40B4-BE49-F238E27FC236}">
                      <a16:creationId xmlns:a16="http://schemas.microsoft.com/office/drawing/2014/main" id="{7F1F70F5-D7CA-4CD0-B014-BD8E04E55F2F}"/>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vattenfall.</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microServiceBus.com</a:t>
                  </a:r>
                </a:p>
              </p:txBody>
            </p:sp>
            <p:pic>
              <p:nvPicPr>
                <p:cNvPr id="230" name="Picture 229">
                  <a:extLst>
                    <a:ext uri="{FF2B5EF4-FFF2-40B4-BE49-F238E27FC236}">
                      <a16:creationId xmlns:a16="http://schemas.microsoft.com/office/drawing/2014/main" id="{6CDDEF0B-5586-45F6-8AFE-227B8F627908}"/>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6070476" y="1589760"/>
                  <a:ext cx="492246" cy="492246"/>
                </a:xfrm>
                <a:prstGeom prst="rect">
                  <a:avLst/>
                </a:prstGeom>
              </p:spPr>
            </p:pic>
          </p:grpSp>
          <p:sp>
            <p:nvSpPr>
              <p:cNvPr id="228" name="TextBox 227">
                <a:extLst>
                  <a:ext uri="{FF2B5EF4-FFF2-40B4-BE49-F238E27FC236}">
                    <a16:creationId xmlns:a16="http://schemas.microsoft.com/office/drawing/2014/main" id="{8AA16449-3D07-42C3-995E-338090DC4C3B}"/>
                  </a:ext>
                </a:extLst>
              </p:cNvPr>
              <p:cNvSpPr txBox="1"/>
              <p:nvPr/>
            </p:nvSpPr>
            <p:spPr>
              <a:xfrm>
                <a:off x="6442088" y="1479274"/>
                <a:ext cx="1534131" cy="761377"/>
              </a:xfrm>
              <a:prstGeom prst="rect">
                <a:avLst/>
              </a:prstGeom>
              <a:noFill/>
            </p:spPr>
            <p:txBody>
              <a:bodyPr wrap="square" lIns="182880" tIns="146304" rIns="182880" bIns="146304" rtlCol="0">
                <a:spAutoFit/>
              </a:bodyPr>
              <a:lstStyle/>
              <a:p>
                <a:pPr>
                  <a:lnSpc>
                    <a:spcPct val="90000"/>
                  </a:lnSpc>
                  <a:spcAft>
                    <a:spcPts val="600"/>
                  </a:spcAft>
                </a:pPr>
                <a:r>
                  <a:rPr lang="sv-SE" sz="1100" dirty="0" err="1">
                    <a:gradFill>
                      <a:gsLst>
                        <a:gs pos="2917">
                          <a:schemeClr val="tx1"/>
                        </a:gs>
                        <a:gs pos="30000">
                          <a:schemeClr val="tx1"/>
                        </a:gs>
                      </a:gsLst>
                      <a:lin ang="5400000" scaled="0"/>
                    </a:gradFill>
                  </a:rPr>
                  <a:t>Device</a:t>
                </a:r>
                <a:r>
                  <a:rPr lang="sv-SE" sz="1100" dirty="0">
                    <a:gradFill>
                      <a:gsLst>
                        <a:gs pos="2917">
                          <a:schemeClr val="tx1"/>
                        </a:gs>
                        <a:gs pos="30000">
                          <a:schemeClr val="tx1"/>
                        </a:gs>
                      </a:gsLst>
                      <a:lin ang="5400000" scaled="0"/>
                    </a:gradFill>
                  </a:rPr>
                  <a:t> Management</a:t>
                </a:r>
                <a:endParaRPr lang="sv-SE" sz="2000" dirty="0">
                  <a:gradFill>
                    <a:gsLst>
                      <a:gs pos="2917">
                        <a:schemeClr val="tx1"/>
                      </a:gs>
                      <a:gs pos="30000">
                        <a:schemeClr val="tx1"/>
                      </a:gs>
                    </a:gsLst>
                    <a:lin ang="5400000" scaled="0"/>
                  </a:gradFill>
                </a:endParaRPr>
              </a:p>
            </p:txBody>
          </p:sp>
        </p:grpSp>
        <p:cxnSp>
          <p:nvCxnSpPr>
            <p:cNvPr id="223" name="Connector: Elbow 222">
              <a:extLst>
                <a:ext uri="{FF2B5EF4-FFF2-40B4-BE49-F238E27FC236}">
                  <a16:creationId xmlns:a16="http://schemas.microsoft.com/office/drawing/2014/main" id="{2007B93D-4D54-47C8-A8C5-30F8E5862791}"/>
                </a:ext>
              </a:extLst>
            </p:cNvPr>
            <p:cNvCxnSpPr>
              <a:stCxn id="229" idx="2"/>
              <a:endCxn id="231" idx="2"/>
            </p:cNvCxnSpPr>
            <p:nvPr/>
          </p:nvCxnSpPr>
          <p:spPr>
            <a:xfrm rot="5400000" flipH="1">
              <a:off x="5787619" y="4200445"/>
              <a:ext cx="278119" cy="4113034"/>
            </a:xfrm>
            <a:prstGeom prst="bentConnector3">
              <a:avLst>
                <a:gd name="adj1" fmla="val -82195"/>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4" name="Connector: Elbow 223">
              <a:extLst>
                <a:ext uri="{FF2B5EF4-FFF2-40B4-BE49-F238E27FC236}">
                  <a16:creationId xmlns:a16="http://schemas.microsoft.com/office/drawing/2014/main" id="{84F712C7-CF0E-4250-BEBB-BA7EF5C01B7D}"/>
                </a:ext>
              </a:extLst>
            </p:cNvPr>
            <p:cNvCxnSpPr>
              <a:cxnSpLocks/>
              <a:endCxn id="220" idx="3"/>
            </p:cNvCxnSpPr>
            <p:nvPr/>
          </p:nvCxnSpPr>
          <p:spPr>
            <a:xfrm rot="10800000" flipV="1">
              <a:off x="4234107" y="3842281"/>
              <a:ext cx="1217473" cy="1573143"/>
            </a:xfrm>
            <a:prstGeom prst="bentConnector3">
              <a:avLst>
                <a:gd name="adj1" fmla="val 50000"/>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5" name="Straight Arrow Connector 224">
              <a:extLst>
                <a:ext uri="{FF2B5EF4-FFF2-40B4-BE49-F238E27FC236}">
                  <a16:creationId xmlns:a16="http://schemas.microsoft.com/office/drawing/2014/main" id="{60AF3380-98F1-4A9D-9B57-F428B321265E}"/>
                </a:ext>
              </a:extLst>
            </p:cNvPr>
            <p:cNvCxnSpPr>
              <a:cxnSpLocks/>
              <a:stCxn id="229" idx="1"/>
            </p:cNvCxnSpPr>
            <p:nvPr/>
          </p:nvCxnSpPr>
          <p:spPr>
            <a:xfrm flipH="1">
              <a:off x="6693881" y="6009391"/>
              <a:ext cx="463137"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6" name="Connector: Elbow 225">
              <a:extLst>
                <a:ext uri="{FF2B5EF4-FFF2-40B4-BE49-F238E27FC236}">
                  <a16:creationId xmlns:a16="http://schemas.microsoft.com/office/drawing/2014/main" id="{47534303-78F5-4359-A5E4-85523134445F}"/>
                </a:ext>
              </a:extLst>
            </p:cNvPr>
            <p:cNvCxnSpPr>
              <a:endCxn id="239" idx="1"/>
            </p:cNvCxnSpPr>
            <p:nvPr/>
          </p:nvCxnSpPr>
          <p:spPr>
            <a:xfrm flipV="1">
              <a:off x="4243522" y="5237892"/>
              <a:ext cx="1208057" cy="403509"/>
            </a:xfrm>
            <a:prstGeom prst="bentConnector3">
              <a:avLst>
                <a:gd name="adj1" fmla="val 69114"/>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243" name="Group 242">
            <a:extLst>
              <a:ext uri="{FF2B5EF4-FFF2-40B4-BE49-F238E27FC236}">
                <a16:creationId xmlns:a16="http://schemas.microsoft.com/office/drawing/2014/main" id="{FC450402-4115-4082-B3E2-F8927951B905}"/>
              </a:ext>
            </a:extLst>
          </p:cNvPr>
          <p:cNvGrpSpPr/>
          <p:nvPr/>
        </p:nvGrpSpPr>
        <p:grpSpPr>
          <a:xfrm>
            <a:off x="6693881" y="4616814"/>
            <a:ext cx="2138137" cy="793702"/>
            <a:chOff x="6693881" y="4616814"/>
            <a:chExt cx="2138137" cy="793702"/>
          </a:xfrm>
        </p:grpSpPr>
        <p:grpSp>
          <p:nvGrpSpPr>
            <p:cNvPr id="244" name="Group 243">
              <a:extLst>
                <a:ext uri="{FF2B5EF4-FFF2-40B4-BE49-F238E27FC236}">
                  <a16:creationId xmlns:a16="http://schemas.microsoft.com/office/drawing/2014/main" id="{59127D2A-18D3-4C56-8E56-A5B03E684680}"/>
                </a:ext>
              </a:extLst>
            </p:cNvPr>
            <p:cNvGrpSpPr/>
            <p:nvPr/>
          </p:nvGrpSpPr>
          <p:grpSpPr>
            <a:xfrm>
              <a:off x="7125133" y="4616814"/>
              <a:ext cx="1706885" cy="793702"/>
              <a:chOff x="7125133" y="4616814"/>
              <a:chExt cx="1706885" cy="793702"/>
            </a:xfrm>
          </p:grpSpPr>
          <p:sp>
            <p:nvSpPr>
              <p:cNvPr id="246" name="Rectangle 245">
                <a:extLst>
                  <a:ext uri="{FF2B5EF4-FFF2-40B4-BE49-F238E27FC236}">
                    <a16:creationId xmlns:a16="http://schemas.microsoft.com/office/drawing/2014/main" id="{C924DB28-9314-4861-8EBC-89932F5073C4}"/>
                  </a:ext>
                </a:extLst>
              </p:cNvPr>
              <p:cNvSpPr/>
              <p:nvPr/>
            </p:nvSpPr>
            <p:spPr>
              <a:xfrm>
                <a:off x="7125133" y="4616814"/>
                <a:ext cx="1706885" cy="793702"/>
              </a:xfrm>
              <a:prstGeom prst="rect">
                <a:avLst/>
              </a:prstGeom>
              <a:solidFill>
                <a:srgbClr val="00162E"/>
              </a:solidFill>
              <a:ln w="3175">
                <a:solidFill>
                  <a:schemeClr val="accent3"/>
                </a:solidFill>
                <a:headEnd type="none" w="med" len="med"/>
                <a:tailEnd type="none" w="med" len="med"/>
              </a:ln>
              <a:effectLst>
                <a:glow rad="101600">
                  <a:schemeClr val="accent6">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DES Event processing</a:t>
                </a:r>
              </a:p>
            </p:txBody>
          </p:sp>
          <p:pic>
            <p:nvPicPr>
              <p:cNvPr id="247" name="Picture 246">
                <a:extLst>
                  <a:ext uri="{FF2B5EF4-FFF2-40B4-BE49-F238E27FC236}">
                    <a16:creationId xmlns:a16="http://schemas.microsoft.com/office/drawing/2014/main" id="{E410DD3E-D801-4A0D-A4C7-9FB6DC87D62A}"/>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7208207" y="4733191"/>
                <a:ext cx="414714" cy="414714"/>
              </a:xfrm>
              <a:prstGeom prst="rect">
                <a:avLst/>
              </a:prstGeom>
            </p:spPr>
          </p:pic>
          <p:pic>
            <p:nvPicPr>
              <p:cNvPr id="248" name="Picture 247">
                <a:extLst>
                  <a:ext uri="{FF2B5EF4-FFF2-40B4-BE49-F238E27FC236}">
                    <a16:creationId xmlns:a16="http://schemas.microsoft.com/office/drawing/2014/main" id="{DC61409C-9257-4F50-A022-2BD2D80ED197}"/>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7727543" y="4741011"/>
                <a:ext cx="414714" cy="414714"/>
              </a:xfrm>
              <a:prstGeom prst="rect">
                <a:avLst/>
              </a:prstGeom>
            </p:spPr>
          </p:pic>
          <p:pic>
            <p:nvPicPr>
              <p:cNvPr id="249" name="Picture 248">
                <a:extLst>
                  <a:ext uri="{FF2B5EF4-FFF2-40B4-BE49-F238E27FC236}">
                    <a16:creationId xmlns:a16="http://schemas.microsoft.com/office/drawing/2014/main" id="{870DABD6-3584-4BBF-9F5F-34AD8459BEEA}"/>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8201377" y="4690117"/>
                <a:ext cx="531495" cy="531495"/>
              </a:xfrm>
              <a:prstGeom prst="rect">
                <a:avLst/>
              </a:prstGeom>
            </p:spPr>
          </p:pic>
        </p:grpSp>
        <p:cxnSp>
          <p:nvCxnSpPr>
            <p:cNvPr id="245" name="Connector: Elbow 244">
              <a:extLst>
                <a:ext uri="{FF2B5EF4-FFF2-40B4-BE49-F238E27FC236}">
                  <a16:creationId xmlns:a16="http://schemas.microsoft.com/office/drawing/2014/main" id="{DA8858E1-93DD-4E5C-96CF-6FA1EA53A7E8}"/>
                </a:ext>
              </a:extLst>
            </p:cNvPr>
            <p:cNvCxnSpPr>
              <a:endCxn id="246" idx="1"/>
            </p:cNvCxnSpPr>
            <p:nvPr/>
          </p:nvCxnSpPr>
          <p:spPr>
            <a:xfrm flipV="1">
              <a:off x="6693881" y="5013665"/>
              <a:ext cx="431252" cy="224227"/>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cxnSp>
        <p:nvCxnSpPr>
          <p:cNvPr id="255" name="Straight Arrow Connector 254">
            <a:extLst>
              <a:ext uri="{FF2B5EF4-FFF2-40B4-BE49-F238E27FC236}">
                <a16:creationId xmlns:a16="http://schemas.microsoft.com/office/drawing/2014/main" id="{319A6C91-A349-4947-84EB-042A74DC3895}"/>
              </a:ext>
            </a:extLst>
          </p:cNvPr>
          <p:cNvCxnSpPr>
            <a:stCxn id="250" idx="1"/>
          </p:cNvCxnSpPr>
          <p:nvPr/>
        </p:nvCxnSpPr>
        <p:spPr>
          <a:xfrm flipH="1">
            <a:off x="6708905" y="4376857"/>
            <a:ext cx="2713419"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70" name="Group 69">
            <a:extLst>
              <a:ext uri="{FF2B5EF4-FFF2-40B4-BE49-F238E27FC236}">
                <a16:creationId xmlns:a16="http://schemas.microsoft.com/office/drawing/2014/main" id="{A94A3B77-0419-4DC6-9EA0-29A7A72993C7}"/>
              </a:ext>
            </a:extLst>
          </p:cNvPr>
          <p:cNvGrpSpPr/>
          <p:nvPr/>
        </p:nvGrpSpPr>
        <p:grpSpPr>
          <a:xfrm>
            <a:off x="8832018" y="4204253"/>
            <a:ext cx="1694028" cy="1019581"/>
            <a:chOff x="8832018" y="4204253"/>
            <a:chExt cx="1694028" cy="1019581"/>
          </a:xfrm>
        </p:grpSpPr>
        <p:grpSp>
          <p:nvGrpSpPr>
            <p:cNvPr id="69" name="Group 68">
              <a:extLst>
                <a:ext uri="{FF2B5EF4-FFF2-40B4-BE49-F238E27FC236}">
                  <a16:creationId xmlns:a16="http://schemas.microsoft.com/office/drawing/2014/main" id="{ADD5E562-2294-43FE-B1E4-0D93C3151A51}"/>
                </a:ext>
              </a:extLst>
            </p:cNvPr>
            <p:cNvGrpSpPr/>
            <p:nvPr/>
          </p:nvGrpSpPr>
          <p:grpSpPr>
            <a:xfrm>
              <a:off x="9422324" y="4204253"/>
              <a:ext cx="1103722" cy="1019581"/>
              <a:chOff x="9422324" y="4204253"/>
              <a:chExt cx="1103722" cy="1019581"/>
            </a:xfrm>
          </p:grpSpPr>
          <p:sp>
            <p:nvSpPr>
              <p:cNvPr id="250" name="Rectangle 249">
                <a:extLst>
                  <a:ext uri="{FF2B5EF4-FFF2-40B4-BE49-F238E27FC236}">
                    <a16:creationId xmlns:a16="http://schemas.microsoft.com/office/drawing/2014/main" id="{AA62A35F-5D28-42C9-9C1C-13F363F36B44}"/>
                  </a:ext>
                </a:extLst>
              </p:cNvPr>
              <p:cNvSpPr/>
              <p:nvPr/>
            </p:nvSpPr>
            <p:spPr bwMode="auto">
              <a:xfrm>
                <a:off x="9422324" y="4310184"/>
                <a:ext cx="187864" cy="13334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185" name="Group 184">
                <a:extLst>
                  <a:ext uri="{FF2B5EF4-FFF2-40B4-BE49-F238E27FC236}">
                    <a16:creationId xmlns:a16="http://schemas.microsoft.com/office/drawing/2014/main" id="{5ABD2989-8782-4F46-8B82-AC6EA7BBCA08}"/>
                  </a:ext>
                </a:extLst>
              </p:cNvPr>
              <p:cNvGrpSpPr/>
              <p:nvPr/>
            </p:nvGrpSpPr>
            <p:grpSpPr>
              <a:xfrm>
                <a:off x="9427245" y="4204253"/>
                <a:ext cx="1098801" cy="1019581"/>
                <a:chOff x="2104425" y="4299696"/>
                <a:chExt cx="1098801" cy="1019581"/>
              </a:xfrm>
            </p:grpSpPr>
            <p:sp>
              <p:nvSpPr>
                <p:cNvPr id="186" name="Field gateway">
                  <a:extLst>
                    <a:ext uri="{FF2B5EF4-FFF2-40B4-BE49-F238E27FC236}">
                      <a16:creationId xmlns:a16="http://schemas.microsoft.com/office/drawing/2014/main" id="{EE8EFA63-FC60-4CF0-9933-DDB733038F01}"/>
                    </a:ext>
                  </a:extLst>
                </p:cNvPr>
                <p:cNvSpPr/>
                <p:nvPr/>
              </p:nvSpPr>
              <p:spPr>
                <a:xfrm>
                  <a:off x="2104425" y="4299696"/>
                  <a:ext cx="1098801" cy="101958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Machine learning</a:t>
                  </a:r>
                </a:p>
              </p:txBody>
            </p:sp>
            <p:pic>
              <p:nvPicPr>
                <p:cNvPr id="187" name="Picture 186">
                  <a:extLst>
                    <a:ext uri="{FF2B5EF4-FFF2-40B4-BE49-F238E27FC236}">
                      <a16:creationId xmlns:a16="http://schemas.microsoft.com/office/drawing/2014/main" id="{0D348B5B-C111-4EBC-B4C3-FF15E5995D2D}"/>
                    </a:ext>
                  </a:extLst>
                </p:cNvPr>
                <p:cNvPicPr>
                  <a:picLocks noChangeAspect="1"/>
                </p:cNvPicPr>
                <p:nvPr/>
              </p:nvPicPr>
              <p:blipFill>
                <a:blip r:embed="rId27"/>
                <a:stretch>
                  <a:fillRect/>
                </a:stretch>
              </p:blipFill>
              <p:spPr>
                <a:xfrm>
                  <a:off x="2472772" y="4571609"/>
                  <a:ext cx="368151" cy="375917"/>
                </a:xfrm>
                <a:prstGeom prst="rect">
                  <a:avLst/>
                </a:prstGeom>
              </p:spPr>
            </p:pic>
          </p:grpSp>
        </p:grpSp>
        <p:cxnSp>
          <p:nvCxnSpPr>
            <p:cNvPr id="67" name="Straight Arrow Connector 66">
              <a:extLst>
                <a:ext uri="{FF2B5EF4-FFF2-40B4-BE49-F238E27FC236}">
                  <a16:creationId xmlns:a16="http://schemas.microsoft.com/office/drawing/2014/main" id="{C1660F03-B69E-4212-871C-E2235E932EE4}"/>
                </a:ext>
              </a:extLst>
            </p:cNvPr>
            <p:cNvCxnSpPr>
              <a:stCxn id="246" idx="3"/>
            </p:cNvCxnSpPr>
            <p:nvPr/>
          </p:nvCxnSpPr>
          <p:spPr>
            <a:xfrm>
              <a:off x="8832018" y="5013665"/>
              <a:ext cx="590306"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258" name="Rectangle 257">
            <a:extLst>
              <a:ext uri="{FF2B5EF4-FFF2-40B4-BE49-F238E27FC236}">
                <a16:creationId xmlns:a16="http://schemas.microsoft.com/office/drawing/2014/main" id="{5065A5E2-D49E-4943-B3FE-339722E26D42}"/>
              </a:ext>
            </a:extLst>
          </p:cNvPr>
          <p:cNvSpPr/>
          <p:nvPr/>
        </p:nvSpPr>
        <p:spPr bwMode="auto">
          <a:xfrm>
            <a:off x="3600020" y="354277"/>
            <a:ext cx="1262096"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cxnSp>
        <p:nvCxnSpPr>
          <p:cNvPr id="88" name="Connector: Elbow 87">
            <a:extLst>
              <a:ext uri="{FF2B5EF4-FFF2-40B4-BE49-F238E27FC236}">
                <a16:creationId xmlns:a16="http://schemas.microsoft.com/office/drawing/2014/main" id="{EBB009FA-EB02-44A4-82E6-5712E9E320E9}"/>
              </a:ext>
            </a:extLst>
          </p:cNvPr>
          <p:cNvCxnSpPr>
            <a:cxnSpLocks/>
            <a:stCxn id="241" idx="1"/>
          </p:cNvCxnSpPr>
          <p:nvPr/>
        </p:nvCxnSpPr>
        <p:spPr>
          <a:xfrm rot="10800000" flipV="1">
            <a:off x="4243523" y="4463423"/>
            <a:ext cx="1208057" cy="1063458"/>
          </a:xfrm>
          <a:prstGeom prst="bentConnector3">
            <a:avLst>
              <a:gd name="adj1" fmla="val 42115"/>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88115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6"/>
                                        </p:tgtEl>
                                        <p:attrNameLst>
                                          <p:attrName>style.visibility</p:attrName>
                                        </p:attrNameLst>
                                      </p:cBhvr>
                                      <p:to>
                                        <p:strVal val="visible"/>
                                      </p:to>
                                    </p:set>
                                    <p:animEffect transition="in" filter="fade">
                                      <p:cBhvr>
                                        <p:cTn id="7" dur="500"/>
                                        <p:tgtEl>
                                          <p:spTgt spid="7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8"/>
                                        </p:tgtEl>
                                        <p:attrNameLst>
                                          <p:attrName>style.visibility</p:attrName>
                                        </p:attrNameLst>
                                      </p:cBhvr>
                                      <p:to>
                                        <p:strVal val="visible"/>
                                      </p:to>
                                    </p:set>
                                    <p:animEffect transition="in" filter="fade">
                                      <p:cBhvr>
                                        <p:cTn id="12" dur="500"/>
                                        <p:tgtEl>
                                          <p:spTgt spid="6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43"/>
                                        </p:tgtEl>
                                        <p:attrNameLst>
                                          <p:attrName>style.visibility</p:attrName>
                                        </p:attrNameLst>
                                      </p:cBhvr>
                                      <p:to>
                                        <p:strVal val="visible"/>
                                      </p:to>
                                    </p:set>
                                    <p:animEffect transition="in" filter="fade">
                                      <p:cBhvr>
                                        <p:cTn id="17" dur="500"/>
                                        <p:tgtEl>
                                          <p:spTgt spid="24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70"/>
                                        </p:tgtEl>
                                        <p:attrNameLst>
                                          <p:attrName>style.visibility</p:attrName>
                                        </p:attrNameLst>
                                      </p:cBhvr>
                                      <p:to>
                                        <p:strVal val="visible"/>
                                      </p:to>
                                    </p:set>
                                    <p:animEffect transition="in" filter="fade">
                                      <p:cBhvr>
                                        <p:cTn id="22" dur="500"/>
                                        <p:tgtEl>
                                          <p:spTgt spid="70"/>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94"/>
                                        </p:tgtEl>
                                        <p:attrNameLst>
                                          <p:attrName>style.visibility</p:attrName>
                                        </p:attrNameLst>
                                      </p:cBhvr>
                                      <p:to>
                                        <p:strVal val="visible"/>
                                      </p:to>
                                    </p:set>
                                    <p:animEffect transition="in" filter="fade">
                                      <p:cBhvr>
                                        <p:cTn id="27" dur="500"/>
                                        <p:tgtEl>
                                          <p:spTgt spid="194"/>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55"/>
                                        </p:tgtEl>
                                        <p:attrNameLst>
                                          <p:attrName>style.visibility</p:attrName>
                                        </p:attrNameLst>
                                      </p:cBhvr>
                                      <p:to>
                                        <p:strVal val="visible"/>
                                      </p:to>
                                    </p:set>
                                    <p:animEffect transition="in" filter="fade">
                                      <p:cBhvr>
                                        <p:cTn id="32" dur="500"/>
                                        <p:tgtEl>
                                          <p:spTgt spid="255"/>
                                        </p:tgtEl>
                                      </p:cBhvr>
                                    </p:animEffect>
                                  </p:childTnLst>
                                </p:cTn>
                              </p:par>
                            </p:childTnLst>
                          </p:cTn>
                        </p:par>
                        <p:par>
                          <p:cTn id="33" fill="hold">
                            <p:stCondLst>
                              <p:cond delay="500"/>
                            </p:stCondLst>
                            <p:childTnLst>
                              <p:par>
                                <p:cTn id="34" presetID="10" presetClass="entr" presetSubtype="0" fill="hold" nodeType="afterEffect">
                                  <p:stCondLst>
                                    <p:cond delay="0"/>
                                  </p:stCondLst>
                                  <p:childTnLst>
                                    <p:set>
                                      <p:cBhvr>
                                        <p:cTn id="35" dur="1" fill="hold">
                                          <p:stCondLst>
                                            <p:cond delay="0"/>
                                          </p:stCondLst>
                                        </p:cTn>
                                        <p:tgtEl>
                                          <p:spTgt spid="88"/>
                                        </p:tgtEl>
                                        <p:attrNameLst>
                                          <p:attrName>style.visibility</p:attrName>
                                        </p:attrNameLst>
                                      </p:cBhvr>
                                      <p:to>
                                        <p:strVal val="visible"/>
                                      </p:to>
                                    </p:set>
                                    <p:animEffect transition="in" filter="fade">
                                      <p:cBhvr>
                                        <p:cTn id="36" dur="500"/>
                                        <p:tgtEl>
                                          <p:spTgt spid="88"/>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72"/>
                                        </p:tgtEl>
                                        <p:attrNameLst>
                                          <p:attrName>style.visibility</p:attrName>
                                        </p:attrNameLst>
                                      </p:cBhvr>
                                      <p:to>
                                        <p:strVal val="visible"/>
                                      </p:to>
                                    </p:set>
                                    <p:animEffect transition="in" filter="fade">
                                      <p:cBhvr>
                                        <p:cTn id="41" dur="500"/>
                                        <p:tgtEl>
                                          <p:spTgt spid="72"/>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73"/>
                                        </p:tgtEl>
                                        <p:attrNameLst>
                                          <p:attrName>style.visibility</p:attrName>
                                        </p:attrNameLst>
                                      </p:cBhvr>
                                      <p:to>
                                        <p:strVal val="visible"/>
                                      </p:to>
                                    </p:set>
                                    <p:animEffect transition="in" filter="fade">
                                      <p:cBhvr>
                                        <p:cTn id="46" dur="500"/>
                                        <p:tgtEl>
                                          <p:spTgt spid="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pic>
        <p:nvPicPr>
          <p:cNvPr id="6146" name="77C5EF44-819B-4265-BED5-43B10BF63397" descr="Image">
            <a:extLst>
              <a:ext uri="{FF2B5EF4-FFF2-40B4-BE49-F238E27FC236}">
                <a16:creationId xmlns:a16="http://schemas.microsoft.com/office/drawing/2014/main" id="{041B9108-A383-4277-85D1-92F2C4B5EED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87503" y="3208839"/>
            <a:ext cx="3629075" cy="2778075"/>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6147" name="46F501AA-81DA-41B3-A59B-DED7215A3652" descr="Image">
            <a:extLst>
              <a:ext uri="{FF2B5EF4-FFF2-40B4-BE49-F238E27FC236}">
                <a16:creationId xmlns:a16="http://schemas.microsoft.com/office/drawing/2014/main" id="{CC60ADB9-1D99-43E8-AD68-12E51D05F9A7}"/>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20031"/>
          <a:stretch/>
        </p:blipFill>
        <p:spPr bwMode="auto">
          <a:xfrm>
            <a:off x="4842435" y="3190317"/>
            <a:ext cx="2607304" cy="2778764"/>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6148" name="18D1C543-D567-4824-9286-BC42F2EA4D86" descr="Image">
            <a:extLst>
              <a:ext uri="{FF2B5EF4-FFF2-40B4-BE49-F238E27FC236}">
                <a16:creationId xmlns:a16="http://schemas.microsoft.com/office/drawing/2014/main" id="{37EF8461-B978-40F6-99A9-D9FBCBE0EB10}"/>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2474" r="11701" b="21779"/>
          <a:stretch/>
        </p:blipFill>
        <p:spPr bwMode="auto">
          <a:xfrm>
            <a:off x="8075597" y="3158037"/>
            <a:ext cx="3588942" cy="2778076"/>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62242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147"/>
                                        </p:tgtEl>
                                        <p:attrNameLst>
                                          <p:attrName>style.visibility</p:attrName>
                                        </p:attrNameLst>
                                      </p:cBhvr>
                                      <p:to>
                                        <p:strVal val="visible"/>
                                      </p:to>
                                    </p:set>
                                    <p:animEffect transition="in" filter="fade">
                                      <p:cBhvr>
                                        <p:cTn id="7" dur="500"/>
                                        <p:tgtEl>
                                          <p:spTgt spid="614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148"/>
                                        </p:tgtEl>
                                        <p:attrNameLst>
                                          <p:attrName>style.visibility</p:attrName>
                                        </p:attrNameLst>
                                      </p:cBhvr>
                                      <p:to>
                                        <p:strVal val="visible"/>
                                      </p:to>
                                    </p:set>
                                    <p:animEffect transition="in" filter="fade">
                                      <p:cBhvr>
                                        <p:cTn id="12" dur="500"/>
                                        <p:tgtEl>
                                          <p:spTgt spid="61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b="0" dirty="0">
                <a:latin typeface="Segoe UI Light" panose="020B0502040204020203" pitchFamily="34" charset="0"/>
                <a:cs typeface="Segoe UI Light" panose="020B0502040204020203" pitchFamily="34" charset="0"/>
              </a:rPr>
              <a:t>SANDVIK INTELLIGENT TUBE</a:t>
            </a:r>
          </a:p>
        </p:txBody>
      </p:sp>
      <p:pic>
        <p:nvPicPr>
          <p:cNvPr id="5" name="Picture Placeholder 4"/>
          <p:cNvPicPr>
            <a:picLocks noChangeAspect="1"/>
          </p:cNvPicPr>
          <p:nvPr/>
        </p:nvPicPr>
        <p:blipFill rotWithShape="1">
          <a:blip r:embed="rId2" cstate="print">
            <a:extLst>
              <a:ext uri="{28A0092B-C50C-407E-A947-70E740481C1C}">
                <a14:useLocalDpi xmlns:a14="http://schemas.microsoft.com/office/drawing/2010/main" val="0"/>
              </a:ext>
            </a:extLst>
          </a:blip>
          <a:srcRect l="7249" t="38879" r="1407" b="4287"/>
          <a:stretch/>
        </p:blipFill>
        <p:spPr>
          <a:xfrm>
            <a:off x="0" y="1794349"/>
            <a:ext cx="12192000" cy="5063651"/>
          </a:xfrm>
          <a:custGeom>
            <a:avLst/>
            <a:gdLst>
              <a:gd name="connsiteX0" fmla="*/ 632660 w 9144000"/>
              <a:gd name="connsiteY0" fmla="*/ 0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632660 h 3795886"/>
              <a:gd name="connsiteX8" fmla="*/ 632660 w 9144000"/>
              <a:gd name="connsiteY8" fmla="*/ 0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632660 h 3795886"/>
              <a:gd name="connsiteX8" fmla="*/ 2769178 w 9144000"/>
              <a:gd name="connsiteY8" fmla="*/ 207698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397835 h 3795886"/>
              <a:gd name="connsiteX8" fmla="*/ 2769178 w 9144000"/>
              <a:gd name="connsiteY8" fmla="*/ 207698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69178 w 9144000"/>
              <a:gd name="connsiteY8" fmla="*/ 207698 h 3795886"/>
              <a:gd name="connsiteX0" fmla="*/ 2750128 w 9144000"/>
              <a:gd name="connsiteY0" fmla="*/ 1323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50128 w 9144000"/>
              <a:gd name="connsiteY8" fmla="*/ 1323 h 3795886"/>
              <a:gd name="connsiteX0" fmla="*/ 2753303 w 9144000"/>
              <a:gd name="connsiteY0" fmla="*/ 4894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53303 w 9144000"/>
              <a:gd name="connsiteY8" fmla="*/ 48948 h 3795886"/>
              <a:gd name="connsiteX0" fmla="*/ 2743778 w 9144000"/>
              <a:gd name="connsiteY0" fmla="*/ 0 h 3797738"/>
              <a:gd name="connsiteX1" fmla="*/ 8511340 w 9144000"/>
              <a:gd name="connsiteY1" fmla="*/ 1852 h 3797738"/>
              <a:gd name="connsiteX2" fmla="*/ 9144000 w 9144000"/>
              <a:gd name="connsiteY2" fmla="*/ 634512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8511340 w 9144000"/>
              <a:gd name="connsiteY1" fmla="*/ 185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14365 w 9144000"/>
              <a:gd name="connsiteY1" fmla="*/ 57335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32077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04840 w 9144000"/>
              <a:gd name="connsiteY1" fmla="*/ 627327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17540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4000" h="3797738">
                <a:moveTo>
                  <a:pt x="2743778" y="0"/>
                </a:moveTo>
                <a:lnTo>
                  <a:pt x="7317540" y="528902"/>
                </a:lnTo>
                <a:lnTo>
                  <a:pt x="9144000" y="529737"/>
                </a:lnTo>
                <a:lnTo>
                  <a:pt x="9144000" y="3797738"/>
                </a:lnTo>
                <a:lnTo>
                  <a:pt x="9144000" y="3797738"/>
                </a:lnTo>
                <a:lnTo>
                  <a:pt x="0" y="3797738"/>
                </a:lnTo>
                <a:lnTo>
                  <a:pt x="0" y="3797738"/>
                </a:lnTo>
                <a:lnTo>
                  <a:pt x="0" y="1583837"/>
                </a:lnTo>
                <a:lnTo>
                  <a:pt x="2743778" y="0"/>
                </a:lnTo>
                <a:close/>
              </a:path>
            </a:pathLst>
          </a:custGeom>
          <a:noFill/>
        </p:spPr>
      </p:pic>
      <p:sp>
        <p:nvSpPr>
          <p:cNvPr id="7" name="Rectangle 4"/>
          <p:cNvSpPr/>
          <p:nvPr/>
        </p:nvSpPr>
        <p:spPr bwMode="auto">
          <a:xfrm>
            <a:off x="285303" y="5280015"/>
            <a:ext cx="4441372" cy="1217565"/>
          </a:xfrm>
          <a:prstGeom prst="rect">
            <a:avLst/>
          </a:prstGeom>
          <a:solidFill>
            <a:schemeClr val="bg1">
              <a:alpha val="8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5" bIns="34295" rtlCol="0" anchor="b" anchorCtr="0"/>
          <a:lstStyle/>
          <a:p>
            <a:pPr marL="0" marR="0" lvl="0" indent="0" algn="ctr" defTabSz="932383" rtl="0" eaLnBrk="1" fontAlgn="auto" latinLnBrk="0" hangingPunct="1">
              <a:lnSpc>
                <a:spcPct val="100000"/>
              </a:lnSpc>
              <a:spcBef>
                <a:spcPts val="0"/>
              </a:spcBef>
              <a:spcAft>
                <a:spcPts val="0"/>
              </a:spcAft>
              <a:buClrTx/>
              <a:buSzTx/>
              <a:buFontTx/>
              <a:buNone/>
              <a:tabLst/>
              <a:defRPr/>
            </a:pPr>
            <a:endParaRPr kumimoji="0" lang="sv-SE" sz="8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8" name="TextBox 5"/>
          <p:cNvSpPr txBox="1"/>
          <p:nvPr/>
        </p:nvSpPr>
        <p:spPr>
          <a:xfrm>
            <a:off x="183704" y="5547165"/>
            <a:ext cx="4726674" cy="6832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sv-SE" sz="2800" b="0" i="0" u="none" strike="noStrike" kern="1200" cap="none" spc="0" normalizeH="0" baseline="0" noProof="0" dirty="0">
                <a:ln>
                  <a:noFill/>
                </a:ln>
                <a:gradFill>
                  <a:gsLst>
                    <a:gs pos="2917">
                      <a:srgbClr val="005EB8"/>
                    </a:gs>
                    <a:gs pos="30000">
                      <a:srgbClr val="005EB8"/>
                    </a:gs>
                  </a:gsLst>
                  <a:lin ang="5400000" scaled="0"/>
                </a:gradFill>
                <a:effectLst/>
                <a:uLnTx/>
                <a:uFillTx/>
                <a:latin typeface="Segoe UI Light" panose="020B0502040204020203" pitchFamily="34" charset="0"/>
                <a:ea typeface="+mn-ea"/>
                <a:cs typeface="Segoe UI Light" panose="020B0502040204020203" pitchFamily="34" charset="0"/>
              </a:rPr>
              <a:t>Sandviken  - </a:t>
            </a:r>
            <a:r>
              <a:rPr lang="en-US" sz="2800" dirty="0">
                <a:gradFill>
                  <a:gsLst>
                    <a:gs pos="2917">
                      <a:srgbClr val="005EB8"/>
                    </a:gs>
                    <a:gs pos="30000">
                      <a:srgbClr val="005EB8"/>
                    </a:gs>
                  </a:gsLst>
                  <a:lin ang="5400000" scaled="0"/>
                </a:gradFill>
                <a:latin typeface="Segoe UI Light" panose="020B0502040204020203" pitchFamily="34" charset="0"/>
                <a:cs typeface="Segoe UI Light" panose="020B0502040204020203" pitchFamily="34" charset="0"/>
              </a:rPr>
              <a:t>Intelligent Tubes</a:t>
            </a:r>
            <a:endParaRPr kumimoji="0" lang="en-US" sz="2800" b="0" i="0" u="none" strike="noStrike" kern="1200" cap="none" spc="0" normalizeH="0" baseline="0" noProof="0" dirty="0">
              <a:ln>
                <a:noFill/>
              </a:ln>
              <a:gradFill>
                <a:gsLst>
                  <a:gs pos="2917">
                    <a:srgbClr val="005EB8"/>
                  </a:gs>
                  <a:gs pos="30000">
                    <a:srgbClr val="005EB8"/>
                  </a:gs>
                </a:gsLst>
                <a:lin ang="5400000" scaled="0"/>
              </a:gradFill>
              <a:effectLst/>
              <a:uLnTx/>
              <a:uFillTx/>
              <a:latin typeface="Segoe UI Light" panose="020B0502040204020203" pitchFamily="34" charset="0"/>
              <a:ea typeface="+mn-ea"/>
              <a:cs typeface="Segoe UI Light" panose="020B0502040204020203" pitchFamily="34" charset="0"/>
            </a:endParaRPr>
          </a:p>
        </p:txBody>
      </p:sp>
      <p:sp>
        <p:nvSpPr>
          <p:cNvPr id="9" name="textruta 8"/>
          <p:cNvSpPr txBox="1"/>
          <p:nvPr/>
        </p:nvSpPr>
        <p:spPr>
          <a:xfrm>
            <a:off x="1571397" y="6128247"/>
            <a:ext cx="2236868" cy="369332"/>
          </a:xfrm>
          <a:prstGeom prst="rect">
            <a:avLst/>
          </a:prstGeom>
          <a:solidFill>
            <a:srgbClr val="E5940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a:ea typeface="+mn-ea"/>
                <a:cs typeface="+mn-cs"/>
              </a:rPr>
              <a:t>SMART INDUSTRY</a:t>
            </a:r>
          </a:p>
        </p:txBody>
      </p:sp>
    </p:spTree>
    <p:extLst>
      <p:ext uri="{BB962C8B-B14F-4D97-AF65-F5344CB8AC3E}">
        <p14:creationId xmlns:p14="http://schemas.microsoft.com/office/powerpoint/2010/main" val="11519092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Ellips 22">
            <a:extLst>
              <a:ext uri="{FF2B5EF4-FFF2-40B4-BE49-F238E27FC236}">
                <a16:creationId xmlns:a16="http://schemas.microsoft.com/office/drawing/2014/main" id="{E9033377-9786-4BF8-A476-D23216E7C0E0}"/>
              </a:ext>
            </a:extLst>
          </p:cNvPr>
          <p:cNvSpPr/>
          <p:nvPr/>
        </p:nvSpPr>
        <p:spPr>
          <a:xfrm>
            <a:off x="637716" y="3357689"/>
            <a:ext cx="1722652" cy="1688572"/>
          </a:xfrm>
          <a:prstGeom prst="ellipse">
            <a:avLst/>
          </a:prstGeom>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sp>
        <p:nvSpPr>
          <p:cNvPr id="28" name="Rubrik 1"/>
          <p:cNvSpPr txBox="1">
            <a:spLocks/>
          </p:cNvSpPr>
          <p:nvPr/>
        </p:nvSpPr>
        <p:spPr>
          <a:xfrm>
            <a:off x="8656734" y="5336010"/>
            <a:ext cx="4099560" cy="831049"/>
          </a:xfrm>
          <a:prstGeom prst="rect">
            <a:avLst/>
          </a:prstGeom>
        </p:spPr>
        <p:txBody>
          <a:bodyPr vert="horz" lIns="121920" tIns="60960" rIns="121920" bIns="60960" rtlCol="0" anchor="ctr">
            <a:normAutofit fontScale="97500"/>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914400" rtl="0" eaLnBrk="1" fontAlgn="auto" latinLnBrk="0" hangingPunct="1">
              <a:lnSpc>
                <a:spcPct val="80000"/>
              </a:lnSpc>
              <a:spcBef>
                <a:spcPct val="0"/>
              </a:spcBef>
              <a:spcAft>
                <a:spcPts val="0"/>
              </a:spcAft>
              <a:buClrTx/>
              <a:buSzTx/>
              <a:buFontTx/>
              <a:buNone/>
              <a:tabLst/>
              <a:defRPr/>
            </a:pPr>
            <a:r>
              <a:rPr lang="en-US" sz="2000" b="0" dirty="0">
                <a:solidFill>
                  <a:schemeClr val="bg1"/>
                </a:solidFill>
                <a:latin typeface="Segoe UI Light" panose="020B0502040204020203" pitchFamily="34" charset="0"/>
                <a:cs typeface="Segoe UI Light" panose="020B0502040204020203" pitchFamily="34" charset="0"/>
              </a:rPr>
              <a:t>30%  higher energy consumption…Why? </a:t>
            </a:r>
          </a:p>
        </p:txBody>
      </p:sp>
      <p:pic>
        <p:nvPicPr>
          <p:cNvPr id="3" name="Picture 8" descr="Bildresultat för microsoft cloud one drive">
            <a:extLst>
              <a:ext uri="{FF2B5EF4-FFF2-40B4-BE49-F238E27FC236}">
                <a16:creationId xmlns:a16="http://schemas.microsoft.com/office/drawing/2014/main" id="{03A743DA-56BA-4FBB-A5F0-56F473E0E6A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55498" y="702417"/>
            <a:ext cx="3582707" cy="3582705"/>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Bildresultat för retirement building icon">
            <a:extLst>
              <a:ext uri="{FF2B5EF4-FFF2-40B4-BE49-F238E27FC236}">
                <a16:creationId xmlns:a16="http://schemas.microsoft.com/office/drawing/2014/main" id="{5C11632E-B142-4953-AD17-90254C8E76E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39843" y="74205"/>
            <a:ext cx="2490615" cy="249061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8" descr="Bildresultat för retirement building icon">
            <a:extLst>
              <a:ext uri="{FF2B5EF4-FFF2-40B4-BE49-F238E27FC236}">
                <a16:creationId xmlns:a16="http://schemas.microsoft.com/office/drawing/2014/main" id="{ADC2C6AD-8CB8-4D9C-B007-CBBFB3DD2C4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77003" y="2912870"/>
            <a:ext cx="2490615" cy="2490615"/>
          </a:xfrm>
          <a:prstGeom prst="rect">
            <a:avLst/>
          </a:prstGeom>
          <a:noFill/>
          <a:extLst>
            <a:ext uri="{909E8E84-426E-40DD-AFC4-6F175D3DCCD1}">
              <a14:hiddenFill xmlns:a14="http://schemas.microsoft.com/office/drawing/2010/main">
                <a:solidFill>
                  <a:srgbClr val="FFFFFF"/>
                </a:solidFill>
              </a14:hiddenFill>
            </a:ext>
          </a:extLst>
        </p:spPr>
      </p:pic>
      <p:cxnSp>
        <p:nvCxnSpPr>
          <p:cNvPr id="4" name="Rak pilkoppling 3">
            <a:extLst>
              <a:ext uri="{FF2B5EF4-FFF2-40B4-BE49-F238E27FC236}">
                <a16:creationId xmlns:a16="http://schemas.microsoft.com/office/drawing/2014/main" id="{0DF72725-0B7F-4A50-81DD-894E2995EE02}"/>
              </a:ext>
            </a:extLst>
          </p:cNvPr>
          <p:cNvCxnSpPr>
            <a:cxnSpLocks/>
          </p:cNvCxnSpPr>
          <p:nvPr/>
        </p:nvCxnSpPr>
        <p:spPr>
          <a:xfrm flipH="1">
            <a:off x="7284720" y="2226911"/>
            <a:ext cx="2268857" cy="1"/>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cxnSp>
        <p:nvCxnSpPr>
          <p:cNvPr id="13" name="Rak pilkoppling 12">
            <a:extLst>
              <a:ext uri="{FF2B5EF4-FFF2-40B4-BE49-F238E27FC236}">
                <a16:creationId xmlns:a16="http://schemas.microsoft.com/office/drawing/2014/main" id="{94A6E47E-B025-4839-8350-997EB914F52C}"/>
              </a:ext>
            </a:extLst>
          </p:cNvPr>
          <p:cNvCxnSpPr>
            <a:cxnSpLocks/>
          </p:cNvCxnSpPr>
          <p:nvPr/>
        </p:nvCxnSpPr>
        <p:spPr>
          <a:xfrm flipH="1">
            <a:off x="7674168" y="3357689"/>
            <a:ext cx="1965132" cy="0"/>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pic>
        <p:nvPicPr>
          <p:cNvPr id="25" name="Bildobjekt 24">
            <a:extLst>
              <a:ext uri="{FF2B5EF4-FFF2-40B4-BE49-F238E27FC236}">
                <a16:creationId xmlns:a16="http://schemas.microsoft.com/office/drawing/2014/main" id="{B4919031-33D9-4559-A042-624D75785038}"/>
              </a:ext>
            </a:extLst>
          </p:cNvPr>
          <p:cNvPicPr>
            <a:picLocks noChangeAspect="1"/>
          </p:cNvPicPr>
          <p:nvPr/>
        </p:nvPicPr>
        <p:blipFill>
          <a:blip r:embed="rId5"/>
          <a:stretch>
            <a:fillRect/>
          </a:stretch>
        </p:blipFill>
        <p:spPr>
          <a:xfrm>
            <a:off x="541002" y="814703"/>
            <a:ext cx="1679067" cy="1679067"/>
          </a:xfrm>
          <a:prstGeom prst="rect">
            <a:avLst/>
          </a:prstGeom>
        </p:spPr>
      </p:pic>
      <p:cxnSp>
        <p:nvCxnSpPr>
          <p:cNvPr id="26" name="Rak pilkoppling 25">
            <a:extLst>
              <a:ext uri="{FF2B5EF4-FFF2-40B4-BE49-F238E27FC236}">
                <a16:creationId xmlns:a16="http://schemas.microsoft.com/office/drawing/2014/main" id="{8D85EFB1-EB44-4120-ABFA-1D1103D621A5}"/>
              </a:ext>
            </a:extLst>
          </p:cNvPr>
          <p:cNvCxnSpPr>
            <a:cxnSpLocks/>
          </p:cNvCxnSpPr>
          <p:nvPr/>
        </p:nvCxnSpPr>
        <p:spPr>
          <a:xfrm flipV="1">
            <a:off x="2220069" y="2226912"/>
            <a:ext cx="1694706" cy="1"/>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pic>
        <p:nvPicPr>
          <p:cNvPr id="4114" name="Picture 18" descr="Bildresultat för consumption api icon">
            <a:extLst>
              <a:ext uri="{FF2B5EF4-FFF2-40B4-BE49-F238E27FC236}">
                <a16:creationId xmlns:a16="http://schemas.microsoft.com/office/drawing/2014/main" id="{452AC624-A1F7-4FBA-A82D-DBB447C2EF2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8261" y="2852109"/>
            <a:ext cx="2466147" cy="2466147"/>
          </a:xfrm>
          <a:prstGeom prst="rect">
            <a:avLst/>
          </a:prstGeom>
          <a:noFill/>
          <a:extLst>
            <a:ext uri="{909E8E84-426E-40DD-AFC4-6F175D3DCCD1}">
              <a14:hiddenFill xmlns:a14="http://schemas.microsoft.com/office/drawing/2010/main">
                <a:solidFill>
                  <a:srgbClr val="FFFFFF"/>
                </a:solidFill>
              </a14:hiddenFill>
            </a:ext>
          </a:extLst>
        </p:spPr>
      </p:pic>
      <p:cxnSp>
        <p:nvCxnSpPr>
          <p:cNvPr id="34" name="Rak pilkoppling 33">
            <a:extLst>
              <a:ext uri="{FF2B5EF4-FFF2-40B4-BE49-F238E27FC236}">
                <a16:creationId xmlns:a16="http://schemas.microsoft.com/office/drawing/2014/main" id="{3DC1E1F6-34FA-47A5-AEA1-0C2969A7319F}"/>
              </a:ext>
            </a:extLst>
          </p:cNvPr>
          <p:cNvCxnSpPr>
            <a:cxnSpLocks/>
          </p:cNvCxnSpPr>
          <p:nvPr/>
        </p:nvCxnSpPr>
        <p:spPr>
          <a:xfrm flipV="1">
            <a:off x="2399674" y="3357689"/>
            <a:ext cx="1557805" cy="1"/>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pic>
        <p:nvPicPr>
          <p:cNvPr id="4118" name="Picture 22" descr="Bildresultat för single pane of glass icon png">
            <a:extLst>
              <a:ext uri="{FF2B5EF4-FFF2-40B4-BE49-F238E27FC236}">
                <a16:creationId xmlns:a16="http://schemas.microsoft.com/office/drawing/2014/main" id="{8B20F615-4C01-41DF-A813-B1971D43C43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19612" y="4392658"/>
            <a:ext cx="2862263" cy="2328182"/>
          </a:xfrm>
          <a:prstGeom prst="rect">
            <a:avLst/>
          </a:prstGeom>
          <a:noFill/>
          <a:extLst>
            <a:ext uri="{909E8E84-426E-40DD-AFC4-6F175D3DCCD1}">
              <a14:hiddenFill xmlns:a14="http://schemas.microsoft.com/office/drawing/2010/main">
                <a:solidFill>
                  <a:srgbClr val="FFFFFF"/>
                </a:solidFill>
              </a14:hiddenFill>
            </a:ext>
          </a:extLst>
        </p:spPr>
      </p:pic>
      <p:cxnSp>
        <p:nvCxnSpPr>
          <p:cNvPr id="39" name="Rak pilkoppling 38">
            <a:extLst>
              <a:ext uri="{FF2B5EF4-FFF2-40B4-BE49-F238E27FC236}">
                <a16:creationId xmlns:a16="http://schemas.microsoft.com/office/drawing/2014/main" id="{E9B3853A-3428-4091-BC8D-C89479C8131A}"/>
              </a:ext>
            </a:extLst>
          </p:cNvPr>
          <p:cNvCxnSpPr>
            <a:cxnSpLocks/>
            <a:endCxn id="4118" idx="0"/>
          </p:cNvCxnSpPr>
          <p:nvPr/>
        </p:nvCxnSpPr>
        <p:spPr>
          <a:xfrm>
            <a:off x="5950744" y="3649980"/>
            <a:ext cx="0" cy="742678"/>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spTree>
    <p:extLst>
      <p:ext uri="{BB962C8B-B14F-4D97-AF65-F5344CB8AC3E}">
        <p14:creationId xmlns:p14="http://schemas.microsoft.com/office/powerpoint/2010/main" val="1857735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104"/>
                                        </p:tgtEl>
                                        <p:attrNameLst>
                                          <p:attrName>style.visibility</p:attrName>
                                        </p:attrNameLst>
                                      </p:cBhvr>
                                      <p:to>
                                        <p:strVal val="visible"/>
                                      </p:to>
                                    </p:set>
                                    <p:animEffect transition="in" filter="fade">
                                      <p:cBhvr>
                                        <p:cTn id="7" dur="500"/>
                                        <p:tgtEl>
                                          <p:spTgt spid="4104"/>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8"/>
                                        </p:tgtEl>
                                        <p:attrNameLst>
                                          <p:attrName>style.visibility</p:attrName>
                                        </p:attrNameLst>
                                      </p:cBhvr>
                                      <p:to>
                                        <p:strVal val="visible"/>
                                      </p:to>
                                    </p:set>
                                    <p:animEffect transition="in" filter="fade">
                                      <p:cBhvr>
                                        <p:cTn id="13" dur="500"/>
                                        <p:tgtEl>
                                          <p:spTgt spid="2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500"/>
                                        <p:tgtEl>
                                          <p:spTgt spid="4"/>
                                        </p:tgtEl>
                                      </p:cBhvr>
                                    </p:animEffect>
                                  </p:childTnLst>
                                </p:cTn>
                              </p:par>
                              <p:par>
                                <p:cTn id="19" presetID="10" presetClass="entr" presetSubtype="0" fill="hold" nodeType="with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fade">
                                      <p:cBhvr>
                                        <p:cTn id="21" dur="500"/>
                                        <p:tgtEl>
                                          <p:spTgt spid="13"/>
                                        </p:tgtEl>
                                      </p:cBhvr>
                                    </p:animEffect>
                                  </p:childTnLst>
                                </p:cTn>
                              </p:par>
                              <p:par>
                                <p:cTn id="22" presetID="10" presetClass="entr" presetSubtype="0" fill="hold" nodeType="withEffect">
                                  <p:stCondLst>
                                    <p:cond delay="0"/>
                                  </p:stCondLst>
                                  <p:childTnLst>
                                    <p:set>
                                      <p:cBhvr>
                                        <p:cTn id="23" dur="1" fill="hold">
                                          <p:stCondLst>
                                            <p:cond delay="0"/>
                                          </p:stCondLst>
                                        </p:cTn>
                                        <p:tgtEl>
                                          <p:spTgt spid="3"/>
                                        </p:tgtEl>
                                        <p:attrNameLst>
                                          <p:attrName>style.visibility</p:attrName>
                                        </p:attrNameLst>
                                      </p:cBhvr>
                                      <p:to>
                                        <p:strVal val="visible"/>
                                      </p:to>
                                    </p:set>
                                    <p:animEffect transition="in" filter="fade">
                                      <p:cBhvr>
                                        <p:cTn id="24" dur="500"/>
                                        <p:tgtEl>
                                          <p:spTgt spid="3"/>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4114"/>
                                        </p:tgtEl>
                                        <p:attrNameLst>
                                          <p:attrName>style.visibility</p:attrName>
                                        </p:attrNameLst>
                                      </p:cBhvr>
                                      <p:to>
                                        <p:strVal val="visible"/>
                                      </p:to>
                                    </p:set>
                                    <p:animEffect transition="in" filter="fade">
                                      <p:cBhvr>
                                        <p:cTn id="29" dur="500"/>
                                        <p:tgtEl>
                                          <p:spTgt spid="4114"/>
                                        </p:tgtEl>
                                      </p:cBhvr>
                                    </p:animEffect>
                                  </p:childTnLst>
                                </p:cTn>
                              </p:par>
                              <p:par>
                                <p:cTn id="30" presetID="10" presetClass="entr" presetSubtype="0" fill="hold" nodeType="withEffect">
                                  <p:stCondLst>
                                    <p:cond delay="0"/>
                                  </p:stCondLst>
                                  <p:childTnLst>
                                    <p:set>
                                      <p:cBhvr>
                                        <p:cTn id="31" dur="1" fill="hold">
                                          <p:stCondLst>
                                            <p:cond delay="0"/>
                                          </p:stCondLst>
                                        </p:cTn>
                                        <p:tgtEl>
                                          <p:spTgt spid="34"/>
                                        </p:tgtEl>
                                        <p:attrNameLst>
                                          <p:attrName>style.visibility</p:attrName>
                                        </p:attrNameLst>
                                      </p:cBhvr>
                                      <p:to>
                                        <p:strVal val="visible"/>
                                      </p:to>
                                    </p:set>
                                    <p:animEffect transition="in" filter="fade">
                                      <p:cBhvr>
                                        <p:cTn id="32" dur="500"/>
                                        <p:tgtEl>
                                          <p:spTgt spid="34"/>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3"/>
                                        </p:tgtEl>
                                        <p:attrNameLst>
                                          <p:attrName>style.visibility</p:attrName>
                                        </p:attrNameLst>
                                      </p:cBhvr>
                                      <p:to>
                                        <p:strVal val="visible"/>
                                      </p:to>
                                    </p:set>
                                    <p:animEffect transition="in" filter="fade">
                                      <p:cBhvr>
                                        <p:cTn id="35" dur="500"/>
                                        <p:tgtEl>
                                          <p:spTgt spid="23"/>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39"/>
                                        </p:tgtEl>
                                        <p:attrNameLst>
                                          <p:attrName>style.visibility</p:attrName>
                                        </p:attrNameLst>
                                      </p:cBhvr>
                                      <p:to>
                                        <p:strVal val="visible"/>
                                      </p:to>
                                    </p:set>
                                    <p:animEffect transition="in" filter="fade">
                                      <p:cBhvr>
                                        <p:cTn id="40" dur="500"/>
                                        <p:tgtEl>
                                          <p:spTgt spid="39"/>
                                        </p:tgtEl>
                                      </p:cBhvr>
                                    </p:animEffect>
                                  </p:childTnLst>
                                </p:cTn>
                              </p:par>
                              <p:par>
                                <p:cTn id="41" presetID="10" presetClass="entr" presetSubtype="0" fill="hold" nodeType="withEffect">
                                  <p:stCondLst>
                                    <p:cond delay="0"/>
                                  </p:stCondLst>
                                  <p:childTnLst>
                                    <p:set>
                                      <p:cBhvr>
                                        <p:cTn id="42" dur="1" fill="hold">
                                          <p:stCondLst>
                                            <p:cond delay="0"/>
                                          </p:stCondLst>
                                        </p:cTn>
                                        <p:tgtEl>
                                          <p:spTgt spid="4118"/>
                                        </p:tgtEl>
                                        <p:attrNameLst>
                                          <p:attrName>style.visibility</p:attrName>
                                        </p:attrNameLst>
                                      </p:cBhvr>
                                      <p:to>
                                        <p:strVal val="visible"/>
                                      </p:to>
                                    </p:set>
                                    <p:animEffect transition="in" filter="fade">
                                      <p:cBhvr>
                                        <p:cTn id="43" dur="500"/>
                                        <p:tgtEl>
                                          <p:spTgt spid="4118"/>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25"/>
                                        </p:tgtEl>
                                        <p:attrNameLst>
                                          <p:attrName>style.visibility</p:attrName>
                                        </p:attrNameLst>
                                      </p:cBhvr>
                                      <p:to>
                                        <p:strVal val="visible"/>
                                      </p:to>
                                    </p:set>
                                    <p:animEffect transition="in" filter="fade">
                                      <p:cBhvr>
                                        <p:cTn id="48" dur="500"/>
                                        <p:tgtEl>
                                          <p:spTgt spid="25"/>
                                        </p:tgtEl>
                                      </p:cBhvr>
                                    </p:animEffect>
                                  </p:childTnLst>
                                </p:cTn>
                              </p:par>
                              <p:par>
                                <p:cTn id="49" presetID="10" presetClass="entr" presetSubtype="0" fill="hold" nodeType="withEffect">
                                  <p:stCondLst>
                                    <p:cond delay="0"/>
                                  </p:stCondLst>
                                  <p:childTnLst>
                                    <p:set>
                                      <p:cBhvr>
                                        <p:cTn id="50" dur="1" fill="hold">
                                          <p:stCondLst>
                                            <p:cond delay="0"/>
                                          </p:stCondLst>
                                        </p:cTn>
                                        <p:tgtEl>
                                          <p:spTgt spid="26"/>
                                        </p:tgtEl>
                                        <p:attrNameLst>
                                          <p:attrName>style.visibility</p:attrName>
                                        </p:attrNameLst>
                                      </p:cBhvr>
                                      <p:to>
                                        <p:strVal val="visible"/>
                                      </p:to>
                                    </p:set>
                                    <p:animEffect transition="in" filter="fade">
                                      <p:cBhvr>
                                        <p:cTn id="51"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8"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F99D684-858F-41C0-A406-36FAEF2E3FB9}"/>
              </a:ext>
            </a:extLst>
          </p:cNvPr>
          <p:cNvSpPr txBox="1"/>
          <p:nvPr/>
        </p:nvSpPr>
        <p:spPr>
          <a:xfrm>
            <a:off x="301014" y="5264899"/>
            <a:ext cx="5754973" cy="769441"/>
          </a:xfrm>
          <a:prstGeom prst="rect">
            <a:avLst/>
          </a:prstGeom>
          <a:noFill/>
        </p:spPr>
        <p:txBody>
          <a:bodyPr wrap="none" rtlCol="0">
            <a:spAutoFit/>
          </a:bodyPr>
          <a:lstStyle/>
          <a:p>
            <a:r>
              <a:rPr lang="sv-SE" sz="4400" dirty="0">
                <a:solidFill>
                  <a:schemeClr val="bg1"/>
                </a:solidFill>
                <a:latin typeface="Segoe UI Light" panose="020B0502040204020203" pitchFamily="34" charset="0"/>
                <a:cs typeface="Segoe UI Light" panose="020B0502040204020203" pitchFamily="34" charset="0"/>
              </a:rPr>
              <a:t>-</a:t>
            </a:r>
            <a:r>
              <a:rPr lang="sv-SE" sz="4400" dirty="0" err="1">
                <a:solidFill>
                  <a:schemeClr val="bg1"/>
                </a:solidFill>
                <a:latin typeface="Segoe UI Light" panose="020B0502040204020203" pitchFamily="34" charset="0"/>
                <a:cs typeface="Segoe UI Light" panose="020B0502040204020203" pitchFamily="34" charset="0"/>
              </a:rPr>
              <a:t>But</a:t>
            </a:r>
            <a:r>
              <a:rPr lang="sv-SE" sz="4400" dirty="0">
                <a:solidFill>
                  <a:schemeClr val="bg1"/>
                </a:solidFill>
                <a:latin typeface="Segoe UI Light" panose="020B0502040204020203" pitchFamily="34" charset="0"/>
                <a:cs typeface="Segoe UI Light" panose="020B0502040204020203" pitchFamily="34" charset="0"/>
              </a:rPr>
              <a:t> </a:t>
            </a:r>
            <a:r>
              <a:rPr lang="sv-SE" sz="4400" dirty="0" err="1">
                <a:solidFill>
                  <a:schemeClr val="bg1"/>
                </a:solidFill>
                <a:latin typeface="Segoe UI Light" panose="020B0502040204020203" pitchFamily="34" charset="0"/>
                <a:cs typeface="Segoe UI Light" panose="020B0502040204020203" pitchFamily="34" charset="0"/>
              </a:rPr>
              <a:t>wait</a:t>
            </a:r>
            <a:r>
              <a:rPr lang="sv-SE" sz="4400" dirty="0">
                <a:solidFill>
                  <a:schemeClr val="bg1"/>
                </a:solidFill>
                <a:latin typeface="Segoe UI Light" panose="020B0502040204020203" pitchFamily="34" charset="0"/>
                <a:cs typeface="Segoe UI Light" panose="020B0502040204020203" pitchFamily="34" charset="0"/>
              </a:rPr>
              <a:t>…</a:t>
            </a:r>
            <a:r>
              <a:rPr lang="sv-SE" sz="4400" dirty="0" err="1">
                <a:solidFill>
                  <a:schemeClr val="bg1"/>
                </a:solidFill>
                <a:latin typeface="Segoe UI Light" panose="020B0502040204020203" pitchFamily="34" charset="0"/>
                <a:cs typeface="Segoe UI Light" panose="020B0502040204020203" pitchFamily="34" charset="0"/>
              </a:rPr>
              <a:t>there</a:t>
            </a:r>
            <a:r>
              <a:rPr lang="sv-SE" sz="4400" dirty="0">
                <a:solidFill>
                  <a:schemeClr val="bg1"/>
                </a:solidFill>
                <a:latin typeface="Segoe UI Light" panose="020B0502040204020203" pitchFamily="34" charset="0"/>
                <a:cs typeface="Segoe UI Light" panose="020B0502040204020203" pitchFamily="34" charset="0"/>
              </a:rPr>
              <a:t> is </a:t>
            </a:r>
            <a:r>
              <a:rPr lang="sv-SE" sz="4400" dirty="0" err="1">
                <a:solidFill>
                  <a:schemeClr val="bg1"/>
                </a:solidFill>
                <a:latin typeface="Segoe UI Light" panose="020B0502040204020203" pitchFamily="34" charset="0"/>
                <a:cs typeface="Segoe UI Light" panose="020B0502040204020203" pitchFamily="34" charset="0"/>
              </a:rPr>
              <a:t>more</a:t>
            </a:r>
            <a:endParaRPr lang="en-US" sz="1200" dirty="0">
              <a:solidFill>
                <a:schemeClr val="bg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080812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objekt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1492" y="0"/>
            <a:ext cx="14234984" cy="6858000"/>
          </a:xfrm>
          <a:prstGeom prst="rect">
            <a:avLst/>
          </a:prstGeom>
        </p:spPr>
      </p:pic>
      <p:sp>
        <p:nvSpPr>
          <p:cNvPr id="5" name="Rectangle 4"/>
          <p:cNvSpPr/>
          <p:nvPr/>
        </p:nvSpPr>
        <p:spPr bwMode="auto">
          <a:xfrm>
            <a:off x="7750630" y="680720"/>
            <a:ext cx="4441372" cy="1217565"/>
          </a:xfrm>
          <a:prstGeom prst="rect">
            <a:avLst/>
          </a:prstGeom>
          <a:solidFill>
            <a:schemeClr val="bg1">
              <a:alpha val="8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5" bIns="34295" rtlCol="0" anchor="b" anchorCtr="0"/>
          <a:lstStyle/>
          <a:p>
            <a:pPr algn="ctr" defTabSz="932359"/>
            <a:endParaRPr lang="sv-SE" sz="8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TextBox 5"/>
          <p:cNvSpPr txBox="1"/>
          <p:nvPr/>
        </p:nvSpPr>
        <p:spPr>
          <a:xfrm>
            <a:off x="7750631" y="947869"/>
            <a:ext cx="4574720" cy="683264"/>
          </a:xfrm>
          <a:prstGeom prst="rect">
            <a:avLst/>
          </a:prstGeom>
          <a:noFill/>
        </p:spPr>
        <p:txBody>
          <a:bodyPr wrap="square" lIns="182880" tIns="146304" rIns="182880" bIns="146304" rtlCol="0">
            <a:spAutoFit/>
          </a:bodyPr>
          <a:lstStyle/>
          <a:p>
            <a:pPr defTabSz="1219170">
              <a:lnSpc>
                <a:spcPct val="90000"/>
              </a:lnSpc>
              <a:spcAft>
                <a:spcPts val="600"/>
              </a:spcAft>
            </a:pPr>
            <a:r>
              <a:rPr lang="sv-SE"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The </a:t>
            </a:r>
            <a:r>
              <a:rPr lang="sv-SE" sz="2800" dirty="0" err="1">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Edge</a:t>
            </a:r>
            <a:r>
              <a:rPr lang="sv-SE"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 , - Amsterdam</a:t>
            </a:r>
            <a:endParaRPr lang="en-US"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277842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38944"/>
            <a:ext cx="12192000" cy="8135888"/>
          </a:xfrm>
          <a:prstGeom prst="rect">
            <a:avLst/>
          </a:prstGeom>
        </p:spPr>
      </p:pic>
      <p:sp>
        <p:nvSpPr>
          <p:cNvPr id="5" name="Rectangle 4"/>
          <p:cNvSpPr/>
          <p:nvPr/>
        </p:nvSpPr>
        <p:spPr bwMode="auto">
          <a:xfrm>
            <a:off x="1" y="5335000"/>
            <a:ext cx="4057651" cy="1217565"/>
          </a:xfrm>
          <a:prstGeom prst="rect">
            <a:avLst/>
          </a:prstGeom>
          <a:solidFill>
            <a:schemeClr val="bg1">
              <a:alpha val="8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5" bIns="34295" rtlCol="0" anchor="b" anchorCtr="0"/>
          <a:lstStyle/>
          <a:p>
            <a:pPr algn="ctr" defTabSz="932359"/>
            <a:endParaRPr lang="sv-SE" sz="8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TextBox 5"/>
          <p:cNvSpPr txBox="1"/>
          <p:nvPr/>
        </p:nvSpPr>
        <p:spPr>
          <a:xfrm>
            <a:off x="254050" y="5602149"/>
            <a:ext cx="2796278" cy="683264"/>
          </a:xfrm>
          <a:prstGeom prst="rect">
            <a:avLst/>
          </a:prstGeom>
          <a:noFill/>
        </p:spPr>
        <p:txBody>
          <a:bodyPr wrap="none" lIns="182880" tIns="146304" rIns="182880" bIns="146304" rtlCol="0">
            <a:spAutoFit/>
          </a:bodyPr>
          <a:lstStyle/>
          <a:p>
            <a:pPr defTabSz="1219170">
              <a:lnSpc>
                <a:spcPct val="90000"/>
              </a:lnSpc>
              <a:spcAft>
                <a:spcPts val="600"/>
              </a:spcAft>
            </a:pPr>
            <a:r>
              <a:rPr lang="sv-SE"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Berlin  - </a:t>
            </a:r>
            <a:r>
              <a:rPr lang="en-US"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Subway</a:t>
            </a:r>
          </a:p>
        </p:txBody>
      </p:sp>
    </p:spTree>
    <p:extLst>
      <p:ext uri="{BB962C8B-B14F-4D97-AF65-F5344CB8AC3E}">
        <p14:creationId xmlns:p14="http://schemas.microsoft.com/office/powerpoint/2010/main" val="178136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descr="http://paradiseintheworld.com/wp-content/uploads/2012/03/rotterdam-por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027" y="-551542"/>
            <a:ext cx="12205027" cy="7952596"/>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bwMode="auto">
          <a:xfrm>
            <a:off x="8134349" y="5051156"/>
            <a:ext cx="4057651" cy="1217565"/>
          </a:xfrm>
          <a:prstGeom prst="rect">
            <a:avLst/>
          </a:prstGeom>
          <a:solidFill>
            <a:schemeClr val="bg1">
              <a:alpha val="8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5" bIns="34295" rtlCol="0" anchor="b" anchorCtr="0"/>
          <a:lstStyle/>
          <a:p>
            <a:pPr algn="ctr" defTabSz="932359"/>
            <a:endParaRPr lang="sv-SE" sz="8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TextBox 5"/>
          <p:cNvSpPr txBox="1"/>
          <p:nvPr/>
        </p:nvSpPr>
        <p:spPr>
          <a:xfrm>
            <a:off x="8388399" y="5318304"/>
            <a:ext cx="3447932" cy="683264"/>
          </a:xfrm>
          <a:prstGeom prst="rect">
            <a:avLst/>
          </a:prstGeom>
          <a:noFill/>
        </p:spPr>
        <p:txBody>
          <a:bodyPr wrap="none" lIns="182880" tIns="146304" rIns="182880" bIns="146304" rtlCol="0">
            <a:spAutoFit/>
          </a:bodyPr>
          <a:lstStyle/>
          <a:p>
            <a:pPr defTabSz="1219170">
              <a:lnSpc>
                <a:spcPct val="90000"/>
              </a:lnSpc>
              <a:spcAft>
                <a:spcPts val="600"/>
              </a:spcAft>
            </a:pPr>
            <a:r>
              <a:rPr lang="sv-SE"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Rotterdam  - </a:t>
            </a:r>
            <a:r>
              <a:rPr lang="en-US"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Harbor</a:t>
            </a:r>
          </a:p>
        </p:txBody>
      </p:sp>
    </p:spTree>
    <p:extLst>
      <p:ext uri="{BB962C8B-B14F-4D97-AF65-F5344CB8AC3E}">
        <p14:creationId xmlns:p14="http://schemas.microsoft.com/office/powerpoint/2010/main" val="4101968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65100"/>
            <a:ext cx="10515600" cy="1325563"/>
          </a:xfrm>
        </p:spPr>
        <p:txBody>
          <a:bodyPr/>
          <a:lstStyle/>
          <a:p>
            <a:r>
              <a:rPr lang="en-US" dirty="0"/>
              <a:t>IoT Device Management</a:t>
            </a:r>
            <a:br>
              <a:rPr lang="en-US" dirty="0"/>
            </a:br>
            <a:r>
              <a:rPr lang="en-US" dirty="0"/>
              <a:t>- </a:t>
            </a:r>
            <a:r>
              <a:rPr lang="en-US" sz="4000" dirty="0"/>
              <a:t>using microServiceBus.com</a:t>
            </a:r>
            <a:endParaRPr lang="en-US" dirty="0"/>
          </a:p>
        </p:txBody>
      </p:sp>
      <p:pic>
        <p:nvPicPr>
          <p:cNvPr id="70" name="Picture 69">
            <a:extLst>
              <a:ext uri="{FF2B5EF4-FFF2-40B4-BE49-F238E27FC236}">
                <a16:creationId xmlns:a16="http://schemas.microsoft.com/office/drawing/2014/main" id="{DF1C9404-9E3C-4C05-8625-98AAD8DAEFB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55687" y="5455797"/>
            <a:ext cx="1368013" cy="1122803"/>
          </a:xfrm>
          <a:prstGeom prst="rect">
            <a:avLst/>
          </a:prstGeom>
        </p:spPr>
      </p:pic>
      <p:sp>
        <p:nvSpPr>
          <p:cNvPr id="3" name="TextBox 2">
            <a:extLst>
              <a:ext uri="{FF2B5EF4-FFF2-40B4-BE49-F238E27FC236}">
                <a16:creationId xmlns:a16="http://schemas.microsoft.com/office/drawing/2014/main" id="{0B7A1861-F54F-483C-8745-16C73702249C}"/>
              </a:ext>
            </a:extLst>
          </p:cNvPr>
          <p:cNvSpPr txBox="1"/>
          <p:nvPr/>
        </p:nvSpPr>
        <p:spPr>
          <a:xfrm>
            <a:off x="1638300" y="2362200"/>
            <a:ext cx="8648700" cy="1569660"/>
          </a:xfrm>
          <a:prstGeom prst="rect">
            <a:avLst/>
          </a:prstGeom>
          <a:noFill/>
        </p:spPr>
        <p:txBody>
          <a:bodyPr wrap="square" rtlCol="0">
            <a:spAutoFit/>
          </a:bodyPr>
          <a:lstStyle/>
          <a:p>
            <a:pPr marL="457200" indent="-457200">
              <a:buFont typeface="Arial" panose="020B0604020202020204" pitchFamily="34" charset="0"/>
              <a:buChar char="•"/>
            </a:pPr>
            <a:r>
              <a:rPr lang="en-US" sz="3200" dirty="0"/>
              <a:t>Introduction</a:t>
            </a:r>
          </a:p>
          <a:p>
            <a:pPr marL="457200" indent="-457200">
              <a:buFont typeface="Arial" panose="020B0604020202020204" pitchFamily="34" charset="0"/>
              <a:buChar char="•"/>
            </a:pPr>
            <a:r>
              <a:rPr lang="en-US" sz="3200" dirty="0"/>
              <a:t>AXIANS IoT </a:t>
            </a:r>
            <a:r>
              <a:rPr lang="en-US" sz="3200" dirty="0">
                <a:latin typeface="Segoe UI Light" panose="020B0502040204020203" pitchFamily="34" charset="0"/>
                <a:cs typeface="Segoe UI Light" panose="020B0502040204020203" pitchFamily="34" charset="0"/>
              </a:rPr>
              <a:t>– View on Internet of Things</a:t>
            </a:r>
          </a:p>
          <a:p>
            <a:pPr marL="457200" indent="-457200">
              <a:buFont typeface="Arial" panose="020B0604020202020204" pitchFamily="34" charset="0"/>
              <a:buChar char="•"/>
            </a:pPr>
            <a:r>
              <a:rPr lang="en-US" sz="3200" dirty="0">
                <a:latin typeface="Segoe UI Light" panose="020B0502040204020203" pitchFamily="34" charset="0"/>
                <a:cs typeface="Segoe UI Light" panose="020B0502040204020203" pitchFamily="34" charset="0"/>
              </a:rPr>
              <a:t>Labs</a:t>
            </a:r>
          </a:p>
        </p:txBody>
      </p:sp>
    </p:spTree>
    <p:extLst>
      <p:ext uri="{BB962C8B-B14F-4D97-AF65-F5344CB8AC3E}">
        <p14:creationId xmlns:p14="http://schemas.microsoft.com/office/powerpoint/2010/main" val="342755078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9" name="Title 1048">
            <a:extLst>
              <a:ext uri="{FF2B5EF4-FFF2-40B4-BE49-F238E27FC236}">
                <a16:creationId xmlns:a16="http://schemas.microsoft.com/office/drawing/2014/main" id="{18F41A92-EB8C-40EC-ACF1-583EB8C5560E}"/>
              </a:ext>
            </a:extLst>
          </p:cNvPr>
          <p:cNvSpPr>
            <a:spLocks noGrp="1"/>
          </p:cNvSpPr>
          <p:nvPr>
            <p:ph type="title"/>
          </p:nvPr>
        </p:nvSpPr>
        <p:spPr>
          <a:xfrm>
            <a:off x="939800" y="2298700"/>
            <a:ext cx="10515600" cy="1325563"/>
          </a:xfrm>
        </p:spPr>
        <p:txBody>
          <a:bodyPr/>
          <a:lstStyle/>
          <a:p>
            <a:r>
              <a:rPr lang="en-US" dirty="0"/>
              <a:t>So how does microServiceBus.com fit in?</a:t>
            </a:r>
          </a:p>
        </p:txBody>
      </p:sp>
    </p:spTree>
    <p:extLst>
      <p:ext uri="{BB962C8B-B14F-4D97-AF65-F5344CB8AC3E}">
        <p14:creationId xmlns:p14="http://schemas.microsoft.com/office/powerpoint/2010/main" val="17341203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B83CD8-EB1D-459B-9151-D84B72C26C24}"/>
              </a:ext>
            </a:extLst>
          </p:cNvPr>
          <p:cNvSpPr>
            <a:spLocks noGrp="1"/>
          </p:cNvSpPr>
          <p:nvPr>
            <p:ph type="title"/>
          </p:nvPr>
        </p:nvSpPr>
        <p:spPr>
          <a:xfrm>
            <a:off x="1747318" y="365125"/>
            <a:ext cx="9606481" cy="1325563"/>
          </a:xfrm>
        </p:spPr>
        <p:txBody>
          <a:bodyPr>
            <a:normAutofit/>
          </a:bodyPr>
          <a:lstStyle/>
          <a:p>
            <a:r>
              <a:rPr lang="en-US" sz="4000" b="1" dirty="0">
                <a:solidFill>
                  <a:schemeClr val="tx1"/>
                </a:solidFill>
              </a:rPr>
              <a:t>microServiceBus.com - Device Management </a:t>
            </a:r>
          </a:p>
        </p:txBody>
      </p:sp>
      <p:sp>
        <p:nvSpPr>
          <p:cNvPr id="6" name="Oval 5">
            <a:extLst>
              <a:ext uri="{FF2B5EF4-FFF2-40B4-BE49-F238E27FC236}">
                <a16:creationId xmlns:a16="http://schemas.microsoft.com/office/drawing/2014/main" id="{593847E9-86A3-46AB-A5F2-E10DED6BACD7}"/>
              </a:ext>
            </a:extLst>
          </p:cNvPr>
          <p:cNvSpPr/>
          <p:nvPr/>
        </p:nvSpPr>
        <p:spPr>
          <a:xfrm>
            <a:off x="1262744" y="1729650"/>
            <a:ext cx="1800000" cy="1800000"/>
          </a:xfrm>
          <a:prstGeom prst="ellipse">
            <a:avLst/>
          </a:prstGeom>
          <a:noFill/>
          <a:ln w="38100">
            <a:solidFill>
              <a:schemeClr val="tx1"/>
            </a:solidFill>
          </a:ln>
          <a:effectLst>
            <a:glow rad="165100">
              <a:schemeClr val="accent4">
                <a:lumMod val="20000"/>
                <a:lumOff val="80000"/>
                <a:alpha val="5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7" name="Rectangle 6">
            <a:extLst>
              <a:ext uri="{FF2B5EF4-FFF2-40B4-BE49-F238E27FC236}">
                <a16:creationId xmlns:a16="http://schemas.microsoft.com/office/drawing/2014/main" id="{57A7408D-AA02-4FD9-ADF8-C89216ABEADC}"/>
              </a:ext>
            </a:extLst>
          </p:cNvPr>
          <p:cNvSpPr/>
          <p:nvPr/>
        </p:nvSpPr>
        <p:spPr>
          <a:xfrm>
            <a:off x="1354778" y="2444984"/>
            <a:ext cx="1615931" cy="369332"/>
          </a:xfrm>
          <a:prstGeom prst="rect">
            <a:avLst/>
          </a:prstGeom>
        </p:spPr>
        <p:txBody>
          <a:bodyPr wrap="square">
            <a:spAutoFit/>
          </a:bodyPr>
          <a:lstStyle/>
          <a:p>
            <a:pPr algn="ctr"/>
            <a:r>
              <a:rPr lang="en-US" dirty="0"/>
              <a:t>On-boarding</a:t>
            </a:r>
          </a:p>
        </p:txBody>
      </p:sp>
      <p:sp>
        <p:nvSpPr>
          <p:cNvPr id="9" name="Oval 8">
            <a:extLst>
              <a:ext uri="{FF2B5EF4-FFF2-40B4-BE49-F238E27FC236}">
                <a16:creationId xmlns:a16="http://schemas.microsoft.com/office/drawing/2014/main" id="{7E8C13B3-596C-4C15-AC18-0D75FB1FB361}"/>
              </a:ext>
            </a:extLst>
          </p:cNvPr>
          <p:cNvSpPr/>
          <p:nvPr/>
        </p:nvSpPr>
        <p:spPr>
          <a:xfrm>
            <a:off x="3727270" y="1766882"/>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0" name="Rectangle 9">
            <a:extLst>
              <a:ext uri="{FF2B5EF4-FFF2-40B4-BE49-F238E27FC236}">
                <a16:creationId xmlns:a16="http://schemas.microsoft.com/office/drawing/2014/main" id="{399721C5-1B27-4F6B-89E8-5055C1C8BFEB}"/>
              </a:ext>
            </a:extLst>
          </p:cNvPr>
          <p:cNvSpPr/>
          <p:nvPr/>
        </p:nvSpPr>
        <p:spPr>
          <a:xfrm>
            <a:off x="3846156" y="2335008"/>
            <a:ext cx="1539847" cy="646331"/>
          </a:xfrm>
          <a:prstGeom prst="rect">
            <a:avLst/>
          </a:prstGeom>
        </p:spPr>
        <p:txBody>
          <a:bodyPr wrap="square">
            <a:spAutoFit/>
          </a:bodyPr>
          <a:lstStyle/>
          <a:p>
            <a:pPr algn="ctr"/>
            <a:r>
              <a:rPr lang="en-US" dirty="0"/>
              <a:t>Updates and patching</a:t>
            </a:r>
          </a:p>
        </p:txBody>
      </p:sp>
      <p:sp>
        <p:nvSpPr>
          <p:cNvPr id="11" name="TextBox 10">
            <a:extLst>
              <a:ext uri="{FF2B5EF4-FFF2-40B4-BE49-F238E27FC236}">
                <a16:creationId xmlns:a16="http://schemas.microsoft.com/office/drawing/2014/main" id="{9FEE3FF5-C2F3-4916-BB62-9AC77484084B}"/>
              </a:ext>
            </a:extLst>
          </p:cNvPr>
          <p:cNvSpPr txBox="1"/>
          <p:nvPr/>
        </p:nvSpPr>
        <p:spPr>
          <a:xfrm>
            <a:off x="2043979" y="4276884"/>
            <a:ext cx="7915193" cy="2215991"/>
          </a:xfrm>
          <a:prstGeom prst="rect">
            <a:avLst/>
          </a:prstGeom>
          <a:noFill/>
        </p:spPr>
        <p:txBody>
          <a:bodyPr wrap="square" rtlCol="0">
            <a:spAutoFit/>
          </a:bodyPr>
          <a:lstStyle/>
          <a:p>
            <a:r>
              <a:rPr lang="en-US" dirty="0"/>
              <a:t>On-boarding new devices is difficult at scale. Gateways needs to </a:t>
            </a:r>
            <a:r>
              <a:rPr lang="en-US" dirty="0">
                <a:solidFill>
                  <a:srgbClr val="FFFF00"/>
                </a:solidFill>
              </a:rPr>
              <a:t>automatically get assigned a cloud identity</a:t>
            </a:r>
            <a:r>
              <a:rPr lang="en-US" dirty="0"/>
              <a:t>, receive keys and certificates. -All in a highly secure manner.</a:t>
            </a:r>
          </a:p>
          <a:p>
            <a:endParaRPr lang="en-US" dirty="0"/>
          </a:p>
          <a:p>
            <a:r>
              <a:rPr lang="en-US" dirty="0"/>
              <a:t>microServiceBus.com provide a scalable, cross cloud vendor solution based either on integration with SIM card management tools like Cisco Jasper or MAC address white-listening.    </a:t>
            </a:r>
          </a:p>
          <a:p>
            <a:endParaRPr lang="en-US" sz="1200" dirty="0"/>
          </a:p>
        </p:txBody>
      </p:sp>
      <p:cxnSp>
        <p:nvCxnSpPr>
          <p:cNvPr id="12" name="Connector: Elbow 11">
            <a:extLst>
              <a:ext uri="{FF2B5EF4-FFF2-40B4-BE49-F238E27FC236}">
                <a16:creationId xmlns:a16="http://schemas.microsoft.com/office/drawing/2014/main" id="{D159C078-56BD-4929-9542-53FACECED7AD}"/>
              </a:ext>
            </a:extLst>
          </p:cNvPr>
          <p:cNvCxnSpPr>
            <a:stCxn id="6" idx="4"/>
            <a:endCxn id="11" idx="0"/>
          </p:cNvCxnSpPr>
          <p:nvPr/>
        </p:nvCxnSpPr>
        <p:spPr>
          <a:xfrm rot="16200000" flipH="1">
            <a:off x="3708543" y="1983851"/>
            <a:ext cx="747234" cy="3838832"/>
          </a:xfrm>
          <a:prstGeom prst="bentConnector3">
            <a:avLst/>
          </a:prstGeom>
          <a:ln w="38100">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18BF529D-3CFF-40EA-ADDE-E91117B0519A}"/>
              </a:ext>
            </a:extLst>
          </p:cNvPr>
          <p:cNvSpPr/>
          <p:nvPr/>
        </p:nvSpPr>
        <p:spPr>
          <a:xfrm>
            <a:off x="6191796"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5" name="Rectangle 14">
            <a:extLst>
              <a:ext uri="{FF2B5EF4-FFF2-40B4-BE49-F238E27FC236}">
                <a16:creationId xmlns:a16="http://schemas.microsoft.com/office/drawing/2014/main" id="{184F7D31-8D85-4E01-A0A9-6256DAD7E251}"/>
              </a:ext>
            </a:extLst>
          </p:cNvPr>
          <p:cNvSpPr/>
          <p:nvPr/>
        </p:nvSpPr>
        <p:spPr>
          <a:xfrm>
            <a:off x="6230806" y="2335008"/>
            <a:ext cx="1721979" cy="646331"/>
          </a:xfrm>
          <a:prstGeom prst="rect">
            <a:avLst/>
          </a:prstGeom>
        </p:spPr>
        <p:txBody>
          <a:bodyPr wrap="square">
            <a:spAutoFit/>
          </a:bodyPr>
          <a:lstStyle/>
          <a:p>
            <a:pPr algn="ctr"/>
            <a:r>
              <a:rPr lang="en-US" dirty="0"/>
              <a:t>Source code management</a:t>
            </a:r>
          </a:p>
        </p:txBody>
      </p:sp>
      <p:sp>
        <p:nvSpPr>
          <p:cNvPr id="17" name="Oval 16">
            <a:extLst>
              <a:ext uri="{FF2B5EF4-FFF2-40B4-BE49-F238E27FC236}">
                <a16:creationId xmlns:a16="http://schemas.microsoft.com/office/drawing/2014/main" id="{4018FDFC-D2B2-4713-957B-9521347048DB}"/>
              </a:ext>
            </a:extLst>
          </p:cNvPr>
          <p:cNvSpPr/>
          <p:nvPr/>
        </p:nvSpPr>
        <p:spPr>
          <a:xfrm>
            <a:off x="8656322"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8" name="Rectangle 17">
            <a:extLst>
              <a:ext uri="{FF2B5EF4-FFF2-40B4-BE49-F238E27FC236}">
                <a16:creationId xmlns:a16="http://schemas.microsoft.com/office/drawing/2014/main" id="{A0C724AB-B2E3-40FC-BF51-5AE10101C85C}"/>
              </a:ext>
            </a:extLst>
          </p:cNvPr>
          <p:cNvSpPr/>
          <p:nvPr/>
        </p:nvSpPr>
        <p:spPr>
          <a:xfrm>
            <a:off x="8656322" y="2335008"/>
            <a:ext cx="1811047" cy="646331"/>
          </a:xfrm>
          <a:prstGeom prst="rect">
            <a:avLst/>
          </a:prstGeom>
        </p:spPr>
        <p:txBody>
          <a:bodyPr wrap="square">
            <a:spAutoFit/>
          </a:bodyPr>
          <a:lstStyle/>
          <a:p>
            <a:pPr algn="ctr"/>
            <a:r>
              <a:rPr lang="en-US" dirty="0"/>
              <a:t>Find and resolve issues</a:t>
            </a:r>
          </a:p>
        </p:txBody>
      </p:sp>
      <p:pic>
        <p:nvPicPr>
          <p:cNvPr id="19" name="Picture 18">
            <a:extLst>
              <a:ext uri="{FF2B5EF4-FFF2-40B4-BE49-F238E27FC236}">
                <a16:creationId xmlns:a16="http://schemas.microsoft.com/office/drawing/2014/main" id="{120F9D7B-FD12-4405-AB82-D491383748D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1405" y="365125"/>
            <a:ext cx="879667" cy="721991"/>
          </a:xfrm>
          <a:prstGeom prst="rect">
            <a:avLst/>
          </a:prstGeom>
        </p:spPr>
      </p:pic>
    </p:spTree>
    <p:extLst>
      <p:ext uri="{BB962C8B-B14F-4D97-AF65-F5344CB8AC3E}">
        <p14:creationId xmlns:p14="http://schemas.microsoft.com/office/powerpoint/2010/main" val="30296382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up)">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xit" presetSubtype="0" fill="hold" grpId="1" nodeType="clickEffect">
                                  <p:stCondLst>
                                    <p:cond delay="0"/>
                                  </p:stCondLst>
                                  <p:childTnLst>
                                    <p:animEffect transition="out" filter="fade">
                                      <p:cBhvr>
                                        <p:cTn id="15" dur="500"/>
                                        <p:tgtEl>
                                          <p:spTgt spid="11"/>
                                        </p:tgtEl>
                                      </p:cBhvr>
                                    </p:animEffect>
                                    <p:set>
                                      <p:cBhvr>
                                        <p:cTn id="16" dur="1" fill="hold">
                                          <p:stCondLst>
                                            <p:cond delay="499"/>
                                          </p:stCondLst>
                                        </p:cTn>
                                        <p:tgtEl>
                                          <p:spTgt spid="11"/>
                                        </p:tgtEl>
                                        <p:attrNameLst>
                                          <p:attrName>style.visibility</p:attrName>
                                        </p:attrNameLst>
                                      </p:cBhvr>
                                      <p:to>
                                        <p:strVal val="hidden"/>
                                      </p:to>
                                    </p:set>
                                  </p:childTnLst>
                                </p:cTn>
                              </p:par>
                            </p:childTnLst>
                          </p:cTn>
                        </p:par>
                        <p:par>
                          <p:cTn id="17" fill="hold">
                            <p:stCondLst>
                              <p:cond delay="500"/>
                            </p:stCondLst>
                            <p:childTnLst>
                              <p:par>
                                <p:cTn id="18" presetID="22" presetClass="exit" presetSubtype="4" fill="hold" nodeType="afterEffect">
                                  <p:stCondLst>
                                    <p:cond delay="0"/>
                                  </p:stCondLst>
                                  <p:childTnLst>
                                    <p:animEffect transition="out" filter="wipe(down)">
                                      <p:cBhvr>
                                        <p:cTn id="19" dur="250"/>
                                        <p:tgtEl>
                                          <p:spTgt spid="12"/>
                                        </p:tgtEl>
                                      </p:cBhvr>
                                    </p:animEffect>
                                    <p:set>
                                      <p:cBhvr>
                                        <p:cTn id="20" dur="1" fill="hold">
                                          <p:stCondLst>
                                            <p:cond delay="24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B83CD8-EB1D-459B-9151-D84B72C26C24}"/>
              </a:ext>
            </a:extLst>
          </p:cNvPr>
          <p:cNvSpPr>
            <a:spLocks noGrp="1"/>
          </p:cNvSpPr>
          <p:nvPr>
            <p:ph type="title"/>
          </p:nvPr>
        </p:nvSpPr>
        <p:spPr>
          <a:xfrm>
            <a:off x="1747318" y="365125"/>
            <a:ext cx="9606481" cy="1325563"/>
          </a:xfrm>
        </p:spPr>
        <p:txBody>
          <a:bodyPr>
            <a:normAutofit/>
          </a:bodyPr>
          <a:lstStyle/>
          <a:p>
            <a:r>
              <a:rPr lang="en-US" sz="4000" b="1" dirty="0">
                <a:solidFill>
                  <a:schemeClr val="tx1"/>
                </a:solidFill>
              </a:rPr>
              <a:t>microServiceBus.com - Device Management </a:t>
            </a:r>
          </a:p>
        </p:txBody>
      </p:sp>
      <p:sp>
        <p:nvSpPr>
          <p:cNvPr id="6" name="Oval 5">
            <a:extLst>
              <a:ext uri="{FF2B5EF4-FFF2-40B4-BE49-F238E27FC236}">
                <a16:creationId xmlns:a16="http://schemas.microsoft.com/office/drawing/2014/main" id="{593847E9-86A3-46AB-A5F2-E10DED6BACD7}"/>
              </a:ext>
            </a:extLst>
          </p:cNvPr>
          <p:cNvSpPr/>
          <p:nvPr/>
        </p:nvSpPr>
        <p:spPr>
          <a:xfrm>
            <a:off x="1262744"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7" name="Rectangle 6">
            <a:extLst>
              <a:ext uri="{FF2B5EF4-FFF2-40B4-BE49-F238E27FC236}">
                <a16:creationId xmlns:a16="http://schemas.microsoft.com/office/drawing/2014/main" id="{57A7408D-AA02-4FD9-ADF8-C89216ABEADC}"/>
              </a:ext>
            </a:extLst>
          </p:cNvPr>
          <p:cNvSpPr/>
          <p:nvPr/>
        </p:nvSpPr>
        <p:spPr>
          <a:xfrm>
            <a:off x="1354778" y="2444984"/>
            <a:ext cx="1615931" cy="369332"/>
          </a:xfrm>
          <a:prstGeom prst="rect">
            <a:avLst/>
          </a:prstGeom>
        </p:spPr>
        <p:txBody>
          <a:bodyPr wrap="square">
            <a:spAutoFit/>
          </a:bodyPr>
          <a:lstStyle/>
          <a:p>
            <a:pPr algn="ctr"/>
            <a:r>
              <a:rPr lang="en-US" dirty="0"/>
              <a:t>On-boarding</a:t>
            </a:r>
          </a:p>
        </p:txBody>
      </p:sp>
      <p:sp>
        <p:nvSpPr>
          <p:cNvPr id="9" name="Oval 8">
            <a:extLst>
              <a:ext uri="{FF2B5EF4-FFF2-40B4-BE49-F238E27FC236}">
                <a16:creationId xmlns:a16="http://schemas.microsoft.com/office/drawing/2014/main" id="{7E8C13B3-596C-4C15-AC18-0D75FB1FB361}"/>
              </a:ext>
            </a:extLst>
          </p:cNvPr>
          <p:cNvSpPr/>
          <p:nvPr/>
        </p:nvSpPr>
        <p:spPr>
          <a:xfrm>
            <a:off x="3727270" y="1766882"/>
            <a:ext cx="1800000" cy="1800000"/>
          </a:xfrm>
          <a:prstGeom prst="ellipse">
            <a:avLst/>
          </a:prstGeom>
          <a:noFill/>
          <a:ln w="38100">
            <a:solidFill>
              <a:schemeClr val="tx1"/>
            </a:solidFill>
          </a:ln>
          <a:effectLst>
            <a:glow rad="165100">
              <a:schemeClr val="accent4">
                <a:lumMod val="20000"/>
                <a:lumOff val="80000"/>
                <a:alpha val="5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0" name="Rectangle 9">
            <a:extLst>
              <a:ext uri="{FF2B5EF4-FFF2-40B4-BE49-F238E27FC236}">
                <a16:creationId xmlns:a16="http://schemas.microsoft.com/office/drawing/2014/main" id="{399721C5-1B27-4F6B-89E8-5055C1C8BFEB}"/>
              </a:ext>
            </a:extLst>
          </p:cNvPr>
          <p:cNvSpPr/>
          <p:nvPr/>
        </p:nvSpPr>
        <p:spPr>
          <a:xfrm>
            <a:off x="3846156" y="2335008"/>
            <a:ext cx="1539847" cy="646331"/>
          </a:xfrm>
          <a:prstGeom prst="rect">
            <a:avLst/>
          </a:prstGeom>
        </p:spPr>
        <p:txBody>
          <a:bodyPr wrap="square">
            <a:spAutoFit/>
          </a:bodyPr>
          <a:lstStyle/>
          <a:p>
            <a:pPr algn="ctr"/>
            <a:r>
              <a:rPr lang="en-US" dirty="0"/>
              <a:t>Updates and patching</a:t>
            </a:r>
          </a:p>
        </p:txBody>
      </p:sp>
      <p:sp>
        <p:nvSpPr>
          <p:cNvPr id="11" name="TextBox 10">
            <a:extLst>
              <a:ext uri="{FF2B5EF4-FFF2-40B4-BE49-F238E27FC236}">
                <a16:creationId xmlns:a16="http://schemas.microsoft.com/office/drawing/2014/main" id="{9FEE3FF5-C2F3-4916-BB62-9AC77484084B}"/>
              </a:ext>
            </a:extLst>
          </p:cNvPr>
          <p:cNvSpPr txBox="1"/>
          <p:nvPr/>
        </p:nvSpPr>
        <p:spPr>
          <a:xfrm>
            <a:off x="2043979" y="4276884"/>
            <a:ext cx="7915193" cy="2492990"/>
          </a:xfrm>
          <a:prstGeom prst="rect">
            <a:avLst/>
          </a:prstGeom>
          <a:noFill/>
        </p:spPr>
        <p:txBody>
          <a:bodyPr wrap="square" rtlCol="0">
            <a:spAutoFit/>
          </a:bodyPr>
          <a:lstStyle/>
          <a:p>
            <a:r>
              <a:rPr lang="en-US" dirty="0"/>
              <a:t>No part of any system will </a:t>
            </a:r>
            <a:r>
              <a:rPr lang="en-US" dirty="0">
                <a:solidFill>
                  <a:srgbClr val="FFFF00"/>
                </a:solidFill>
              </a:rPr>
              <a:t>stand the test of time</a:t>
            </a:r>
            <a:r>
              <a:rPr lang="en-US" dirty="0"/>
              <a:t>. Software is constantly updated to align with security threats or new required features.</a:t>
            </a:r>
          </a:p>
          <a:p>
            <a:endParaRPr lang="en-US" dirty="0"/>
          </a:p>
          <a:p>
            <a:r>
              <a:rPr lang="en-US" dirty="0"/>
              <a:t>Update and patching are easily handled through microServiceBus.com, either through replacing entire firmware or individual services. Updates can be done manually or through scheduled tasks, for single, all or groups of devices.</a:t>
            </a:r>
          </a:p>
          <a:p>
            <a:endParaRPr lang="en-US" dirty="0"/>
          </a:p>
          <a:p>
            <a:r>
              <a:rPr lang="en-US" dirty="0"/>
              <a:t>Easy deployments to IoT devices makes ways for Agile development!</a:t>
            </a:r>
          </a:p>
          <a:p>
            <a:endParaRPr lang="en-US" sz="1200" dirty="0"/>
          </a:p>
        </p:txBody>
      </p:sp>
      <p:cxnSp>
        <p:nvCxnSpPr>
          <p:cNvPr id="12" name="Connector: Elbow 11">
            <a:extLst>
              <a:ext uri="{FF2B5EF4-FFF2-40B4-BE49-F238E27FC236}">
                <a16:creationId xmlns:a16="http://schemas.microsoft.com/office/drawing/2014/main" id="{D159C078-56BD-4929-9542-53FACECED7AD}"/>
              </a:ext>
            </a:extLst>
          </p:cNvPr>
          <p:cNvCxnSpPr>
            <a:cxnSpLocks/>
            <a:stCxn id="9" idx="4"/>
            <a:endCxn id="11" idx="0"/>
          </p:cNvCxnSpPr>
          <p:nvPr/>
        </p:nvCxnSpPr>
        <p:spPr>
          <a:xfrm rot="16200000" flipH="1">
            <a:off x="4959422" y="3234730"/>
            <a:ext cx="710002" cy="1374306"/>
          </a:xfrm>
          <a:prstGeom prst="bentConnector3">
            <a:avLst/>
          </a:prstGeom>
          <a:ln w="38100">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18BF529D-3CFF-40EA-ADDE-E91117B0519A}"/>
              </a:ext>
            </a:extLst>
          </p:cNvPr>
          <p:cNvSpPr/>
          <p:nvPr/>
        </p:nvSpPr>
        <p:spPr>
          <a:xfrm>
            <a:off x="6191796"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5" name="Rectangle 14">
            <a:extLst>
              <a:ext uri="{FF2B5EF4-FFF2-40B4-BE49-F238E27FC236}">
                <a16:creationId xmlns:a16="http://schemas.microsoft.com/office/drawing/2014/main" id="{184F7D31-8D85-4E01-A0A9-6256DAD7E251}"/>
              </a:ext>
            </a:extLst>
          </p:cNvPr>
          <p:cNvSpPr/>
          <p:nvPr/>
        </p:nvSpPr>
        <p:spPr>
          <a:xfrm>
            <a:off x="6230806" y="2335008"/>
            <a:ext cx="1721979" cy="646331"/>
          </a:xfrm>
          <a:prstGeom prst="rect">
            <a:avLst/>
          </a:prstGeom>
        </p:spPr>
        <p:txBody>
          <a:bodyPr wrap="square">
            <a:spAutoFit/>
          </a:bodyPr>
          <a:lstStyle/>
          <a:p>
            <a:pPr algn="ctr"/>
            <a:r>
              <a:rPr lang="en-US" dirty="0"/>
              <a:t>Source code management</a:t>
            </a:r>
          </a:p>
        </p:txBody>
      </p:sp>
      <p:sp>
        <p:nvSpPr>
          <p:cNvPr id="17" name="Oval 16">
            <a:extLst>
              <a:ext uri="{FF2B5EF4-FFF2-40B4-BE49-F238E27FC236}">
                <a16:creationId xmlns:a16="http://schemas.microsoft.com/office/drawing/2014/main" id="{4018FDFC-D2B2-4713-957B-9521347048DB}"/>
              </a:ext>
            </a:extLst>
          </p:cNvPr>
          <p:cNvSpPr/>
          <p:nvPr/>
        </p:nvSpPr>
        <p:spPr>
          <a:xfrm>
            <a:off x="8656322"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8" name="Rectangle 17">
            <a:extLst>
              <a:ext uri="{FF2B5EF4-FFF2-40B4-BE49-F238E27FC236}">
                <a16:creationId xmlns:a16="http://schemas.microsoft.com/office/drawing/2014/main" id="{A0C724AB-B2E3-40FC-BF51-5AE10101C85C}"/>
              </a:ext>
            </a:extLst>
          </p:cNvPr>
          <p:cNvSpPr/>
          <p:nvPr/>
        </p:nvSpPr>
        <p:spPr>
          <a:xfrm>
            <a:off x="8656322" y="2335008"/>
            <a:ext cx="1811047" cy="646331"/>
          </a:xfrm>
          <a:prstGeom prst="rect">
            <a:avLst/>
          </a:prstGeom>
        </p:spPr>
        <p:txBody>
          <a:bodyPr wrap="square">
            <a:spAutoFit/>
          </a:bodyPr>
          <a:lstStyle/>
          <a:p>
            <a:pPr algn="ctr"/>
            <a:r>
              <a:rPr lang="en-US" dirty="0"/>
              <a:t>Find and resolve issues</a:t>
            </a:r>
          </a:p>
        </p:txBody>
      </p:sp>
      <p:pic>
        <p:nvPicPr>
          <p:cNvPr id="16" name="Picture 15">
            <a:extLst>
              <a:ext uri="{FF2B5EF4-FFF2-40B4-BE49-F238E27FC236}">
                <a16:creationId xmlns:a16="http://schemas.microsoft.com/office/drawing/2014/main" id="{E8D7C20C-A2ED-40B1-92BD-0E4BABB0695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1405" y="365125"/>
            <a:ext cx="879667" cy="721991"/>
          </a:xfrm>
          <a:prstGeom prst="rect">
            <a:avLst/>
          </a:prstGeom>
        </p:spPr>
      </p:pic>
    </p:spTree>
    <p:extLst>
      <p:ext uri="{BB962C8B-B14F-4D97-AF65-F5344CB8AC3E}">
        <p14:creationId xmlns:p14="http://schemas.microsoft.com/office/powerpoint/2010/main" val="18496945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up)">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xit" presetSubtype="0" fill="hold" grpId="1" nodeType="clickEffect">
                                  <p:stCondLst>
                                    <p:cond delay="0"/>
                                  </p:stCondLst>
                                  <p:childTnLst>
                                    <p:animEffect transition="out" filter="fade">
                                      <p:cBhvr>
                                        <p:cTn id="15" dur="500"/>
                                        <p:tgtEl>
                                          <p:spTgt spid="11"/>
                                        </p:tgtEl>
                                      </p:cBhvr>
                                    </p:animEffect>
                                    <p:set>
                                      <p:cBhvr>
                                        <p:cTn id="16" dur="1" fill="hold">
                                          <p:stCondLst>
                                            <p:cond delay="499"/>
                                          </p:stCondLst>
                                        </p:cTn>
                                        <p:tgtEl>
                                          <p:spTgt spid="11"/>
                                        </p:tgtEl>
                                        <p:attrNameLst>
                                          <p:attrName>style.visibility</p:attrName>
                                        </p:attrNameLst>
                                      </p:cBhvr>
                                      <p:to>
                                        <p:strVal val="hidden"/>
                                      </p:to>
                                    </p:set>
                                  </p:childTnLst>
                                </p:cTn>
                              </p:par>
                            </p:childTnLst>
                          </p:cTn>
                        </p:par>
                        <p:par>
                          <p:cTn id="17" fill="hold">
                            <p:stCondLst>
                              <p:cond delay="500"/>
                            </p:stCondLst>
                            <p:childTnLst>
                              <p:par>
                                <p:cTn id="18" presetID="22" presetClass="exit" presetSubtype="4" fill="hold" nodeType="afterEffect">
                                  <p:stCondLst>
                                    <p:cond delay="0"/>
                                  </p:stCondLst>
                                  <p:childTnLst>
                                    <p:animEffect transition="out" filter="wipe(down)">
                                      <p:cBhvr>
                                        <p:cTn id="19" dur="250"/>
                                        <p:tgtEl>
                                          <p:spTgt spid="12"/>
                                        </p:tgtEl>
                                      </p:cBhvr>
                                    </p:animEffect>
                                    <p:set>
                                      <p:cBhvr>
                                        <p:cTn id="20" dur="1" fill="hold">
                                          <p:stCondLst>
                                            <p:cond delay="24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B83CD8-EB1D-459B-9151-D84B72C26C24}"/>
              </a:ext>
            </a:extLst>
          </p:cNvPr>
          <p:cNvSpPr>
            <a:spLocks noGrp="1"/>
          </p:cNvSpPr>
          <p:nvPr>
            <p:ph type="title"/>
          </p:nvPr>
        </p:nvSpPr>
        <p:spPr>
          <a:xfrm>
            <a:off x="1747318" y="365125"/>
            <a:ext cx="9606481" cy="1325563"/>
          </a:xfrm>
        </p:spPr>
        <p:txBody>
          <a:bodyPr>
            <a:normAutofit/>
          </a:bodyPr>
          <a:lstStyle/>
          <a:p>
            <a:r>
              <a:rPr lang="en-US" sz="4000" b="1" dirty="0">
                <a:solidFill>
                  <a:schemeClr val="tx1"/>
                </a:solidFill>
              </a:rPr>
              <a:t>microServiceBus.com - Device Management </a:t>
            </a:r>
          </a:p>
        </p:txBody>
      </p:sp>
      <p:sp>
        <p:nvSpPr>
          <p:cNvPr id="6" name="Oval 5">
            <a:extLst>
              <a:ext uri="{FF2B5EF4-FFF2-40B4-BE49-F238E27FC236}">
                <a16:creationId xmlns:a16="http://schemas.microsoft.com/office/drawing/2014/main" id="{593847E9-86A3-46AB-A5F2-E10DED6BACD7}"/>
              </a:ext>
            </a:extLst>
          </p:cNvPr>
          <p:cNvSpPr/>
          <p:nvPr/>
        </p:nvSpPr>
        <p:spPr>
          <a:xfrm>
            <a:off x="1262744"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7" name="Rectangle 6">
            <a:extLst>
              <a:ext uri="{FF2B5EF4-FFF2-40B4-BE49-F238E27FC236}">
                <a16:creationId xmlns:a16="http://schemas.microsoft.com/office/drawing/2014/main" id="{57A7408D-AA02-4FD9-ADF8-C89216ABEADC}"/>
              </a:ext>
            </a:extLst>
          </p:cNvPr>
          <p:cNvSpPr/>
          <p:nvPr/>
        </p:nvSpPr>
        <p:spPr>
          <a:xfrm>
            <a:off x="1354778" y="2444984"/>
            <a:ext cx="1615931" cy="369332"/>
          </a:xfrm>
          <a:prstGeom prst="rect">
            <a:avLst/>
          </a:prstGeom>
        </p:spPr>
        <p:txBody>
          <a:bodyPr wrap="square">
            <a:spAutoFit/>
          </a:bodyPr>
          <a:lstStyle/>
          <a:p>
            <a:pPr algn="ctr"/>
            <a:r>
              <a:rPr lang="en-US" dirty="0"/>
              <a:t>On-boarding</a:t>
            </a:r>
          </a:p>
        </p:txBody>
      </p:sp>
      <p:sp>
        <p:nvSpPr>
          <p:cNvPr id="9" name="Oval 8">
            <a:extLst>
              <a:ext uri="{FF2B5EF4-FFF2-40B4-BE49-F238E27FC236}">
                <a16:creationId xmlns:a16="http://schemas.microsoft.com/office/drawing/2014/main" id="{7E8C13B3-596C-4C15-AC18-0D75FB1FB361}"/>
              </a:ext>
            </a:extLst>
          </p:cNvPr>
          <p:cNvSpPr/>
          <p:nvPr/>
        </p:nvSpPr>
        <p:spPr>
          <a:xfrm>
            <a:off x="3727270" y="1766882"/>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0" name="Rectangle 9">
            <a:extLst>
              <a:ext uri="{FF2B5EF4-FFF2-40B4-BE49-F238E27FC236}">
                <a16:creationId xmlns:a16="http://schemas.microsoft.com/office/drawing/2014/main" id="{399721C5-1B27-4F6B-89E8-5055C1C8BFEB}"/>
              </a:ext>
            </a:extLst>
          </p:cNvPr>
          <p:cNvSpPr/>
          <p:nvPr/>
        </p:nvSpPr>
        <p:spPr>
          <a:xfrm>
            <a:off x="3846156" y="2335008"/>
            <a:ext cx="1539847" cy="646331"/>
          </a:xfrm>
          <a:prstGeom prst="rect">
            <a:avLst/>
          </a:prstGeom>
        </p:spPr>
        <p:txBody>
          <a:bodyPr wrap="square">
            <a:spAutoFit/>
          </a:bodyPr>
          <a:lstStyle/>
          <a:p>
            <a:pPr algn="ctr"/>
            <a:r>
              <a:rPr lang="en-US" dirty="0"/>
              <a:t>Updates and patching</a:t>
            </a:r>
          </a:p>
        </p:txBody>
      </p:sp>
      <p:sp>
        <p:nvSpPr>
          <p:cNvPr id="11" name="TextBox 10">
            <a:extLst>
              <a:ext uri="{FF2B5EF4-FFF2-40B4-BE49-F238E27FC236}">
                <a16:creationId xmlns:a16="http://schemas.microsoft.com/office/drawing/2014/main" id="{9FEE3FF5-C2F3-4916-BB62-9AC77484084B}"/>
              </a:ext>
            </a:extLst>
          </p:cNvPr>
          <p:cNvSpPr txBox="1"/>
          <p:nvPr/>
        </p:nvSpPr>
        <p:spPr>
          <a:xfrm>
            <a:off x="2043979" y="4276884"/>
            <a:ext cx="7915193" cy="2031325"/>
          </a:xfrm>
          <a:prstGeom prst="rect">
            <a:avLst/>
          </a:prstGeom>
          <a:noFill/>
        </p:spPr>
        <p:txBody>
          <a:bodyPr wrap="square" rtlCol="0">
            <a:spAutoFit/>
          </a:bodyPr>
          <a:lstStyle/>
          <a:p>
            <a:r>
              <a:rPr lang="en-US" dirty="0"/>
              <a:t>Source code and services are not only deployed to devices, but needs to be audited and versioned to ensure the end-to-end business process.</a:t>
            </a:r>
          </a:p>
          <a:p>
            <a:endParaRPr lang="en-US" dirty="0"/>
          </a:p>
          <a:p>
            <a:r>
              <a:rPr lang="en-US" dirty="0"/>
              <a:t>With complete insight and traceability, code can be fully managed and versioned within the microServiceBus.com portal. However, we also integrate with Git repositories such as </a:t>
            </a:r>
            <a:r>
              <a:rPr lang="en-US" dirty="0">
                <a:solidFill>
                  <a:srgbClr val="FFFF00"/>
                </a:solidFill>
              </a:rPr>
              <a:t>GitHub and Azure DevOps</a:t>
            </a:r>
            <a:r>
              <a:rPr lang="en-US" dirty="0"/>
              <a:t>.</a:t>
            </a:r>
          </a:p>
          <a:p>
            <a:endParaRPr lang="en-US" dirty="0"/>
          </a:p>
        </p:txBody>
      </p:sp>
      <p:cxnSp>
        <p:nvCxnSpPr>
          <p:cNvPr id="12" name="Connector: Elbow 11">
            <a:extLst>
              <a:ext uri="{FF2B5EF4-FFF2-40B4-BE49-F238E27FC236}">
                <a16:creationId xmlns:a16="http://schemas.microsoft.com/office/drawing/2014/main" id="{D159C078-56BD-4929-9542-53FACECED7AD}"/>
              </a:ext>
            </a:extLst>
          </p:cNvPr>
          <p:cNvCxnSpPr>
            <a:cxnSpLocks/>
            <a:stCxn id="14" idx="4"/>
            <a:endCxn id="11" idx="0"/>
          </p:cNvCxnSpPr>
          <p:nvPr/>
        </p:nvCxnSpPr>
        <p:spPr>
          <a:xfrm rot="5400000">
            <a:off x="6173069" y="3358157"/>
            <a:ext cx="747234" cy="1090220"/>
          </a:xfrm>
          <a:prstGeom prst="bentConnector3">
            <a:avLst/>
          </a:prstGeom>
          <a:ln w="38100">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18BF529D-3CFF-40EA-ADDE-E91117B0519A}"/>
              </a:ext>
            </a:extLst>
          </p:cNvPr>
          <p:cNvSpPr/>
          <p:nvPr/>
        </p:nvSpPr>
        <p:spPr>
          <a:xfrm>
            <a:off x="6191796" y="1729650"/>
            <a:ext cx="1800000" cy="1800000"/>
          </a:xfrm>
          <a:prstGeom prst="ellipse">
            <a:avLst/>
          </a:prstGeom>
          <a:noFill/>
          <a:ln w="38100">
            <a:solidFill>
              <a:schemeClr val="tx1"/>
            </a:solidFill>
          </a:ln>
          <a:effectLst>
            <a:glow rad="165100">
              <a:schemeClr val="accent4">
                <a:lumMod val="20000"/>
                <a:lumOff val="80000"/>
                <a:alpha val="5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5" name="Rectangle 14">
            <a:extLst>
              <a:ext uri="{FF2B5EF4-FFF2-40B4-BE49-F238E27FC236}">
                <a16:creationId xmlns:a16="http://schemas.microsoft.com/office/drawing/2014/main" id="{184F7D31-8D85-4E01-A0A9-6256DAD7E251}"/>
              </a:ext>
            </a:extLst>
          </p:cNvPr>
          <p:cNvSpPr/>
          <p:nvPr/>
        </p:nvSpPr>
        <p:spPr>
          <a:xfrm>
            <a:off x="6230806" y="2335008"/>
            <a:ext cx="1721979" cy="646331"/>
          </a:xfrm>
          <a:prstGeom prst="rect">
            <a:avLst/>
          </a:prstGeom>
        </p:spPr>
        <p:txBody>
          <a:bodyPr wrap="square">
            <a:spAutoFit/>
          </a:bodyPr>
          <a:lstStyle/>
          <a:p>
            <a:pPr algn="ctr"/>
            <a:r>
              <a:rPr lang="en-US" dirty="0"/>
              <a:t>Source code management</a:t>
            </a:r>
          </a:p>
        </p:txBody>
      </p:sp>
      <p:sp>
        <p:nvSpPr>
          <p:cNvPr id="17" name="Oval 16">
            <a:extLst>
              <a:ext uri="{FF2B5EF4-FFF2-40B4-BE49-F238E27FC236}">
                <a16:creationId xmlns:a16="http://schemas.microsoft.com/office/drawing/2014/main" id="{4018FDFC-D2B2-4713-957B-9521347048DB}"/>
              </a:ext>
            </a:extLst>
          </p:cNvPr>
          <p:cNvSpPr/>
          <p:nvPr/>
        </p:nvSpPr>
        <p:spPr>
          <a:xfrm>
            <a:off x="8656322"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8" name="Rectangle 17">
            <a:extLst>
              <a:ext uri="{FF2B5EF4-FFF2-40B4-BE49-F238E27FC236}">
                <a16:creationId xmlns:a16="http://schemas.microsoft.com/office/drawing/2014/main" id="{A0C724AB-B2E3-40FC-BF51-5AE10101C85C}"/>
              </a:ext>
            </a:extLst>
          </p:cNvPr>
          <p:cNvSpPr/>
          <p:nvPr/>
        </p:nvSpPr>
        <p:spPr>
          <a:xfrm>
            <a:off x="8656322" y="2335008"/>
            <a:ext cx="1811047" cy="646331"/>
          </a:xfrm>
          <a:prstGeom prst="rect">
            <a:avLst/>
          </a:prstGeom>
        </p:spPr>
        <p:txBody>
          <a:bodyPr wrap="square">
            <a:spAutoFit/>
          </a:bodyPr>
          <a:lstStyle/>
          <a:p>
            <a:pPr algn="ctr"/>
            <a:r>
              <a:rPr lang="en-US" dirty="0"/>
              <a:t>Find and resolve issues</a:t>
            </a:r>
          </a:p>
        </p:txBody>
      </p:sp>
      <p:pic>
        <p:nvPicPr>
          <p:cNvPr id="16" name="Picture 15">
            <a:extLst>
              <a:ext uri="{FF2B5EF4-FFF2-40B4-BE49-F238E27FC236}">
                <a16:creationId xmlns:a16="http://schemas.microsoft.com/office/drawing/2014/main" id="{DBF366A4-7953-423F-9728-F88ADC76433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1405" y="365125"/>
            <a:ext cx="879667" cy="721991"/>
          </a:xfrm>
          <a:prstGeom prst="rect">
            <a:avLst/>
          </a:prstGeom>
        </p:spPr>
      </p:pic>
    </p:spTree>
    <p:extLst>
      <p:ext uri="{BB962C8B-B14F-4D97-AF65-F5344CB8AC3E}">
        <p14:creationId xmlns:p14="http://schemas.microsoft.com/office/powerpoint/2010/main" val="19803947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up)">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xit" presetSubtype="0" fill="hold" grpId="1" nodeType="clickEffect">
                                  <p:stCondLst>
                                    <p:cond delay="0"/>
                                  </p:stCondLst>
                                  <p:childTnLst>
                                    <p:animEffect transition="out" filter="fade">
                                      <p:cBhvr>
                                        <p:cTn id="15" dur="500"/>
                                        <p:tgtEl>
                                          <p:spTgt spid="11"/>
                                        </p:tgtEl>
                                      </p:cBhvr>
                                    </p:animEffect>
                                    <p:set>
                                      <p:cBhvr>
                                        <p:cTn id="16" dur="1" fill="hold">
                                          <p:stCondLst>
                                            <p:cond delay="499"/>
                                          </p:stCondLst>
                                        </p:cTn>
                                        <p:tgtEl>
                                          <p:spTgt spid="11"/>
                                        </p:tgtEl>
                                        <p:attrNameLst>
                                          <p:attrName>style.visibility</p:attrName>
                                        </p:attrNameLst>
                                      </p:cBhvr>
                                      <p:to>
                                        <p:strVal val="hidden"/>
                                      </p:to>
                                    </p:set>
                                  </p:childTnLst>
                                </p:cTn>
                              </p:par>
                            </p:childTnLst>
                          </p:cTn>
                        </p:par>
                        <p:par>
                          <p:cTn id="17" fill="hold">
                            <p:stCondLst>
                              <p:cond delay="500"/>
                            </p:stCondLst>
                            <p:childTnLst>
                              <p:par>
                                <p:cTn id="18" presetID="22" presetClass="exit" presetSubtype="4" fill="hold" nodeType="afterEffect">
                                  <p:stCondLst>
                                    <p:cond delay="0"/>
                                  </p:stCondLst>
                                  <p:childTnLst>
                                    <p:animEffect transition="out" filter="wipe(down)">
                                      <p:cBhvr>
                                        <p:cTn id="19" dur="250"/>
                                        <p:tgtEl>
                                          <p:spTgt spid="12"/>
                                        </p:tgtEl>
                                      </p:cBhvr>
                                    </p:animEffect>
                                    <p:set>
                                      <p:cBhvr>
                                        <p:cTn id="20" dur="1" fill="hold">
                                          <p:stCondLst>
                                            <p:cond delay="24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B83CD8-EB1D-459B-9151-D84B72C26C24}"/>
              </a:ext>
            </a:extLst>
          </p:cNvPr>
          <p:cNvSpPr>
            <a:spLocks noGrp="1"/>
          </p:cNvSpPr>
          <p:nvPr>
            <p:ph type="title"/>
          </p:nvPr>
        </p:nvSpPr>
        <p:spPr>
          <a:xfrm>
            <a:off x="1747318" y="365125"/>
            <a:ext cx="9606481" cy="1325563"/>
          </a:xfrm>
        </p:spPr>
        <p:txBody>
          <a:bodyPr>
            <a:normAutofit/>
          </a:bodyPr>
          <a:lstStyle/>
          <a:p>
            <a:r>
              <a:rPr lang="en-US" sz="4000" b="1" dirty="0">
                <a:solidFill>
                  <a:schemeClr val="tx1"/>
                </a:solidFill>
              </a:rPr>
              <a:t>microServiceBus.com - Device Management </a:t>
            </a:r>
          </a:p>
        </p:txBody>
      </p:sp>
      <p:sp>
        <p:nvSpPr>
          <p:cNvPr id="6" name="Oval 5">
            <a:extLst>
              <a:ext uri="{FF2B5EF4-FFF2-40B4-BE49-F238E27FC236}">
                <a16:creationId xmlns:a16="http://schemas.microsoft.com/office/drawing/2014/main" id="{593847E9-86A3-46AB-A5F2-E10DED6BACD7}"/>
              </a:ext>
            </a:extLst>
          </p:cNvPr>
          <p:cNvSpPr/>
          <p:nvPr/>
        </p:nvSpPr>
        <p:spPr>
          <a:xfrm>
            <a:off x="1262744"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7" name="Rectangle 6">
            <a:extLst>
              <a:ext uri="{FF2B5EF4-FFF2-40B4-BE49-F238E27FC236}">
                <a16:creationId xmlns:a16="http://schemas.microsoft.com/office/drawing/2014/main" id="{57A7408D-AA02-4FD9-ADF8-C89216ABEADC}"/>
              </a:ext>
            </a:extLst>
          </p:cNvPr>
          <p:cNvSpPr/>
          <p:nvPr/>
        </p:nvSpPr>
        <p:spPr>
          <a:xfrm>
            <a:off x="1354778" y="2444984"/>
            <a:ext cx="1615931" cy="369332"/>
          </a:xfrm>
          <a:prstGeom prst="rect">
            <a:avLst/>
          </a:prstGeom>
        </p:spPr>
        <p:txBody>
          <a:bodyPr wrap="square">
            <a:spAutoFit/>
          </a:bodyPr>
          <a:lstStyle/>
          <a:p>
            <a:pPr algn="ctr"/>
            <a:r>
              <a:rPr lang="en-US" dirty="0"/>
              <a:t>On-boarding</a:t>
            </a:r>
          </a:p>
        </p:txBody>
      </p:sp>
      <p:sp>
        <p:nvSpPr>
          <p:cNvPr id="9" name="Oval 8">
            <a:extLst>
              <a:ext uri="{FF2B5EF4-FFF2-40B4-BE49-F238E27FC236}">
                <a16:creationId xmlns:a16="http://schemas.microsoft.com/office/drawing/2014/main" id="{7E8C13B3-596C-4C15-AC18-0D75FB1FB361}"/>
              </a:ext>
            </a:extLst>
          </p:cNvPr>
          <p:cNvSpPr/>
          <p:nvPr/>
        </p:nvSpPr>
        <p:spPr>
          <a:xfrm>
            <a:off x="3727270" y="1766882"/>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0" name="Rectangle 9">
            <a:extLst>
              <a:ext uri="{FF2B5EF4-FFF2-40B4-BE49-F238E27FC236}">
                <a16:creationId xmlns:a16="http://schemas.microsoft.com/office/drawing/2014/main" id="{399721C5-1B27-4F6B-89E8-5055C1C8BFEB}"/>
              </a:ext>
            </a:extLst>
          </p:cNvPr>
          <p:cNvSpPr/>
          <p:nvPr/>
        </p:nvSpPr>
        <p:spPr>
          <a:xfrm>
            <a:off x="3846156" y="2335008"/>
            <a:ext cx="1539847" cy="646331"/>
          </a:xfrm>
          <a:prstGeom prst="rect">
            <a:avLst/>
          </a:prstGeom>
        </p:spPr>
        <p:txBody>
          <a:bodyPr wrap="square">
            <a:spAutoFit/>
          </a:bodyPr>
          <a:lstStyle/>
          <a:p>
            <a:pPr algn="ctr"/>
            <a:r>
              <a:rPr lang="en-US" dirty="0"/>
              <a:t>Updates and patching</a:t>
            </a:r>
          </a:p>
        </p:txBody>
      </p:sp>
      <p:sp>
        <p:nvSpPr>
          <p:cNvPr id="11" name="TextBox 10">
            <a:extLst>
              <a:ext uri="{FF2B5EF4-FFF2-40B4-BE49-F238E27FC236}">
                <a16:creationId xmlns:a16="http://schemas.microsoft.com/office/drawing/2014/main" id="{9FEE3FF5-C2F3-4916-BB62-9AC77484084B}"/>
              </a:ext>
            </a:extLst>
          </p:cNvPr>
          <p:cNvSpPr txBox="1"/>
          <p:nvPr/>
        </p:nvSpPr>
        <p:spPr>
          <a:xfrm>
            <a:off x="2043979" y="4276884"/>
            <a:ext cx="7915193" cy="2308324"/>
          </a:xfrm>
          <a:prstGeom prst="rect">
            <a:avLst/>
          </a:prstGeom>
          <a:noFill/>
        </p:spPr>
        <p:txBody>
          <a:bodyPr wrap="square" rtlCol="0">
            <a:spAutoFit/>
          </a:bodyPr>
          <a:lstStyle/>
          <a:p>
            <a:r>
              <a:rPr lang="en-US" dirty="0"/>
              <a:t>Identifying and resolving problems can be a difficult mission in any system, but spread over many thousands of remotely located units brings it to a whole other level!</a:t>
            </a:r>
          </a:p>
          <a:p>
            <a:endParaRPr lang="en-US" dirty="0"/>
          </a:p>
          <a:p>
            <a:r>
              <a:rPr lang="en-US" dirty="0"/>
              <a:t>microServiceBus.com provides great insight to what is and has happened on the device. Through it’s tracking capabilities, developers and operation staff can </a:t>
            </a:r>
            <a:r>
              <a:rPr lang="en-US" dirty="0">
                <a:solidFill>
                  <a:srgbClr val="FFFF00"/>
                </a:solidFill>
              </a:rPr>
              <a:t>gain insight</a:t>
            </a:r>
            <a:r>
              <a:rPr lang="en-US" dirty="0"/>
              <a:t> of what is happening, and even </a:t>
            </a:r>
            <a:r>
              <a:rPr lang="en-US" dirty="0">
                <a:solidFill>
                  <a:srgbClr val="FFFF00"/>
                </a:solidFill>
              </a:rPr>
              <a:t>remotely debugging </a:t>
            </a:r>
            <a:r>
              <a:rPr lang="en-US" dirty="0"/>
              <a:t>the code, and instantly deploy fixes.</a:t>
            </a:r>
          </a:p>
        </p:txBody>
      </p:sp>
      <p:cxnSp>
        <p:nvCxnSpPr>
          <p:cNvPr id="12" name="Connector: Elbow 11">
            <a:extLst>
              <a:ext uri="{FF2B5EF4-FFF2-40B4-BE49-F238E27FC236}">
                <a16:creationId xmlns:a16="http://schemas.microsoft.com/office/drawing/2014/main" id="{D159C078-56BD-4929-9542-53FACECED7AD}"/>
              </a:ext>
            </a:extLst>
          </p:cNvPr>
          <p:cNvCxnSpPr>
            <a:cxnSpLocks/>
            <a:stCxn id="17" idx="4"/>
            <a:endCxn id="11" idx="0"/>
          </p:cNvCxnSpPr>
          <p:nvPr/>
        </p:nvCxnSpPr>
        <p:spPr>
          <a:xfrm rot="5400000">
            <a:off x="7405332" y="2125894"/>
            <a:ext cx="747234" cy="3554746"/>
          </a:xfrm>
          <a:prstGeom prst="bentConnector3">
            <a:avLst/>
          </a:prstGeom>
          <a:ln w="38100">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18BF529D-3CFF-40EA-ADDE-E91117B0519A}"/>
              </a:ext>
            </a:extLst>
          </p:cNvPr>
          <p:cNvSpPr/>
          <p:nvPr/>
        </p:nvSpPr>
        <p:spPr>
          <a:xfrm>
            <a:off x="6191796"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5" name="Rectangle 14">
            <a:extLst>
              <a:ext uri="{FF2B5EF4-FFF2-40B4-BE49-F238E27FC236}">
                <a16:creationId xmlns:a16="http://schemas.microsoft.com/office/drawing/2014/main" id="{184F7D31-8D85-4E01-A0A9-6256DAD7E251}"/>
              </a:ext>
            </a:extLst>
          </p:cNvPr>
          <p:cNvSpPr/>
          <p:nvPr/>
        </p:nvSpPr>
        <p:spPr>
          <a:xfrm>
            <a:off x="6230806" y="2335008"/>
            <a:ext cx="1721979" cy="646331"/>
          </a:xfrm>
          <a:prstGeom prst="rect">
            <a:avLst/>
          </a:prstGeom>
        </p:spPr>
        <p:txBody>
          <a:bodyPr wrap="square">
            <a:spAutoFit/>
          </a:bodyPr>
          <a:lstStyle/>
          <a:p>
            <a:pPr algn="ctr"/>
            <a:r>
              <a:rPr lang="en-US" dirty="0"/>
              <a:t>Source code management</a:t>
            </a:r>
          </a:p>
        </p:txBody>
      </p:sp>
      <p:sp>
        <p:nvSpPr>
          <p:cNvPr id="17" name="Oval 16">
            <a:extLst>
              <a:ext uri="{FF2B5EF4-FFF2-40B4-BE49-F238E27FC236}">
                <a16:creationId xmlns:a16="http://schemas.microsoft.com/office/drawing/2014/main" id="{4018FDFC-D2B2-4713-957B-9521347048DB}"/>
              </a:ext>
            </a:extLst>
          </p:cNvPr>
          <p:cNvSpPr/>
          <p:nvPr/>
        </p:nvSpPr>
        <p:spPr>
          <a:xfrm>
            <a:off x="8656322" y="1729650"/>
            <a:ext cx="1800000" cy="1800000"/>
          </a:xfrm>
          <a:prstGeom prst="ellipse">
            <a:avLst/>
          </a:prstGeom>
          <a:noFill/>
          <a:ln w="38100">
            <a:solidFill>
              <a:schemeClr val="tx1"/>
            </a:solidFill>
          </a:ln>
          <a:effectLst>
            <a:glow rad="165100">
              <a:schemeClr val="accent4">
                <a:lumMod val="20000"/>
                <a:lumOff val="80000"/>
                <a:alpha val="5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8" name="Rectangle 17">
            <a:extLst>
              <a:ext uri="{FF2B5EF4-FFF2-40B4-BE49-F238E27FC236}">
                <a16:creationId xmlns:a16="http://schemas.microsoft.com/office/drawing/2014/main" id="{A0C724AB-B2E3-40FC-BF51-5AE10101C85C}"/>
              </a:ext>
            </a:extLst>
          </p:cNvPr>
          <p:cNvSpPr/>
          <p:nvPr/>
        </p:nvSpPr>
        <p:spPr>
          <a:xfrm>
            <a:off x="8656322" y="2335008"/>
            <a:ext cx="1811047" cy="646331"/>
          </a:xfrm>
          <a:prstGeom prst="rect">
            <a:avLst/>
          </a:prstGeom>
        </p:spPr>
        <p:txBody>
          <a:bodyPr wrap="square">
            <a:spAutoFit/>
          </a:bodyPr>
          <a:lstStyle/>
          <a:p>
            <a:pPr algn="ctr"/>
            <a:r>
              <a:rPr lang="en-US" dirty="0"/>
              <a:t>Find and resolve issues</a:t>
            </a:r>
          </a:p>
        </p:txBody>
      </p:sp>
      <p:pic>
        <p:nvPicPr>
          <p:cNvPr id="16" name="Picture 15">
            <a:extLst>
              <a:ext uri="{FF2B5EF4-FFF2-40B4-BE49-F238E27FC236}">
                <a16:creationId xmlns:a16="http://schemas.microsoft.com/office/drawing/2014/main" id="{762AECC5-A746-4F54-9E7F-260B5A74175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1405" y="365125"/>
            <a:ext cx="879667" cy="721991"/>
          </a:xfrm>
          <a:prstGeom prst="rect">
            <a:avLst/>
          </a:prstGeom>
        </p:spPr>
      </p:pic>
    </p:spTree>
    <p:extLst>
      <p:ext uri="{BB962C8B-B14F-4D97-AF65-F5344CB8AC3E}">
        <p14:creationId xmlns:p14="http://schemas.microsoft.com/office/powerpoint/2010/main" val="11126434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up)">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xit" presetSubtype="0" fill="hold" grpId="1" nodeType="clickEffect">
                                  <p:stCondLst>
                                    <p:cond delay="0"/>
                                  </p:stCondLst>
                                  <p:childTnLst>
                                    <p:animEffect transition="out" filter="fade">
                                      <p:cBhvr>
                                        <p:cTn id="15" dur="500"/>
                                        <p:tgtEl>
                                          <p:spTgt spid="11"/>
                                        </p:tgtEl>
                                      </p:cBhvr>
                                    </p:animEffect>
                                    <p:set>
                                      <p:cBhvr>
                                        <p:cTn id="16" dur="1" fill="hold">
                                          <p:stCondLst>
                                            <p:cond delay="499"/>
                                          </p:stCondLst>
                                        </p:cTn>
                                        <p:tgtEl>
                                          <p:spTgt spid="11"/>
                                        </p:tgtEl>
                                        <p:attrNameLst>
                                          <p:attrName>style.visibility</p:attrName>
                                        </p:attrNameLst>
                                      </p:cBhvr>
                                      <p:to>
                                        <p:strVal val="hidden"/>
                                      </p:to>
                                    </p:set>
                                  </p:childTnLst>
                                </p:cTn>
                              </p:par>
                            </p:childTnLst>
                          </p:cTn>
                        </p:par>
                        <p:par>
                          <p:cTn id="17" fill="hold">
                            <p:stCondLst>
                              <p:cond delay="500"/>
                            </p:stCondLst>
                            <p:childTnLst>
                              <p:par>
                                <p:cTn id="18" presetID="22" presetClass="exit" presetSubtype="4" fill="hold" nodeType="afterEffect">
                                  <p:stCondLst>
                                    <p:cond delay="0"/>
                                  </p:stCondLst>
                                  <p:childTnLst>
                                    <p:animEffect transition="out" filter="wipe(down)">
                                      <p:cBhvr>
                                        <p:cTn id="19" dur="250"/>
                                        <p:tgtEl>
                                          <p:spTgt spid="12"/>
                                        </p:tgtEl>
                                      </p:cBhvr>
                                    </p:animEffect>
                                    <p:set>
                                      <p:cBhvr>
                                        <p:cTn id="20" dur="1" fill="hold">
                                          <p:stCondLst>
                                            <p:cond delay="24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B83CD8-EB1D-459B-9151-D84B72C26C24}"/>
              </a:ext>
            </a:extLst>
          </p:cNvPr>
          <p:cNvSpPr>
            <a:spLocks noGrp="1"/>
          </p:cNvSpPr>
          <p:nvPr>
            <p:ph type="title"/>
          </p:nvPr>
        </p:nvSpPr>
        <p:spPr>
          <a:xfrm>
            <a:off x="1747318" y="365125"/>
            <a:ext cx="9606481" cy="1325563"/>
          </a:xfrm>
        </p:spPr>
        <p:txBody>
          <a:bodyPr>
            <a:normAutofit/>
          </a:bodyPr>
          <a:lstStyle/>
          <a:p>
            <a:r>
              <a:rPr lang="en-US" sz="4000" b="1" dirty="0">
                <a:solidFill>
                  <a:schemeClr val="tx1"/>
                </a:solidFill>
              </a:rPr>
              <a:t>microServiceBus.com - Device Management </a:t>
            </a:r>
          </a:p>
        </p:txBody>
      </p:sp>
      <p:sp>
        <p:nvSpPr>
          <p:cNvPr id="6" name="Oval 5">
            <a:extLst>
              <a:ext uri="{FF2B5EF4-FFF2-40B4-BE49-F238E27FC236}">
                <a16:creationId xmlns:a16="http://schemas.microsoft.com/office/drawing/2014/main" id="{593847E9-86A3-46AB-A5F2-E10DED6BACD7}"/>
              </a:ext>
            </a:extLst>
          </p:cNvPr>
          <p:cNvSpPr/>
          <p:nvPr/>
        </p:nvSpPr>
        <p:spPr>
          <a:xfrm>
            <a:off x="1262744" y="1729650"/>
            <a:ext cx="1800000" cy="1800000"/>
          </a:xfrm>
          <a:prstGeom prst="ellipse">
            <a:avLst/>
          </a:prstGeom>
          <a:noFill/>
          <a:ln w="38100">
            <a:solidFill>
              <a:schemeClr val="tx1"/>
            </a:solidFill>
          </a:ln>
          <a:effectLst>
            <a:glow rad="165100">
              <a:schemeClr val="accent4">
                <a:lumMod val="20000"/>
                <a:lumOff val="80000"/>
                <a:alpha val="5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7" name="Rectangle 6">
            <a:extLst>
              <a:ext uri="{FF2B5EF4-FFF2-40B4-BE49-F238E27FC236}">
                <a16:creationId xmlns:a16="http://schemas.microsoft.com/office/drawing/2014/main" id="{57A7408D-AA02-4FD9-ADF8-C89216ABEADC}"/>
              </a:ext>
            </a:extLst>
          </p:cNvPr>
          <p:cNvSpPr/>
          <p:nvPr/>
        </p:nvSpPr>
        <p:spPr>
          <a:xfrm>
            <a:off x="1354778" y="2309195"/>
            <a:ext cx="1615931" cy="646331"/>
          </a:xfrm>
          <a:prstGeom prst="rect">
            <a:avLst/>
          </a:prstGeom>
        </p:spPr>
        <p:txBody>
          <a:bodyPr wrap="square">
            <a:spAutoFit/>
          </a:bodyPr>
          <a:lstStyle/>
          <a:p>
            <a:pPr algn="ctr"/>
            <a:r>
              <a:rPr lang="en-US" dirty="0"/>
              <a:t>Hardware independence </a:t>
            </a:r>
          </a:p>
        </p:txBody>
      </p:sp>
      <p:sp>
        <p:nvSpPr>
          <p:cNvPr id="9" name="Oval 8">
            <a:extLst>
              <a:ext uri="{FF2B5EF4-FFF2-40B4-BE49-F238E27FC236}">
                <a16:creationId xmlns:a16="http://schemas.microsoft.com/office/drawing/2014/main" id="{7E8C13B3-596C-4C15-AC18-0D75FB1FB361}"/>
              </a:ext>
            </a:extLst>
          </p:cNvPr>
          <p:cNvSpPr/>
          <p:nvPr/>
        </p:nvSpPr>
        <p:spPr>
          <a:xfrm>
            <a:off x="3727270" y="1766882"/>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0" name="Rectangle 9">
            <a:extLst>
              <a:ext uri="{FF2B5EF4-FFF2-40B4-BE49-F238E27FC236}">
                <a16:creationId xmlns:a16="http://schemas.microsoft.com/office/drawing/2014/main" id="{399721C5-1B27-4F6B-89E8-5055C1C8BFEB}"/>
              </a:ext>
            </a:extLst>
          </p:cNvPr>
          <p:cNvSpPr/>
          <p:nvPr/>
        </p:nvSpPr>
        <p:spPr>
          <a:xfrm>
            <a:off x="3792308" y="2306485"/>
            <a:ext cx="1669924" cy="646331"/>
          </a:xfrm>
          <a:prstGeom prst="rect">
            <a:avLst/>
          </a:prstGeom>
        </p:spPr>
        <p:txBody>
          <a:bodyPr wrap="square">
            <a:spAutoFit/>
          </a:bodyPr>
          <a:lstStyle/>
          <a:p>
            <a:pPr algn="ctr"/>
            <a:r>
              <a:rPr lang="en-US" dirty="0"/>
              <a:t>Platform independence</a:t>
            </a:r>
          </a:p>
        </p:txBody>
      </p:sp>
      <p:sp>
        <p:nvSpPr>
          <p:cNvPr id="11" name="TextBox 10">
            <a:extLst>
              <a:ext uri="{FF2B5EF4-FFF2-40B4-BE49-F238E27FC236}">
                <a16:creationId xmlns:a16="http://schemas.microsoft.com/office/drawing/2014/main" id="{9FEE3FF5-C2F3-4916-BB62-9AC77484084B}"/>
              </a:ext>
            </a:extLst>
          </p:cNvPr>
          <p:cNvSpPr txBox="1"/>
          <p:nvPr/>
        </p:nvSpPr>
        <p:spPr>
          <a:xfrm>
            <a:off x="2043979" y="4276884"/>
            <a:ext cx="7915193" cy="2031325"/>
          </a:xfrm>
          <a:prstGeom prst="rect">
            <a:avLst/>
          </a:prstGeom>
          <a:noFill/>
        </p:spPr>
        <p:txBody>
          <a:bodyPr wrap="square" rtlCol="0">
            <a:spAutoFit/>
          </a:bodyPr>
          <a:lstStyle/>
          <a:p>
            <a:r>
              <a:rPr lang="en-US" dirty="0"/>
              <a:t>New devices and gateways are coming available on the market at a stunning rate, while old models are being discontinued. Choosing a platform that can run independently of your choice of hardware, is critical for long term success.</a:t>
            </a:r>
          </a:p>
          <a:p>
            <a:endParaRPr lang="en-US" dirty="0"/>
          </a:p>
          <a:p>
            <a:r>
              <a:rPr lang="en-US" dirty="0"/>
              <a:t>The microServiceBus agent is designed to run on almost any platform while still being managed in the same reliable way. </a:t>
            </a:r>
          </a:p>
        </p:txBody>
      </p:sp>
      <p:cxnSp>
        <p:nvCxnSpPr>
          <p:cNvPr id="12" name="Connector: Elbow 11">
            <a:extLst>
              <a:ext uri="{FF2B5EF4-FFF2-40B4-BE49-F238E27FC236}">
                <a16:creationId xmlns:a16="http://schemas.microsoft.com/office/drawing/2014/main" id="{D159C078-56BD-4929-9542-53FACECED7AD}"/>
              </a:ext>
            </a:extLst>
          </p:cNvPr>
          <p:cNvCxnSpPr>
            <a:stCxn id="6" idx="4"/>
            <a:endCxn id="11" idx="0"/>
          </p:cNvCxnSpPr>
          <p:nvPr/>
        </p:nvCxnSpPr>
        <p:spPr>
          <a:xfrm rot="16200000" flipH="1">
            <a:off x="3708543" y="1983851"/>
            <a:ext cx="747234" cy="3838832"/>
          </a:xfrm>
          <a:prstGeom prst="bentConnector3">
            <a:avLst/>
          </a:prstGeom>
          <a:ln w="38100">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18BF529D-3CFF-40EA-ADDE-E91117B0519A}"/>
              </a:ext>
            </a:extLst>
          </p:cNvPr>
          <p:cNvSpPr/>
          <p:nvPr/>
        </p:nvSpPr>
        <p:spPr>
          <a:xfrm>
            <a:off x="6191796"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5" name="Rectangle 14">
            <a:extLst>
              <a:ext uri="{FF2B5EF4-FFF2-40B4-BE49-F238E27FC236}">
                <a16:creationId xmlns:a16="http://schemas.microsoft.com/office/drawing/2014/main" id="{184F7D31-8D85-4E01-A0A9-6256DAD7E251}"/>
              </a:ext>
            </a:extLst>
          </p:cNvPr>
          <p:cNvSpPr/>
          <p:nvPr/>
        </p:nvSpPr>
        <p:spPr>
          <a:xfrm>
            <a:off x="6241996" y="2306485"/>
            <a:ext cx="1721979" cy="646331"/>
          </a:xfrm>
          <a:prstGeom prst="rect">
            <a:avLst/>
          </a:prstGeom>
        </p:spPr>
        <p:txBody>
          <a:bodyPr wrap="square">
            <a:spAutoFit/>
          </a:bodyPr>
          <a:lstStyle/>
          <a:p>
            <a:pPr algn="ctr"/>
            <a:r>
              <a:rPr lang="en-US" dirty="0"/>
              <a:t>Cloud vendor independence</a:t>
            </a:r>
          </a:p>
        </p:txBody>
      </p:sp>
      <p:sp>
        <p:nvSpPr>
          <p:cNvPr id="17" name="Oval 16">
            <a:extLst>
              <a:ext uri="{FF2B5EF4-FFF2-40B4-BE49-F238E27FC236}">
                <a16:creationId xmlns:a16="http://schemas.microsoft.com/office/drawing/2014/main" id="{4018FDFC-D2B2-4713-957B-9521347048DB}"/>
              </a:ext>
            </a:extLst>
          </p:cNvPr>
          <p:cNvSpPr/>
          <p:nvPr/>
        </p:nvSpPr>
        <p:spPr>
          <a:xfrm>
            <a:off x="8656322"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6" name="Rectangle 15">
            <a:extLst>
              <a:ext uri="{FF2B5EF4-FFF2-40B4-BE49-F238E27FC236}">
                <a16:creationId xmlns:a16="http://schemas.microsoft.com/office/drawing/2014/main" id="{65EC6738-9F2E-41DB-8A56-F87D653DD3FD}"/>
              </a:ext>
            </a:extLst>
          </p:cNvPr>
          <p:cNvSpPr/>
          <p:nvPr/>
        </p:nvSpPr>
        <p:spPr>
          <a:xfrm>
            <a:off x="8656322" y="2437922"/>
            <a:ext cx="1811047" cy="369332"/>
          </a:xfrm>
          <a:prstGeom prst="rect">
            <a:avLst/>
          </a:prstGeom>
        </p:spPr>
        <p:txBody>
          <a:bodyPr wrap="square">
            <a:spAutoFit/>
          </a:bodyPr>
          <a:lstStyle/>
          <a:p>
            <a:pPr algn="ctr"/>
            <a:r>
              <a:rPr lang="en-US" dirty="0"/>
              <a:t>Integration</a:t>
            </a:r>
          </a:p>
        </p:txBody>
      </p:sp>
      <p:pic>
        <p:nvPicPr>
          <p:cNvPr id="18" name="Picture 17">
            <a:extLst>
              <a:ext uri="{FF2B5EF4-FFF2-40B4-BE49-F238E27FC236}">
                <a16:creationId xmlns:a16="http://schemas.microsoft.com/office/drawing/2014/main" id="{F5FBE18A-C3C3-44DA-A178-BA1ED35245E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1405" y="365125"/>
            <a:ext cx="879667" cy="721991"/>
          </a:xfrm>
          <a:prstGeom prst="rect">
            <a:avLst/>
          </a:prstGeom>
        </p:spPr>
      </p:pic>
    </p:spTree>
    <p:extLst>
      <p:ext uri="{BB962C8B-B14F-4D97-AF65-F5344CB8AC3E}">
        <p14:creationId xmlns:p14="http://schemas.microsoft.com/office/powerpoint/2010/main" val="2699906322"/>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up)">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xit" presetSubtype="0" fill="hold" grpId="1" nodeType="clickEffect">
                                  <p:stCondLst>
                                    <p:cond delay="0"/>
                                  </p:stCondLst>
                                  <p:childTnLst>
                                    <p:animEffect transition="out" filter="fade">
                                      <p:cBhvr>
                                        <p:cTn id="15" dur="500"/>
                                        <p:tgtEl>
                                          <p:spTgt spid="11"/>
                                        </p:tgtEl>
                                      </p:cBhvr>
                                    </p:animEffect>
                                    <p:set>
                                      <p:cBhvr>
                                        <p:cTn id="16" dur="1" fill="hold">
                                          <p:stCondLst>
                                            <p:cond delay="499"/>
                                          </p:stCondLst>
                                        </p:cTn>
                                        <p:tgtEl>
                                          <p:spTgt spid="11"/>
                                        </p:tgtEl>
                                        <p:attrNameLst>
                                          <p:attrName>style.visibility</p:attrName>
                                        </p:attrNameLst>
                                      </p:cBhvr>
                                      <p:to>
                                        <p:strVal val="hidden"/>
                                      </p:to>
                                    </p:set>
                                  </p:childTnLst>
                                </p:cTn>
                              </p:par>
                            </p:childTnLst>
                          </p:cTn>
                        </p:par>
                        <p:par>
                          <p:cTn id="17" fill="hold">
                            <p:stCondLst>
                              <p:cond delay="500"/>
                            </p:stCondLst>
                            <p:childTnLst>
                              <p:par>
                                <p:cTn id="18" presetID="22" presetClass="exit" presetSubtype="4" fill="hold" nodeType="afterEffect">
                                  <p:stCondLst>
                                    <p:cond delay="0"/>
                                  </p:stCondLst>
                                  <p:childTnLst>
                                    <p:animEffect transition="out" filter="wipe(down)">
                                      <p:cBhvr>
                                        <p:cTn id="19" dur="250"/>
                                        <p:tgtEl>
                                          <p:spTgt spid="12"/>
                                        </p:tgtEl>
                                      </p:cBhvr>
                                    </p:animEffect>
                                    <p:set>
                                      <p:cBhvr>
                                        <p:cTn id="20" dur="1" fill="hold">
                                          <p:stCondLst>
                                            <p:cond delay="24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B83CD8-EB1D-459B-9151-D84B72C26C24}"/>
              </a:ext>
            </a:extLst>
          </p:cNvPr>
          <p:cNvSpPr>
            <a:spLocks noGrp="1"/>
          </p:cNvSpPr>
          <p:nvPr>
            <p:ph type="title"/>
          </p:nvPr>
        </p:nvSpPr>
        <p:spPr>
          <a:xfrm>
            <a:off x="1747318" y="365125"/>
            <a:ext cx="9606481" cy="1325563"/>
          </a:xfrm>
        </p:spPr>
        <p:txBody>
          <a:bodyPr>
            <a:normAutofit/>
          </a:bodyPr>
          <a:lstStyle/>
          <a:p>
            <a:r>
              <a:rPr lang="en-US" sz="4000" b="1" dirty="0">
                <a:solidFill>
                  <a:schemeClr val="tx1"/>
                </a:solidFill>
              </a:rPr>
              <a:t>microServiceBus.com - Device Management </a:t>
            </a:r>
          </a:p>
        </p:txBody>
      </p:sp>
      <p:sp>
        <p:nvSpPr>
          <p:cNvPr id="11" name="TextBox 10">
            <a:extLst>
              <a:ext uri="{FF2B5EF4-FFF2-40B4-BE49-F238E27FC236}">
                <a16:creationId xmlns:a16="http://schemas.microsoft.com/office/drawing/2014/main" id="{9FEE3FF5-C2F3-4916-BB62-9AC77484084B}"/>
              </a:ext>
            </a:extLst>
          </p:cNvPr>
          <p:cNvSpPr txBox="1"/>
          <p:nvPr/>
        </p:nvSpPr>
        <p:spPr>
          <a:xfrm>
            <a:off x="2043979" y="4276884"/>
            <a:ext cx="7915193" cy="2308324"/>
          </a:xfrm>
          <a:prstGeom prst="rect">
            <a:avLst/>
          </a:prstGeom>
          <a:noFill/>
        </p:spPr>
        <p:txBody>
          <a:bodyPr wrap="square" rtlCol="0">
            <a:spAutoFit/>
          </a:bodyPr>
          <a:lstStyle/>
          <a:p>
            <a:r>
              <a:rPr lang="en-US" dirty="0"/>
              <a:t>Choice of platform, in most cases, are directly related to the choice of hardware. Gateway- and device vendors support different platforms best suited for their hardware, which can become a challenge should you need other type of devices or replacing existing.</a:t>
            </a:r>
          </a:p>
          <a:p>
            <a:endParaRPr lang="en-US" dirty="0"/>
          </a:p>
          <a:p>
            <a:r>
              <a:rPr lang="en-US" dirty="0"/>
              <a:t>microServiceBus.com supports a number of platforms spanning from small microcontroller using </a:t>
            </a:r>
            <a:r>
              <a:rPr lang="en-US" dirty="0" err="1">
                <a:solidFill>
                  <a:srgbClr val="FFFF00"/>
                </a:solidFill>
              </a:rPr>
              <a:t>MBed</a:t>
            </a:r>
            <a:r>
              <a:rPr lang="en-US" dirty="0"/>
              <a:t>, embedded devices using </a:t>
            </a:r>
            <a:r>
              <a:rPr lang="en-US" dirty="0">
                <a:solidFill>
                  <a:srgbClr val="FFFF00"/>
                </a:solidFill>
              </a:rPr>
              <a:t>Yocto</a:t>
            </a:r>
            <a:r>
              <a:rPr lang="en-US" dirty="0"/>
              <a:t> or </a:t>
            </a:r>
            <a:r>
              <a:rPr lang="en-US" dirty="0" err="1">
                <a:solidFill>
                  <a:srgbClr val="FFFF00"/>
                </a:solidFill>
              </a:rPr>
              <a:t>Buildroot</a:t>
            </a:r>
            <a:r>
              <a:rPr lang="en-US" dirty="0"/>
              <a:t> or container-based platforms such as </a:t>
            </a:r>
            <a:r>
              <a:rPr lang="en-US" dirty="0">
                <a:solidFill>
                  <a:srgbClr val="FFFF00"/>
                </a:solidFill>
              </a:rPr>
              <a:t>Docker</a:t>
            </a:r>
            <a:r>
              <a:rPr lang="en-US" dirty="0"/>
              <a:t> or </a:t>
            </a:r>
            <a:r>
              <a:rPr lang="en-US" dirty="0">
                <a:solidFill>
                  <a:srgbClr val="FFFF00"/>
                </a:solidFill>
              </a:rPr>
              <a:t>Ubuntu Core</a:t>
            </a:r>
            <a:r>
              <a:rPr lang="en-US" dirty="0"/>
              <a:t>.</a:t>
            </a:r>
          </a:p>
        </p:txBody>
      </p:sp>
      <p:cxnSp>
        <p:nvCxnSpPr>
          <p:cNvPr id="12" name="Connector: Elbow 11">
            <a:extLst>
              <a:ext uri="{FF2B5EF4-FFF2-40B4-BE49-F238E27FC236}">
                <a16:creationId xmlns:a16="http://schemas.microsoft.com/office/drawing/2014/main" id="{D159C078-56BD-4929-9542-53FACECED7AD}"/>
              </a:ext>
            </a:extLst>
          </p:cNvPr>
          <p:cNvCxnSpPr>
            <a:cxnSpLocks/>
            <a:stCxn id="21" idx="4"/>
            <a:endCxn id="11" idx="0"/>
          </p:cNvCxnSpPr>
          <p:nvPr/>
        </p:nvCxnSpPr>
        <p:spPr>
          <a:xfrm rot="16200000" flipH="1">
            <a:off x="4959422" y="3234730"/>
            <a:ext cx="710002" cy="1374306"/>
          </a:xfrm>
          <a:prstGeom prst="bentConnector3">
            <a:avLst/>
          </a:prstGeom>
          <a:ln w="38100">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7F366C43-C798-4C90-B99F-B1B813E22951}"/>
              </a:ext>
            </a:extLst>
          </p:cNvPr>
          <p:cNvSpPr/>
          <p:nvPr/>
        </p:nvSpPr>
        <p:spPr>
          <a:xfrm>
            <a:off x="1262744"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0" name="Rectangle 19">
            <a:extLst>
              <a:ext uri="{FF2B5EF4-FFF2-40B4-BE49-F238E27FC236}">
                <a16:creationId xmlns:a16="http://schemas.microsoft.com/office/drawing/2014/main" id="{297DB988-037B-465A-9AC0-7B12EE6F1179}"/>
              </a:ext>
            </a:extLst>
          </p:cNvPr>
          <p:cNvSpPr/>
          <p:nvPr/>
        </p:nvSpPr>
        <p:spPr>
          <a:xfrm>
            <a:off x="1354778" y="2309195"/>
            <a:ext cx="1615931" cy="646331"/>
          </a:xfrm>
          <a:prstGeom prst="rect">
            <a:avLst/>
          </a:prstGeom>
        </p:spPr>
        <p:txBody>
          <a:bodyPr wrap="square">
            <a:spAutoFit/>
          </a:bodyPr>
          <a:lstStyle/>
          <a:p>
            <a:pPr algn="ctr"/>
            <a:r>
              <a:rPr lang="en-US" dirty="0"/>
              <a:t>Hardware independence </a:t>
            </a:r>
          </a:p>
        </p:txBody>
      </p:sp>
      <p:sp>
        <p:nvSpPr>
          <p:cNvPr id="21" name="Oval 20">
            <a:extLst>
              <a:ext uri="{FF2B5EF4-FFF2-40B4-BE49-F238E27FC236}">
                <a16:creationId xmlns:a16="http://schemas.microsoft.com/office/drawing/2014/main" id="{96DFB63D-2F74-43DD-8705-5C8C30EB6918}"/>
              </a:ext>
            </a:extLst>
          </p:cNvPr>
          <p:cNvSpPr/>
          <p:nvPr/>
        </p:nvSpPr>
        <p:spPr>
          <a:xfrm>
            <a:off x="3727270" y="1766882"/>
            <a:ext cx="1800000" cy="1800000"/>
          </a:xfrm>
          <a:prstGeom prst="ellipse">
            <a:avLst/>
          </a:prstGeom>
          <a:noFill/>
          <a:ln w="38100">
            <a:solidFill>
              <a:schemeClr val="tx1"/>
            </a:solidFill>
          </a:ln>
          <a:effectLst>
            <a:glow rad="165100">
              <a:schemeClr val="accent4">
                <a:lumMod val="20000"/>
                <a:lumOff val="80000"/>
                <a:alpha val="5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2" name="Rectangle 21">
            <a:extLst>
              <a:ext uri="{FF2B5EF4-FFF2-40B4-BE49-F238E27FC236}">
                <a16:creationId xmlns:a16="http://schemas.microsoft.com/office/drawing/2014/main" id="{732C0380-DA3E-4961-897E-6F1A68B78679}"/>
              </a:ext>
            </a:extLst>
          </p:cNvPr>
          <p:cNvSpPr/>
          <p:nvPr/>
        </p:nvSpPr>
        <p:spPr>
          <a:xfrm>
            <a:off x="3801930" y="2306485"/>
            <a:ext cx="1669924" cy="646331"/>
          </a:xfrm>
          <a:prstGeom prst="rect">
            <a:avLst/>
          </a:prstGeom>
        </p:spPr>
        <p:txBody>
          <a:bodyPr wrap="square">
            <a:spAutoFit/>
          </a:bodyPr>
          <a:lstStyle/>
          <a:p>
            <a:pPr algn="ctr"/>
            <a:r>
              <a:rPr lang="en-US" dirty="0"/>
              <a:t>Platform independence</a:t>
            </a:r>
          </a:p>
        </p:txBody>
      </p:sp>
      <p:sp>
        <p:nvSpPr>
          <p:cNvPr id="23" name="Oval 22">
            <a:extLst>
              <a:ext uri="{FF2B5EF4-FFF2-40B4-BE49-F238E27FC236}">
                <a16:creationId xmlns:a16="http://schemas.microsoft.com/office/drawing/2014/main" id="{D54DA9F3-4570-4B74-A2A7-3496112E0BA9}"/>
              </a:ext>
            </a:extLst>
          </p:cNvPr>
          <p:cNvSpPr/>
          <p:nvPr/>
        </p:nvSpPr>
        <p:spPr>
          <a:xfrm>
            <a:off x="6191796"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4" name="Rectangle 23">
            <a:extLst>
              <a:ext uri="{FF2B5EF4-FFF2-40B4-BE49-F238E27FC236}">
                <a16:creationId xmlns:a16="http://schemas.microsoft.com/office/drawing/2014/main" id="{38F095BE-DFB3-4C14-B93B-E7621C1AFD8D}"/>
              </a:ext>
            </a:extLst>
          </p:cNvPr>
          <p:cNvSpPr/>
          <p:nvPr/>
        </p:nvSpPr>
        <p:spPr>
          <a:xfrm>
            <a:off x="6241996" y="2306485"/>
            <a:ext cx="1721979" cy="646331"/>
          </a:xfrm>
          <a:prstGeom prst="rect">
            <a:avLst/>
          </a:prstGeom>
        </p:spPr>
        <p:txBody>
          <a:bodyPr wrap="square">
            <a:spAutoFit/>
          </a:bodyPr>
          <a:lstStyle/>
          <a:p>
            <a:pPr algn="ctr"/>
            <a:r>
              <a:rPr lang="en-US" dirty="0"/>
              <a:t>Cloud vendor independence</a:t>
            </a:r>
          </a:p>
        </p:txBody>
      </p:sp>
      <p:sp>
        <p:nvSpPr>
          <p:cNvPr id="25" name="Oval 24">
            <a:extLst>
              <a:ext uri="{FF2B5EF4-FFF2-40B4-BE49-F238E27FC236}">
                <a16:creationId xmlns:a16="http://schemas.microsoft.com/office/drawing/2014/main" id="{1934863B-1D5B-41F3-B7C1-D7C867B8019F}"/>
              </a:ext>
            </a:extLst>
          </p:cNvPr>
          <p:cNvSpPr/>
          <p:nvPr/>
        </p:nvSpPr>
        <p:spPr>
          <a:xfrm>
            <a:off x="8656322"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7" name="Rectangle 26">
            <a:extLst>
              <a:ext uri="{FF2B5EF4-FFF2-40B4-BE49-F238E27FC236}">
                <a16:creationId xmlns:a16="http://schemas.microsoft.com/office/drawing/2014/main" id="{61B8D1A3-8C9F-44C2-BB23-05C0C253D45C}"/>
              </a:ext>
            </a:extLst>
          </p:cNvPr>
          <p:cNvSpPr/>
          <p:nvPr/>
        </p:nvSpPr>
        <p:spPr>
          <a:xfrm>
            <a:off x="8656322" y="2437922"/>
            <a:ext cx="1811047" cy="369332"/>
          </a:xfrm>
          <a:prstGeom prst="rect">
            <a:avLst/>
          </a:prstGeom>
        </p:spPr>
        <p:txBody>
          <a:bodyPr wrap="square">
            <a:spAutoFit/>
          </a:bodyPr>
          <a:lstStyle/>
          <a:p>
            <a:pPr algn="ctr"/>
            <a:r>
              <a:rPr lang="en-US" dirty="0"/>
              <a:t>Integration</a:t>
            </a:r>
          </a:p>
        </p:txBody>
      </p:sp>
      <p:pic>
        <p:nvPicPr>
          <p:cNvPr id="14" name="Picture 13">
            <a:extLst>
              <a:ext uri="{FF2B5EF4-FFF2-40B4-BE49-F238E27FC236}">
                <a16:creationId xmlns:a16="http://schemas.microsoft.com/office/drawing/2014/main" id="{52B2A2D0-121F-4325-AA1F-B7DB54BCE53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1405" y="365125"/>
            <a:ext cx="879667" cy="721991"/>
          </a:xfrm>
          <a:prstGeom prst="rect">
            <a:avLst/>
          </a:prstGeom>
        </p:spPr>
      </p:pic>
    </p:spTree>
    <p:extLst>
      <p:ext uri="{BB962C8B-B14F-4D97-AF65-F5344CB8AC3E}">
        <p14:creationId xmlns:p14="http://schemas.microsoft.com/office/powerpoint/2010/main" val="20146224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up)">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xit" presetSubtype="0" fill="hold" grpId="1" nodeType="clickEffect">
                                  <p:stCondLst>
                                    <p:cond delay="0"/>
                                  </p:stCondLst>
                                  <p:childTnLst>
                                    <p:animEffect transition="out" filter="fade">
                                      <p:cBhvr>
                                        <p:cTn id="15" dur="500"/>
                                        <p:tgtEl>
                                          <p:spTgt spid="11"/>
                                        </p:tgtEl>
                                      </p:cBhvr>
                                    </p:animEffect>
                                    <p:set>
                                      <p:cBhvr>
                                        <p:cTn id="16" dur="1" fill="hold">
                                          <p:stCondLst>
                                            <p:cond delay="499"/>
                                          </p:stCondLst>
                                        </p:cTn>
                                        <p:tgtEl>
                                          <p:spTgt spid="11"/>
                                        </p:tgtEl>
                                        <p:attrNameLst>
                                          <p:attrName>style.visibility</p:attrName>
                                        </p:attrNameLst>
                                      </p:cBhvr>
                                      <p:to>
                                        <p:strVal val="hidden"/>
                                      </p:to>
                                    </p:set>
                                  </p:childTnLst>
                                </p:cTn>
                              </p:par>
                            </p:childTnLst>
                          </p:cTn>
                        </p:par>
                        <p:par>
                          <p:cTn id="17" fill="hold">
                            <p:stCondLst>
                              <p:cond delay="500"/>
                            </p:stCondLst>
                            <p:childTnLst>
                              <p:par>
                                <p:cTn id="18" presetID="22" presetClass="exit" presetSubtype="4" fill="hold" nodeType="afterEffect">
                                  <p:stCondLst>
                                    <p:cond delay="0"/>
                                  </p:stCondLst>
                                  <p:childTnLst>
                                    <p:animEffect transition="out" filter="wipe(down)">
                                      <p:cBhvr>
                                        <p:cTn id="19" dur="250"/>
                                        <p:tgtEl>
                                          <p:spTgt spid="12"/>
                                        </p:tgtEl>
                                      </p:cBhvr>
                                    </p:animEffect>
                                    <p:set>
                                      <p:cBhvr>
                                        <p:cTn id="20" dur="1" fill="hold">
                                          <p:stCondLst>
                                            <p:cond delay="24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B83CD8-EB1D-459B-9151-D84B72C26C24}"/>
              </a:ext>
            </a:extLst>
          </p:cNvPr>
          <p:cNvSpPr>
            <a:spLocks noGrp="1"/>
          </p:cNvSpPr>
          <p:nvPr>
            <p:ph type="title"/>
          </p:nvPr>
        </p:nvSpPr>
        <p:spPr>
          <a:xfrm>
            <a:off x="1747318" y="365125"/>
            <a:ext cx="9606481" cy="1325563"/>
          </a:xfrm>
        </p:spPr>
        <p:txBody>
          <a:bodyPr>
            <a:normAutofit/>
          </a:bodyPr>
          <a:lstStyle/>
          <a:p>
            <a:r>
              <a:rPr lang="en-US" sz="4000" b="1" dirty="0">
                <a:solidFill>
                  <a:schemeClr val="tx1"/>
                </a:solidFill>
              </a:rPr>
              <a:t>microServiceBus.com - Device Management </a:t>
            </a:r>
          </a:p>
        </p:txBody>
      </p:sp>
      <p:sp>
        <p:nvSpPr>
          <p:cNvPr id="11" name="TextBox 10">
            <a:extLst>
              <a:ext uri="{FF2B5EF4-FFF2-40B4-BE49-F238E27FC236}">
                <a16:creationId xmlns:a16="http://schemas.microsoft.com/office/drawing/2014/main" id="{9FEE3FF5-C2F3-4916-BB62-9AC77484084B}"/>
              </a:ext>
            </a:extLst>
          </p:cNvPr>
          <p:cNvSpPr txBox="1"/>
          <p:nvPr/>
        </p:nvSpPr>
        <p:spPr>
          <a:xfrm>
            <a:off x="2043979" y="4276884"/>
            <a:ext cx="7915193" cy="2492990"/>
          </a:xfrm>
          <a:prstGeom prst="rect">
            <a:avLst/>
          </a:prstGeom>
          <a:noFill/>
        </p:spPr>
        <p:txBody>
          <a:bodyPr wrap="square" rtlCol="0">
            <a:spAutoFit/>
          </a:bodyPr>
          <a:lstStyle/>
          <a:p>
            <a:r>
              <a:rPr lang="en-US" dirty="0"/>
              <a:t>The choice of cloud provider is of much greater importance than selecting IoT Hub. In the best of worlds, IoT Hubs are nothing but a very scalable ingestion system for where the data actually matters.</a:t>
            </a:r>
          </a:p>
          <a:p>
            <a:endParaRPr lang="en-US" dirty="0"/>
          </a:p>
          <a:p>
            <a:r>
              <a:rPr lang="en-US" dirty="0"/>
              <a:t>microServiceBus.com is NOT an IoT Hub, but extends and integrate with market leaders such as </a:t>
            </a:r>
            <a:r>
              <a:rPr lang="en-US" dirty="0">
                <a:solidFill>
                  <a:srgbClr val="FFFF00"/>
                </a:solidFill>
              </a:rPr>
              <a:t>Microsoft, Amazon and IBM</a:t>
            </a:r>
            <a:r>
              <a:rPr lang="en-US" dirty="0"/>
              <a:t>. Through microServiceBus.com you can even switch your devices from one IoT Hub to another, which can come critical in case of cloud data outage. </a:t>
            </a:r>
          </a:p>
          <a:p>
            <a:endParaRPr lang="en-US" sz="1200" dirty="0"/>
          </a:p>
        </p:txBody>
      </p:sp>
      <p:cxnSp>
        <p:nvCxnSpPr>
          <p:cNvPr id="12" name="Connector: Elbow 11">
            <a:extLst>
              <a:ext uri="{FF2B5EF4-FFF2-40B4-BE49-F238E27FC236}">
                <a16:creationId xmlns:a16="http://schemas.microsoft.com/office/drawing/2014/main" id="{D159C078-56BD-4929-9542-53FACECED7AD}"/>
              </a:ext>
            </a:extLst>
          </p:cNvPr>
          <p:cNvCxnSpPr>
            <a:cxnSpLocks/>
            <a:stCxn id="23" idx="4"/>
            <a:endCxn id="11" idx="0"/>
          </p:cNvCxnSpPr>
          <p:nvPr/>
        </p:nvCxnSpPr>
        <p:spPr>
          <a:xfrm rot="5400000">
            <a:off x="6173069" y="3358157"/>
            <a:ext cx="747234" cy="1090220"/>
          </a:xfrm>
          <a:prstGeom prst="bentConnector3">
            <a:avLst/>
          </a:prstGeom>
          <a:ln w="38100">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6018437B-DD2E-4A2E-8A9A-6F1C49178B22}"/>
              </a:ext>
            </a:extLst>
          </p:cNvPr>
          <p:cNvSpPr/>
          <p:nvPr/>
        </p:nvSpPr>
        <p:spPr>
          <a:xfrm>
            <a:off x="1262744"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0" name="Rectangle 19">
            <a:extLst>
              <a:ext uri="{FF2B5EF4-FFF2-40B4-BE49-F238E27FC236}">
                <a16:creationId xmlns:a16="http://schemas.microsoft.com/office/drawing/2014/main" id="{4477FF4D-7630-441B-87BE-9B5123EBCF64}"/>
              </a:ext>
            </a:extLst>
          </p:cNvPr>
          <p:cNvSpPr/>
          <p:nvPr/>
        </p:nvSpPr>
        <p:spPr>
          <a:xfrm>
            <a:off x="1354778" y="2309195"/>
            <a:ext cx="1615931" cy="646331"/>
          </a:xfrm>
          <a:prstGeom prst="rect">
            <a:avLst/>
          </a:prstGeom>
        </p:spPr>
        <p:txBody>
          <a:bodyPr wrap="square">
            <a:spAutoFit/>
          </a:bodyPr>
          <a:lstStyle/>
          <a:p>
            <a:pPr algn="ctr"/>
            <a:r>
              <a:rPr lang="en-US" dirty="0"/>
              <a:t>Hardware independence </a:t>
            </a:r>
          </a:p>
        </p:txBody>
      </p:sp>
      <p:sp>
        <p:nvSpPr>
          <p:cNvPr id="21" name="Oval 20">
            <a:extLst>
              <a:ext uri="{FF2B5EF4-FFF2-40B4-BE49-F238E27FC236}">
                <a16:creationId xmlns:a16="http://schemas.microsoft.com/office/drawing/2014/main" id="{2F9391FB-402F-4854-A0C9-95E08C8620F5}"/>
              </a:ext>
            </a:extLst>
          </p:cNvPr>
          <p:cNvSpPr/>
          <p:nvPr/>
        </p:nvSpPr>
        <p:spPr>
          <a:xfrm>
            <a:off x="3727270" y="1766882"/>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2" name="Rectangle 21">
            <a:extLst>
              <a:ext uri="{FF2B5EF4-FFF2-40B4-BE49-F238E27FC236}">
                <a16:creationId xmlns:a16="http://schemas.microsoft.com/office/drawing/2014/main" id="{C653AE49-F3BC-47AF-83B8-265A251C1C00}"/>
              </a:ext>
            </a:extLst>
          </p:cNvPr>
          <p:cNvSpPr/>
          <p:nvPr/>
        </p:nvSpPr>
        <p:spPr>
          <a:xfrm>
            <a:off x="3811165" y="2306485"/>
            <a:ext cx="1669924" cy="646331"/>
          </a:xfrm>
          <a:prstGeom prst="rect">
            <a:avLst/>
          </a:prstGeom>
        </p:spPr>
        <p:txBody>
          <a:bodyPr wrap="square">
            <a:spAutoFit/>
          </a:bodyPr>
          <a:lstStyle/>
          <a:p>
            <a:pPr algn="ctr"/>
            <a:r>
              <a:rPr lang="en-US" dirty="0"/>
              <a:t>Platform independence</a:t>
            </a:r>
          </a:p>
        </p:txBody>
      </p:sp>
      <p:sp>
        <p:nvSpPr>
          <p:cNvPr id="23" name="Oval 22">
            <a:extLst>
              <a:ext uri="{FF2B5EF4-FFF2-40B4-BE49-F238E27FC236}">
                <a16:creationId xmlns:a16="http://schemas.microsoft.com/office/drawing/2014/main" id="{09AE0491-E251-4776-B3E5-76D81CD8CB9A}"/>
              </a:ext>
            </a:extLst>
          </p:cNvPr>
          <p:cNvSpPr/>
          <p:nvPr/>
        </p:nvSpPr>
        <p:spPr>
          <a:xfrm>
            <a:off x="6191796" y="1729650"/>
            <a:ext cx="1800000" cy="1800000"/>
          </a:xfrm>
          <a:prstGeom prst="ellipse">
            <a:avLst/>
          </a:prstGeom>
          <a:noFill/>
          <a:ln w="38100">
            <a:solidFill>
              <a:schemeClr val="tx1"/>
            </a:solidFill>
          </a:ln>
          <a:effectLst>
            <a:glow rad="165100">
              <a:schemeClr val="accent4">
                <a:lumMod val="20000"/>
                <a:lumOff val="80000"/>
                <a:alpha val="5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4" name="Rectangle 23">
            <a:extLst>
              <a:ext uri="{FF2B5EF4-FFF2-40B4-BE49-F238E27FC236}">
                <a16:creationId xmlns:a16="http://schemas.microsoft.com/office/drawing/2014/main" id="{10125AC7-50CA-450A-B9F9-D3BC91D0DBCC}"/>
              </a:ext>
            </a:extLst>
          </p:cNvPr>
          <p:cNvSpPr/>
          <p:nvPr/>
        </p:nvSpPr>
        <p:spPr>
          <a:xfrm>
            <a:off x="6241996" y="2306485"/>
            <a:ext cx="1721979" cy="646331"/>
          </a:xfrm>
          <a:prstGeom prst="rect">
            <a:avLst/>
          </a:prstGeom>
        </p:spPr>
        <p:txBody>
          <a:bodyPr wrap="square">
            <a:spAutoFit/>
          </a:bodyPr>
          <a:lstStyle/>
          <a:p>
            <a:pPr algn="ctr"/>
            <a:r>
              <a:rPr lang="en-US" dirty="0"/>
              <a:t>Cloud vendor independence</a:t>
            </a:r>
          </a:p>
        </p:txBody>
      </p:sp>
      <p:sp>
        <p:nvSpPr>
          <p:cNvPr id="25" name="Oval 24">
            <a:extLst>
              <a:ext uri="{FF2B5EF4-FFF2-40B4-BE49-F238E27FC236}">
                <a16:creationId xmlns:a16="http://schemas.microsoft.com/office/drawing/2014/main" id="{1626BCCF-0DE4-40A2-A7A8-7C8CCE9853C7}"/>
              </a:ext>
            </a:extLst>
          </p:cNvPr>
          <p:cNvSpPr/>
          <p:nvPr/>
        </p:nvSpPr>
        <p:spPr>
          <a:xfrm>
            <a:off x="8656322"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7" name="Rectangle 26">
            <a:extLst>
              <a:ext uri="{FF2B5EF4-FFF2-40B4-BE49-F238E27FC236}">
                <a16:creationId xmlns:a16="http://schemas.microsoft.com/office/drawing/2014/main" id="{16A9B4EC-98FD-4EA1-9002-76B3E02C8B90}"/>
              </a:ext>
            </a:extLst>
          </p:cNvPr>
          <p:cNvSpPr/>
          <p:nvPr/>
        </p:nvSpPr>
        <p:spPr>
          <a:xfrm>
            <a:off x="8656322" y="2437922"/>
            <a:ext cx="1811047" cy="369332"/>
          </a:xfrm>
          <a:prstGeom prst="rect">
            <a:avLst/>
          </a:prstGeom>
        </p:spPr>
        <p:txBody>
          <a:bodyPr wrap="square">
            <a:spAutoFit/>
          </a:bodyPr>
          <a:lstStyle/>
          <a:p>
            <a:pPr algn="ctr"/>
            <a:r>
              <a:rPr lang="en-US" dirty="0"/>
              <a:t>Integration</a:t>
            </a:r>
          </a:p>
        </p:txBody>
      </p:sp>
      <p:pic>
        <p:nvPicPr>
          <p:cNvPr id="14" name="Picture 13">
            <a:extLst>
              <a:ext uri="{FF2B5EF4-FFF2-40B4-BE49-F238E27FC236}">
                <a16:creationId xmlns:a16="http://schemas.microsoft.com/office/drawing/2014/main" id="{215A4949-52A7-4930-8201-F5E47B7DDAD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1405" y="365125"/>
            <a:ext cx="879667" cy="721991"/>
          </a:xfrm>
          <a:prstGeom prst="rect">
            <a:avLst/>
          </a:prstGeom>
        </p:spPr>
      </p:pic>
    </p:spTree>
    <p:extLst>
      <p:ext uri="{BB962C8B-B14F-4D97-AF65-F5344CB8AC3E}">
        <p14:creationId xmlns:p14="http://schemas.microsoft.com/office/powerpoint/2010/main" val="31267252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up)">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xit" presetSubtype="0" fill="hold" grpId="1" nodeType="clickEffect">
                                  <p:stCondLst>
                                    <p:cond delay="0"/>
                                  </p:stCondLst>
                                  <p:childTnLst>
                                    <p:animEffect transition="out" filter="fade">
                                      <p:cBhvr>
                                        <p:cTn id="15" dur="500"/>
                                        <p:tgtEl>
                                          <p:spTgt spid="11"/>
                                        </p:tgtEl>
                                      </p:cBhvr>
                                    </p:animEffect>
                                    <p:set>
                                      <p:cBhvr>
                                        <p:cTn id="16" dur="1" fill="hold">
                                          <p:stCondLst>
                                            <p:cond delay="499"/>
                                          </p:stCondLst>
                                        </p:cTn>
                                        <p:tgtEl>
                                          <p:spTgt spid="11"/>
                                        </p:tgtEl>
                                        <p:attrNameLst>
                                          <p:attrName>style.visibility</p:attrName>
                                        </p:attrNameLst>
                                      </p:cBhvr>
                                      <p:to>
                                        <p:strVal val="hidden"/>
                                      </p:to>
                                    </p:set>
                                  </p:childTnLst>
                                </p:cTn>
                              </p:par>
                            </p:childTnLst>
                          </p:cTn>
                        </p:par>
                        <p:par>
                          <p:cTn id="17" fill="hold">
                            <p:stCondLst>
                              <p:cond delay="500"/>
                            </p:stCondLst>
                            <p:childTnLst>
                              <p:par>
                                <p:cTn id="18" presetID="22" presetClass="exit" presetSubtype="4" fill="hold" nodeType="afterEffect">
                                  <p:stCondLst>
                                    <p:cond delay="0"/>
                                  </p:stCondLst>
                                  <p:childTnLst>
                                    <p:animEffect transition="out" filter="wipe(down)">
                                      <p:cBhvr>
                                        <p:cTn id="19" dur="250"/>
                                        <p:tgtEl>
                                          <p:spTgt spid="12"/>
                                        </p:tgtEl>
                                      </p:cBhvr>
                                    </p:animEffect>
                                    <p:set>
                                      <p:cBhvr>
                                        <p:cTn id="20" dur="1" fill="hold">
                                          <p:stCondLst>
                                            <p:cond delay="24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B83CD8-EB1D-459B-9151-D84B72C26C24}"/>
              </a:ext>
            </a:extLst>
          </p:cNvPr>
          <p:cNvSpPr>
            <a:spLocks noGrp="1"/>
          </p:cNvSpPr>
          <p:nvPr>
            <p:ph type="title"/>
          </p:nvPr>
        </p:nvSpPr>
        <p:spPr>
          <a:xfrm>
            <a:off x="1747318" y="365125"/>
            <a:ext cx="9606481" cy="1325563"/>
          </a:xfrm>
        </p:spPr>
        <p:txBody>
          <a:bodyPr>
            <a:normAutofit/>
          </a:bodyPr>
          <a:lstStyle/>
          <a:p>
            <a:r>
              <a:rPr lang="en-US" sz="4000" b="1" dirty="0">
                <a:solidFill>
                  <a:schemeClr val="tx1"/>
                </a:solidFill>
              </a:rPr>
              <a:t>microServiceBus.com - Device Management </a:t>
            </a:r>
          </a:p>
        </p:txBody>
      </p:sp>
      <p:sp>
        <p:nvSpPr>
          <p:cNvPr id="11" name="TextBox 10">
            <a:extLst>
              <a:ext uri="{FF2B5EF4-FFF2-40B4-BE49-F238E27FC236}">
                <a16:creationId xmlns:a16="http://schemas.microsoft.com/office/drawing/2014/main" id="{9FEE3FF5-C2F3-4916-BB62-9AC77484084B}"/>
              </a:ext>
            </a:extLst>
          </p:cNvPr>
          <p:cNvSpPr txBox="1"/>
          <p:nvPr/>
        </p:nvSpPr>
        <p:spPr>
          <a:xfrm>
            <a:off x="1865014" y="4213513"/>
            <a:ext cx="8378443" cy="2308324"/>
          </a:xfrm>
          <a:prstGeom prst="rect">
            <a:avLst/>
          </a:prstGeom>
          <a:noFill/>
        </p:spPr>
        <p:txBody>
          <a:bodyPr wrap="square" rtlCol="0">
            <a:spAutoFit/>
          </a:bodyPr>
          <a:lstStyle/>
          <a:p>
            <a:r>
              <a:rPr lang="en-US" dirty="0"/>
              <a:t>microServiceBus.com extends to a complete Application Lifecycle Management system through its integration with 3rd party vendors, and continues to expand through its extensive API.</a:t>
            </a:r>
          </a:p>
          <a:p>
            <a:endParaRPr lang="en-US" dirty="0"/>
          </a:p>
          <a:p>
            <a:r>
              <a:rPr lang="en-US" dirty="0"/>
              <a:t>As of today, microServiceBus.com integrate with </a:t>
            </a:r>
            <a:r>
              <a:rPr lang="en-US" dirty="0">
                <a:solidFill>
                  <a:srgbClr val="FFFF00"/>
                </a:solidFill>
              </a:rPr>
              <a:t>ServiceNow</a:t>
            </a:r>
            <a:r>
              <a:rPr lang="en-US" dirty="0"/>
              <a:t> for Issue, problem- and release management, allowing customers to align their existing service desk and Nightly Operation Center (NOC). Integration with </a:t>
            </a:r>
            <a:r>
              <a:rPr lang="en-US" dirty="0">
                <a:solidFill>
                  <a:srgbClr val="FFFF00"/>
                </a:solidFill>
              </a:rPr>
              <a:t>Cisco Jasper </a:t>
            </a:r>
            <a:r>
              <a:rPr lang="en-US" dirty="0"/>
              <a:t>makes way for a compete SIM card management, along with </a:t>
            </a:r>
            <a:r>
              <a:rPr lang="en-US" dirty="0">
                <a:solidFill>
                  <a:srgbClr val="FFFF00"/>
                </a:solidFill>
              </a:rPr>
              <a:t>GitHub, Azure DevOps, Active Directory </a:t>
            </a:r>
            <a:r>
              <a:rPr lang="en-US" dirty="0"/>
              <a:t>and more.</a:t>
            </a:r>
          </a:p>
        </p:txBody>
      </p:sp>
      <p:cxnSp>
        <p:nvCxnSpPr>
          <p:cNvPr id="12" name="Connector: Elbow 11">
            <a:extLst>
              <a:ext uri="{FF2B5EF4-FFF2-40B4-BE49-F238E27FC236}">
                <a16:creationId xmlns:a16="http://schemas.microsoft.com/office/drawing/2014/main" id="{D159C078-56BD-4929-9542-53FACECED7AD}"/>
              </a:ext>
            </a:extLst>
          </p:cNvPr>
          <p:cNvCxnSpPr>
            <a:cxnSpLocks/>
            <a:stCxn id="25" idx="4"/>
            <a:endCxn id="11" idx="0"/>
          </p:cNvCxnSpPr>
          <p:nvPr/>
        </p:nvCxnSpPr>
        <p:spPr>
          <a:xfrm rot="5400000">
            <a:off x="7463348" y="2120538"/>
            <a:ext cx="683863" cy="3502086"/>
          </a:xfrm>
          <a:prstGeom prst="bentConnector3">
            <a:avLst/>
          </a:prstGeom>
          <a:ln w="38100">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6D8BEF3B-616C-4D00-999B-B30D954814E5}"/>
              </a:ext>
            </a:extLst>
          </p:cNvPr>
          <p:cNvSpPr/>
          <p:nvPr/>
        </p:nvSpPr>
        <p:spPr>
          <a:xfrm>
            <a:off x="1262744"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0" name="Rectangle 19">
            <a:extLst>
              <a:ext uri="{FF2B5EF4-FFF2-40B4-BE49-F238E27FC236}">
                <a16:creationId xmlns:a16="http://schemas.microsoft.com/office/drawing/2014/main" id="{E8D30669-EF6B-4C43-A062-2D406851149E}"/>
              </a:ext>
            </a:extLst>
          </p:cNvPr>
          <p:cNvSpPr/>
          <p:nvPr/>
        </p:nvSpPr>
        <p:spPr>
          <a:xfrm>
            <a:off x="1354778" y="2309195"/>
            <a:ext cx="1615931" cy="646331"/>
          </a:xfrm>
          <a:prstGeom prst="rect">
            <a:avLst/>
          </a:prstGeom>
        </p:spPr>
        <p:txBody>
          <a:bodyPr wrap="square">
            <a:spAutoFit/>
          </a:bodyPr>
          <a:lstStyle/>
          <a:p>
            <a:pPr algn="ctr"/>
            <a:r>
              <a:rPr lang="en-US" dirty="0"/>
              <a:t>Hardware independence </a:t>
            </a:r>
          </a:p>
        </p:txBody>
      </p:sp>
      <p:sp>
        <p:nvSpPr>
          <p:cNvPr id="21" name="Oval 20">
            <a:extLst>
              <a:ext uri="{FF2B5EF4-FFF2-40B4-BE49-F238E27FC236}">
                <a16:creationId xmlns:a16="http://schemas.microsoft.com/office/drawing/2014/main" id="{A506261A-2C4D-4FDA-8695-474B9AC66D3B}"/>
              </a:ext>
            </a:extLst>
          </p:cNvPr>
          <p:cNvSpPr/>
          <p:nvPr/>
        </p:nvSpPr>
        <p:spPr>
          <a:xfrm>
            <a:off x="3727270" y="1766882"/>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2" name="Rectangle 21">
            <a:extLst>
              <a:ext uri="{FF2B5EF4-FFF2-40B4-BE49-F238E27FC236}">
                <a16:creationId xmlns:a16="http://schemas.microsoft.com/office/drawing/2014/main" id="{1887008D-BCEB-479C-8774-B423DE1F10FD}"/>
              </a:ext>
            </a:extLst>
          </p:cNvPr>
          <p:cNvSpPr/>
          <p:nvPr/>
        </p:nvSpPr>
        <p:spPr>
          <a:xfrm>
            <a:off x="3801930" y="2306485"/>
            <a:ext cx="1669924" cy="646331"/>
          </a:xfrm>
          <a:prstGeom prst="rect">
            <a:avLst/>
          </a:prstGeom>
        </p:spPr>
        <p:txBody>
          <a:bodyPr wrap="square">
            <a:spAutoFit/>
          </a:bodyPr>
          <a:lstStyle/>
          <a:p>
            <a:pPr algn="ctr"/>
            <a:r>
              <a:rPr lang="en-US" dirty="0"/>
              <a:t>Platform independence</a:t>
            </a:r>
          </a:p>
        </p:txBody>
      </p:sp>
      <p:sp>
        <p:nvSpPr>
          <p:cNvPr id="23" name="Oval 22">
            <a:extLst>
              <a:ext uri="{FF2B5EF4-FFF2-40B4-BE49-F238E27FC236}">
                <a16:creationId xmlns:a16="http://schemas.microsoft.com/office/drawing/2014/main" id="{EF864C74-3705-4A59-B936-D5EDBEE0A2E6}"/>
              </a:ext>
            </a:extLst>
          </p:cNvPr>
          <p:cNvSpPr/>
          <p:nvPr/>
        </p:nvSpPr>
        <p:spPr>
          <a:xfrm>
            <a:off x="6191796"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4" name="Rectangle 23">
            <a:extLst>
              <a:ext uri="{FF2B5EF4-FFF2-40B4-BE49-F238E27FC236}">
                <a16:creationId xmlns:a16="http://schemas.microsoft.com/office/drawing/2014/main" id="{F4D6DBC2-A3E5-4E21-9826-60919DEE8206}"/>
              </a:ext>
            </a:extLst>
          </p:cNvPr>
          <p:cNvSpPr/>
          <p:nvPr/>
        </p:nvSpPr>
        <p:spPr>
          <a:xfrm>
            <a:off x="6241996" y="2306485"/>
            <a:ext cx="1721979" cy="646331"/>
          </a:xfrm>
          <a:prstGeom prst="rect">
            <a:avLst/>
          </a:prstGeom>
        </p:spPr>
        <p:txBody>
          <a:bodyPr wrap="square">
            <a:spAutoFit/>
          </a:bodyPr>
          <a:lstStyle/>
          <a:p>
            <a:pPr algn="ctr"/>
            <a:r>
              <a:rPr lang="en-US" dirty="0"/>
              <a:t>Cloud vendor independence</a:t>
            </a:r>
          </a:p>
        </p:txBody>
      </p:sp>
      <p:sp>
        <p:nvSpPr>
          <p:cNvPr id="25" name="Oval 24">
            <a:extLst>
              <a:ext uri="{FF2B5EF4-FFF2-40B4-BE49-F238E27FC236}">
                <a16:creationId xmlns:a16="http://schemas.microsoft.com/office/drawing/2014/main" id="{CE790DD0-F74A-4710-A42D-09AA3123375B}"/>
              </a:ext>
            </a:extLst>
          </p:cNvPr>
          <p:cNvSpPr/>
          <p:nvPr/>
        </p:nvSpPr>
        <p:spPr>
          <a:xfrm>
            <a:off x="8656322" y="1729650"/>
            <a:ext cx="1800000" cy="1800000"/>
          </a:xfrm>
          <a:prstGeom prst="ellipse">
            <a:avLst/>
          </a:prstGeom>
          <a:noFill/>
          <a:ln w="38100">
            <a:solidFill>
              <a:schemeClr val="tx1"/>
            </a:solidFill>
          </a:ln>
          <a:effectLst>
            <a:glow rad="165100">
              <a:schemeClr val="accent4">
                <a:lumMod val="20000"/>
                <a:lumOff val="80000"/>
                <a:alpha val="5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6" name="Rectangle 25">
            <a:extLst>
              <a:ext uri="{FF2B5EF4-FFF2-40B4-BE49-F238E27FC236}">
                <a16:creationId xmlns:a16="http://schemas.microsoft.com/office/drawing/2014/main" id="{4C18ECBC-18C6-4AC5-8D60-31D4113772E7}"/>
              </a:ext>
            </a:extLst>
          </p:cNvPr>
          <p:cNvSpPr/>
          <p:nvPr/>
        </p:nvSpPr>
        <p:spPr>
          <a:xfrm>
            <a:off x="8656322" y="2437922"/>
            <a:ext cx="1811047" cy="369332"/>
          </a:xfrm>
          <a:prstGeom prst="rect">
            <a:avLst/>
          </a:prstGeom>
        </p:spPr>
        <p:txBody>
          <a:bodyPr wrap="square">
            <a:spAutoFit/>
          </a:bodyPr>
          <a:lstStyle/>
          <a:p>
            <a:pPr algn="ctr"/>
            <a:r>
              <a:rPr lang="en-US" dirty="0"/>
              <a:t>Integration</a:t>
            </a:r>
          </a:p>
        </p:txBody>
      </p:sp>
      <p:pic>
        <p:nvPicPr>
          <p:cNvPr id="14" name="Picture 13">
            <a:extLst>
              <a:ext uri="{FF2B5EF4-FFF2-40B4-BE49-F238E27FC236}">
                <a16:creationId xmlns:a16="http://schemas.microsoft.com/office/drawing/2014/main" id="{9EE8548A-BE33-4011-9845-DB453E70FBE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1405" y="365125"/>
            <a:ext cx="879667" cy="721991"/>
          </a:xfrm>
          <a:prstGeom prst="rect">
            <a:avLst/>
          </a:prstGeom>
        </p:spPr>
      </p:pic>
    </p:spTree>
    <p:extLst>
      <p:ext uri="{BB962C8B-B14F-4D97-AF65-F5344CB8AC3E}">
        <p14:creationId xmlns:p14="http://schemas.microsoft.com/office/powerpoint/2010/main" val="21597834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up)">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xit" presetSubtype="0" fill="hold" grpId="1" nodeType="clickEffect">
                                  <p:stCondLst>
                                    <p:cond delay="0"/>
                                  </p:stCondLst>
                                  <p:childTnLst>
                                    <p:animEffect transition="out" filter="fade">
                                      <p:cBhvr>
                                        <p:cTn id="15" dur="500"/>
                                        <p:tgtEl>
                                          <p:spTgt spid="11"/>
                                        </p:tgtEl>
                                      </p:cBhvr>
                                    </p:animEffect>
                                    <p:set>
                                      <p:cBhvr>
                                        <p:cTn id="16" dur="1" fill="hold">
                                          <p:stCondLst>
                                            <p:cond delay="499"/>
                                          </p:stCondLst>
                                        </p:cTn>
                                        <p:tgtEl>
                                          <p:spTgt spid="11"/>
                                        </p:tgtEl>
                                        <p:attrNameLst>
                                          <p:attrName>style.visibility</p:attrName>
                                        </p:attrNameLst>
                                      </p:cBhvr>
                                      <p:to>
                                        <p:strVal val="hidden"/>
                                      </p:to>
                                    </p:set>
                                  </p:childTnLst>
                                </p:cTn>
                              </p:par>
                            </p:childTnLst>
                          </p:cTn>
                        </p:par>
                        <p:par>
                          <p:cTn id="17" fill="hold">
                            <p:stCondLst>
                              <p:cond delay="500"/>
                            </p:stCondLst>
                            <p:childTnLst>
                              <p:par>
                                <p:cTn id="18" presetID="22" presetClass="exit" presetSubtype="4" fill="hold" nodeType="afterEffect">
                                  <p:stCondLst>
                                    <p:cond delay="0"/>
                                  </p:stCondLst>
                                  <p:childTnLst>
                                    <p:animEffect transition="out" filter="wipe(down)">
                                      <p:cBhvr>
                                        <p:cTn id="19" dur="250"/>
                                        <p:tgtEl>
                                          <p:spTgt spid="12"/>
                                        </p:tgtEl>
                                      </p:cBhvr>
                                    </p:animEffect>
                                    <p:set>
                                      <p:cBhvr>
                                        <p:cTn id="20" dur="1" fill="hold">
                                          <p:stCondLst>
                                            <p:cond delay="24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Axians – </a:t>
            </a:r>
            <a:r>
              <a:rPr lang="sv-SE" b="1" dirty="0">
                <a:solidFill>
                  <a:srgbClr val="FF0000"/>
                </a:solidFill>
              </a:rPr>
              <a:t>IoT</a:t>
            </a:r>
            <a:r>
              <a:rPr lang="sv-SE" dirty="0"/>
              <a:t> Operation</a:t>
            </a:r>
            <a:endParaRPr lang="en-US" dirty="0"/>
          </a:p>
        </p:txBody>
      </p:sp>
      <p:grpSp>
        <p:nvGrpSpPr>
          <p:cNvPr id="1029" name="Group 1028">
            <a:extLst>
              <a:ext uri="{FF2B5EF4-FFF2-40B4-BE49-F238E27FC236}">
                <a16:creationId xmlns:a16="http://schemas.microsoft.com/office/drawing/2014/main" id="{240BDCA2-26D6-4FD6-9AFA-BF2FF6B8B65F}"/>
              </a:ext>
            </a:extLst>
          </p:cNvPr>
          <p:cNvGrpSpPr/>
          <p:nvPr/>
        </p:nvGrpSpPr>
        <p:grpSpPr>
          <a:xfrm>
            <a:off x="4800751" y="1152632"/>
            <a:ext cx="1520944" cy="4831311"/>
            <a:chOff x="4800751" y="1152632"/>
            <a:chExt cx="1520944" cy="4831311"/>
          </a:xfrm>
        </p:grpSpPr>
        <p:sp>
          <p:nvSpPr>
            <p:cNvPr id="51" name="Rectangle 50"/>
            <p:cNvSpPr/>
            <p:nvPr/>
          </p:nvSpPr>
          <p:spPr>
            <a:xfrm>
              <a:off x="4800751" y="1152632"/>
              <a:ext cx="1520944" cy="483131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2" name="Picture 5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21389" y="3065004"/>
              <a:ext cx="879667" cy="721991"/>
            </a:xfrm>
            <a:prstGeom prst="rect">
              <a:avLst/>
            </a:prstGeom>
          </p:spPr>
        </p:pic>
        <p:sp>
          <p:nvSpPr>
            <p:cNvPr id="66" name="TextBox 65"/>
            <p:cNvSpPr txBox="1"/>
            <p:nvPr/>
          </p:nvSpPr>
          <p:spPr>
            <a:xfrm>
              <a:off x="4806507" y="1168072"/>
              <a:ext cx="151518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Devic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Mgmt</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7" name="Group 1026">
            <a:extLst>
              <a:ext uri="{FF2B5EF4-FFF2-40B4-BE49-F238E27FC236}">
                <a16:creationId xmlns:a16="http://schemas.microsoft.com/office/drawing/2014/main" id="{4247E955-95C6-4803-9CFE-53A8E9E77630}"/>
              </a:ext>
            </a:extLst>
          </p:cNvPr>
          <p:cNvGrpSpPr/>
          <p:nvPr/>
        </p:nvGrpSpPr>
        <p:grpSpPr>
          <a:xfrm>
            <a:off x="7614300" y="2880338"/>
            <a:ext cx="3739500" cy="1499510"/>
            <a:chOff x="7614300" y="2880338"/>
            <a:chExt cx="3739500" cy="1499510"/>
          </a:xfrm>
        </p:grpSpPr>
        <p:sp>
          <p:nvSpPr>
            <p:cNvPr id="112" name="Rectangle 111">
              <a:extLst>
                <a:ext uri="{FF2B5EF4-FFF2-40B4-BE49-F238E27FC236}">
                  <a16:creationId xmlns:a16="http://schemas.microsoft.com/office/drawing/2014/main" id="{45864581-913C-4B90-B531-FB2920590272}"/>
                </a:ext>
              </a:extLst>
            </p:cNvPr>
            <p:cNvSpPr/>
            <p:nvPr/>
          </p:nvSpPr>
          <p:spPr>
            <a:xfrm>
              <a:off x="7687346" y="3284404"/>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13" name="Picture 112">
              <a:extLst>
                <a:ext uri="{FF2B5EF4-FFF2-40B4-BE49-F238E27FC236}">
                  <a16:creationId xmlns:a16="http://schemas.microsoft.com/office/drawing/2014/main" id="{6DA0732B-EE61-4D1C-83C3-E5CBE8F99033}"/>
                </a:ext>
              </a:extLst>
            </p:cNvPr>
            <p:cNvPicPr>
              <a:picLocks noChangeAspect="1"/>
            </p:cNvPicPr>
            <p:nvPr/>
          </p:nvPicPr>
          <p:blipFill>
            <a:blip r:embed="rId3"/>
            <a:stretch>
              <a:fillRect/>
            </a:stretch>
          </p:blipFill>
          <p:spPr>
            <a:xfrm>
              <a:off x="9631079" y="3895711"/>
              <a:ext cx="354135" cy="343920"/>
            </a:xfrm>
            <a:prstGeom prst="rect">
              <a:avLst/>
            </a:prstGeom>
          </p:spPr>
        </p:pic>
        <p:pic>
          <p:nvPicPr>
            <p:cNvPr id="114" name="Picture 113">
              <a:extLst>
                <a:ext uri="{FF2B5EF4-FFF2-40B4-BE49-F238E27FC236}">
                  <a16:creationId xmlns:a16="http://schemas.microsoft.com/office/drawing/2014/main" id="{F361A9DB-A270-4B6A-9A3D-AD43731B9907}"/>
                </a:ext>
              </a:extLst>
            </p:cNvPr>
            <p:cNvPicPr>
              <a:picLocks noChangeAspect="1"/>
            </p:cNvPicPr>
            <p:nvPr/>
          </p:nvPicPr>
          <p:blipFill>
            <a:blip r:embed="rId3"/>
            <a:stretch>
              <a:fillRect/>
            </a:stretch>
          </p:blipFill>
          <p:spPr>
            <a:xfrm>
              <a:off x="9631078" y="3463658"/>
              <a:ext cx="354135" cy="343920"/>
            </a:xfrm>
            <a:prstGeom prst="rect">
              <a:avLst/>
            </a:prstGeom>
          </p:spPr>
        </p:pic>
        <p:pic>
          <p:nvPicPr>
            <p:cNvPr id="115" name="Picture 114">
              <a:extLst>
                <a:ext uri="{FF2B5EF4-FFF2-40B4-BE49-F238E27FC236}">
                  <a16:creationId xmlns:a16="http://schemas.microsoft.com/office/drawing/2014/main" id="{0C8E72F0-2700-4E86-83B1-543727E45984}"/>
                </a:ext>
              </a:extLst>
            </p:cNvPr>
            <p:cNvPicPr>
              <a:picLocks noChangeAspect="1"/>
            </p:cNvPicPr>
            <p:nvPr/>
          </p:nvPicPr>
          <p:blipFill>
            <a:blip r:embed="rId3"/>
            <a:stretch>
              <a:fillRect/>
            </a:stretch>
          </p:blipFill>
          <p:spPr>
            <a:xfrm>
              <a:off x="9631077" y="3031605"/>
              <a:ext cx="354135" cy="343920"/>
            </a:xfrm>
            <a:prstGeom prst="rect">
              <a:avLst/>
            </a:prstGeom>
          </p:spPr>
        </p:pic>
        <p:pic>
          <p:nvPicPr>
            <p:cNvPr id="116" name="Picture 115">
              <a:extLst>
                <a:ext uri="{FF2B5EF4-FFF2-40B4-BE49-F238E27FC236}">
                  <a16:creationId xmlns:a16="http://schemas.microsoft.com/office/drawing/2014/main" id="{CF1BB178-83FC-4BA2-B790-87B2D0E2210E}"/>
                </a:ext>
              </a:extLst>
            </p:cNvPr>
            <p:cNvPicPr>
              <a:picLocks noChangeAspect="1"/>
            </p:cNvPicPr>
            <p:nvPr/>
          </p:nvPicPr>
          <p:blipFill>
            <a:blip r:embed="rId3"/>
            <a:stretch>
              <a:fillRect/>
            </a:stretch>
          </p:blipFill>
          <p:spPr>
            <a:xfrm>
              <a:off x="10066943" y="3895711"/>
              <a:ext cx="354135" cy="343920"/>
            </a:xfrm>
            <a:prstGeom prst="rect">
              <a:avLst/>
            </a:prstGeom>
          </p:spPr>
        </p:pic>
        <p:pic>
          <p:nvPicPr>
            <p:cNvPr id="117" name="Picture 116">
              <a:extLst>
                <a:ext uri="{FF2B5EF4-FFF2-40B4-BE49-F238E27FC236}">
                  <a16:creationId xmlns:a16="http://schemas.microsoft.com/office/drawing/2014/main" id="{EF9D3BA8-FCB5-4480-BF86-22B6E2F1C11F}"/>
                </a:ext>
              </a:extLst>
            </p:cNvPr>
            <p:cNvPicPr>
              <a:picLocks noChangeAspect="1"/>
            </p:cNvPicPr>
            <p:nvPr/>
          </p:nvPicPr>
          <p:blipFill>
            <a:blip r:embed="rId3"/>
            <a:stretch>
              <a:fillRect/>
            </a:stretch>
          </p:blipFill>
          <p:spPr>
            <a:xfrm>
              <a:off x="10066942" y="3463658"/>
              <a:ext cx="354135" cy="343920"/>
            </a:xfrm>
            <a:prstGeom prst="rect">
              <a:avLst/>
            </a:prstGeom>
          </p:spPr>
        </p:pic>
        <p:pic>
          <p:nvPicPr>
            <p:cNvPr id="118" name="Picture 117">
              <a:extLst>
                <a:ext uri="{FF2B5EF4-FFF2-40B4-BE49-F238E27FC236}">
                  <a16:creationId xmlns:a16="http://schemas.microsoft.com/office/drawing/2014/main" id="{503B7343-3F1D-4C2F-AEA4-16B1078387D7}"/>
                </a:ext>
              </a:extLst>
            </p:cNvPr>
            <p:cNvPicPr>
              <a:picLocks noChangeAspect="1"/>
            </p:cNvPicPr>
            <p:nvPr/>
          </p:nvPicPr>
          <p:blipFill>
            <a:blip r:embed="rId3"/>
            <a:stretch>
              <a:fillRect/>
            </a:stretch>
          </p:blipFill>
          <p:spPr>
            <a:xfrm>
              <a:off x="10066941" y="3031605"/>
              <a:ext cx="354135" cy="343920"/>
            </a:xfrm>
            <a:prstGeom prst="rect">
              <a:avLst/>
            </a:prstGeom>
          </p:spPr>
        </p:pic>
        <p:pic>
          <p:nvPicPr>
            <p:cNvPr id="119" name="Picture 118">
              <a:extLst>
                <a:ext uri="{FF2B5EF4-FFF2-40B4-BE49-F238E27FC236}">
                  <a16:creationId xmlns:a16="http://schemas.microsoft.com/office/drawing/2014/main" id="{9BF859DD-F7A2-4C81-8790-00311632C23E}"/>
                </a:ext>
              </a:extLst>
            </p:cNvPr>
            <p:cNvPicPr>
              <a:picLocks noChangeAspect="1"/>
            </p:cNvPicPr>
            <p:nvPr/>
          </p:nvPicPr>
          <p:blipFill>
            <a:blip r:embed="rId3"/>
            <a:stretch>
              <a:fillRect/>
            </a:stretch>
          </p:blipFill>
          <p:spPr>
            <a:xfrm>
              <a:off x="10502807" y="3895711"/>
              <a:ext cx="354135" cy="343920"/>
            </a:xfrm>
            <a:prstGeom prst="rect">
              <a:avLst/>
            </a:prstGeom>
          </p:spPr>
        </p:pic>
        <p:pic>
          <p:nvPicPr>
            <p:cNvPr id="120" name="Picture 119">
              <a:extLst>
                <a:ext uri="{FF2B5EF4-FFF2-40B4-BE49-F238E27FC236}">
                  <a16:creationId xmlns:a16="http://schemas.microsoft.com/office/drawing/2014/main" id="{70B17A51-4B80-48C8-8B22-0FB0F3235360}"/>
                </a:ext>
              </a:extLst>
            </p:cNvPr>
            <p:cNvPicPr>
              <a:picLocks noChangeAspect="1"/>
            </p:cNvPicPr>
            <p:nvPr/>
          </p:nvPicPr>
          <p:blipFill>
            <a:blip r:embed="rId3"/>
            <a:stretch>
              <a:fillRect/>
            </a:stretch>
          </p:blipFill>
          <p:spPr>
            <a:xfrm>
              <a:off x="10502806" y="3463658"/>
              <a:ext cx="354135" cy="343920"/>
            </a:xfrm>
            <a:prstGeom prst="rect">
              <a:avLst/>
            </a:prstGeom>
          </p:spPr>
        </p:pic>
        <p:pic>
          <p:nvPicPr>
            <p:cNvPr id="121" name="Picture 120">
              <a:extLst>
                <a:ext uri="{FF2B5EF4-FFF2-40B4-BE49-F238E27FC236}">
                  <a16:creationId xmlns:a16="http://schemas.microsoft.com/office/drawing/2014/main" id="{B9E9895A-7AD0-41F0-9C4C-E6623BEB99EA}"/>
                </a:ext>
              </a:extLst>
            </p:cNvPr>
            <p:cNvPicPr>
              <a:picLocks noChangeAspect="1"/>
            </p:cNvPicPr>
            <p:nvPr/>
          </p:nvPicPr>
          <p:blipFill>
            <a:blip r:embed="rId3"/>
            <a:stretch>
              <a:fillRect/>
            </a:stretch>
          </p:blipFill>
          <p:spPr>
            <a:xfrm>
              <a:off x="10502805" y="3031605"/>
              <a:ext cx="354135" cy="343920"/>
            </a:xfrm>
            <a:prstGeom prst="rect">
              <a:avLst/>
            </a:prstGeom>
          </p:spPr>
        </p:pic>
        <p:pic>
          <p:nvPicPr>
            <p:cNvPr id="122" name="Picture 121">
              <a:extLst>
                <a:ext uri="{FF2B5EF4-FFF2-40B4-BE49-F238E27FC236}">
                  <a16:creationId xmlns:a16="http://schemas.microsoft.com/office/drawing/2014/main" id="{B6F70FE5-27CD-40F2-A50E-5229267A5376}"/>
                </a:ext>
              </a:extLst>
            </p:cNvPr>
            <p:cNvPicPr>
              <a:picLocks noChangeAspect="1"/>
            </p:cNvPicPr>
            <p:nvPr/>
          </p:nvPicPr>
          <p:blipFill>
            <a:blip r:embed="rId3"/>
            <a:stretch>
              <a:fillRect/>
            </a:stretch>
          </p:blipFill>
          <p:spPr>
            <a:xfrm>
              <a:off x="10938671" y="3895711"/>
              <a:ext cx="354135" cy="343920"/>
            </a:xfrm>
            <a:prstGeom prst="rect">
              <a:avLst/>
            </a:prstGeom>
          </p:spPr>
        </p:pic>
        <p:pic>
          <p:nvPicPr>
            <p:cNvPr id="123" name="Picture 122">
              <a:extLst>
                <a:ext uri="{FF2B5EF4-FFF2-40B4-BE49-F238E27FC236}">
                  <a16:creationId xmlns:a16="http://schemas.microsoft.com/office/drawing/2014/main" id="{968389B7-EE9C-4F32-B0FF-D1E2A848D42B}"/>
                </a:ext>
              </a:extLst>
            </p:cNvPr>
            <p:cNvPicPr>
              <a:picLocks noChangeAspect="1"/>
            </p:cNvPicPr>
            <p:nvPr/>
          </p:nvPicPr>
          <p:blipFill>
            <a:blip r:embed="rId3"/>
            <a:stretch>
              <a:fillRect/>
            </a:stretch>
          </p:blipFill>
          <p:spPr>
            <a:xfrm>
              <a:off x="10938670" y="3463658"/>
              <a:ext cx="354135" cy="343920"/>
            </a:xfrm>
            <a:prstGeom prst="rect">
              <a:avLst/>
            </a:prstGeom>
          </p:spPr>
        </p:pic>
        <p:pic>
          <p:nvPicPr>
            <p:cNvPr id="124" name="Picture 123">
              <a:extLst>
                <a:ext uri="{FF2B5EF4-FFF2-40B4-BE49-F238E27FC236}">
                  <a16:creationId xmlns:a16="http://schemas.microsoft.com/office/drawing/2014/main" id="{E01ECDA3-9BA6-47B9-83CE-340618F723BC}"/>
                </a:ext>
              </a:extLst>
            </p:cNvPr>
            <p:cNvPicPr>
              <a:picLocks noChangeAspect="1"/>
            </p:cNvPicPr>
            <p:nvPr/>
          </p:nvPicPr>
          <p:blipFill>
            <a:blip r:embed="rId3"/>
            <a:stretch>
              <a:fillRect/>
            </a:stretch>
          </p:blipFill>
          <p:spPr>
            <a:xfrm>
              <a:off x="10938669" y="3031605"/>
              <a:ext cx="354135" cy="343920"/>
            </a:xfrm>
            <a:prstGeom prst="rect">
              <a:avLst/>
            </a:prstGeom>
          </p:spPr>
        </p:pic>
        <p:sp>
          <p:nvSpPr>
            <p:cNvPr id="125" name="Rectangle 124">
              <a:extLst>
                <a:ext uri="{FF2B5EF4-FFF2-40B4-BE49-F238E27FC236}">
                  <a16:creationId xmlns:a16="http://schemas.microsoft.com/office/drawing/2014/main" id="{C7ECC834-E963-4038-BB6E-9924343554FD}"/>
                </a:ext>
              </a:extLst>
            </p:cNvPr>
            <p:cNvSpPr/>
            <p:nvPr/>
          </p:nvSpPr>
          <p:spPr>
            <a:xfrm>
              <a:off x="9566076" y="2895478"/>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6" name="Straight Arrow Connector 125">
              <a:extLst>
                <a:ext uri="{FF2B5EF4-FFF2-40B4-BE49-F238E27FC236}">
                  <a16:creationId xmlns:a16="http://schemas.microsoft.com/office/drawing/2014/main" id="{77177B09-C981-4444-96EA-9F85052E0FF8}"/>
                </a:ext>
              </a:extLst>
            </p:cNvPr>
            <p:cNvCxnSpPr>
              <a:stCxn id="112" idx="3"/>
              <a:endCxn id="125" idx="1"/>
            </p:cNvCxnSpPr>
            <p:nvPr/>
          </p:nvCxnSpPr>
          <p:spPr>
            <a:xfrm>
              <a:off x="8792246" y="3633654"/>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3" name="TextBox 142">
              <a:extLst>
                <a:ext uri="{FF2B5EF4-FFF2-40B4-BE49-F238E27FC236}">
                  <a16:creationId xmlns:a16="http://schemas.microsoft.com/office/drawing/2014/main" id="{C0EC3CDA-02A0-47C9-8C43-50F517E80E67}"/>
                </a:ext>
              </a:extLst>
            </p:cNvPr>
            <p:cNvSpPr txBox="1"/>
            <p:nvPr/>
          </p:nvSpPr>
          <p:spPr>
            <a:xfrm>
              <a:off x="7614300" y="2880338"/>
              <a:ext cx="1271502" cy="369332"/>
            </a:xfrm>
            <a:prstGeom prst="rect">
              <a:avLst/>
            </a:prstGeom>
            <a:noFill/>
          </p:spPr>
          <p:txBody>
            <a:bodyPr wrap="none" rtlCol="0">
              <a:spAutoFit/>
            </a:bodyPr>
            <a:lstStyle/>
            <a:p>
              <a:r>
                <a:rPr lang="sv-SE" dirty="0"/>
                <a:t>Customer B</a:t>
              </a:r>
              <a:endParaRPr lang="en-US" dirty="0"/>
            </a:p>
          </p:txBody>
        </p:sp>
        <p:pic>
          <p:nvPicPr>
            <p:cNvPr id="145" name="Picture 4" descr="Related image">
              <a:extLst>
                <a:ext uri="{FF2B5EF4-FFF2-40B4-BE49-F238E27FC236}">
                  <a16:creationId xmlns:a16="http://schemas.microsoft.com/office/drawing/2014/main" id="{2FBFACFD-2097-4971-817B-11CF759B7F6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23840" y="3797438"/>
              <a:ext cx="418541" cy="5064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8" name="Group 1027">
            <a:extLst>
              <a:ext uri="{FF2B5EF4-FFF2-40B4-BE49-F238E27FC236}">
                <a16:creationId xmlns:a16="http://schemas.microsoft.com/office/drawing/2014/main" id="{0CDE55AB-F524-4AFF-8F1E-304A555BFC43}"/>
              </a:ext>
            </a:extLst>
          </p:cNvPr>
          <p:cNvGrpSpPr/>
          <p:nvPr/>
        </p:nvGrpSpPr>
        <p:grpSpPr>
          <a:xfrm>
            <a:off x="7628563" y="4545087"/>
            <a:ext cx="3725237" cy="1486453"/>
            <a:chOff x="7628563" y="4545087"/>
            <a:chExt cx="3725237" cy="1486453"/>
          </a:xfrm>
        </p:grpSpPr>
        <p:sp>
          <p:nvSpPr>
            <p:cNvPr id="127" name="Rectangle 126">
              <a:extLst>
                <a:ext uri="{FF2B5EF4-FFF2-40B4-BE49-F238E27FC236}">
                  <a16:creationId xmlns:a16="http://schemas.microsoft.com/office/drawing/2014/main" id="{F580FFF3-D4BF-47F5-8541-D44196DE24B3}"/>
                </a:ext>
              </a:extLst>
            </p:cNvPr>
            <p:cNvSpPr/>
            <p:nvPr/>
          </p:nvSpPr>
          <p:spPr>
            <a:xfrm>
              <a:off x="7687346" y="4936096"/>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28" name="Picture 127">
              <a:extLst>
                <a:ext uri="{FF2B5EF4-FFF2-40B4-BE49-F238E27FC236}">
                  <a16:creationId xmlns:a16="http://schemas.microsoft.com/office/drawing/2014/main" id="{6BD708F8-E9BA-4F50-9698-6269D3F90311}"/>
                </a:ext>
              </a:extLst>
            </p:cNvPr>
            <p:cNvPicPr>
              <a:picLocks noChangeAspect="1"/>
            </p:cNvPicPr>
            <p:nvPr/>
          </p:nvPicPr>
          <p:blipFill>
            <a:blip r:embed="rId3"/>
            <a:stretch>
              <a:fillRect/>
            </a:stretch>
          </p:blipFill>
          <p:spPr>
            <a:xfrm>
              <a:off x="9631079" y="5547403"/>
              <a:ext cx="354135" cy="343920"/>
            </a:xfrm>
            <a:prstGeom prst="rect">
              <a:avLst/>
            </a:prstGeom>
          </p:spPr>
        </p:pic>
        <p:pic>
          <p:nvPicPr>
            <p:cNvPr id="129" name="Picture 128">
              <a:extLst>
                <a:ext uri="{FF2B5EF4-FFF2-40B4-BE49-F238E27FC236}">
                  <a16:creationId xmlns:a16="http://schemas.microsoft.com/office/drawing/2014/main" id="{61D82181-4B14-4798-AD32-5D0480EA8D7C}"/>
                </a:ext>
              </a:extLst>
            </p:cNvPr>
            <p:cNvPicPr>
              <a:picLocks noChangeAspect="1"/>
            </p:cNvPicPr>
            <p:nvPr/>
          </p:nvPicPr>
          <p:blipFill>
            <a:blip r:embed="rId3"/>
            <a:stretch>
              <a:fillRect/>
            </a:stretch>
          </p:blipFill>
          <p:spPr>
            <a:xfrm>
              <a:off x="9631078" y="5115350"/>
              <a:ext cx="354135" cy="343920"/>
            </a:xfrm>
            <a:prstGeom prst="rect">
              <a:avLst/>
            </a:prstGeom>
          </p:spPr>
        </p:pic>
        <p:pic>
          <p:nvPicPr>
            <p:cNvPr id="130" name="Picture 129">
              <a:extLst>
                <a:ext uri="{FF2B5EF4-FFF2-40B4-BE49-F238E27FC236}">
                  <a16:creationId xmlns:a16="http://schemas.microsoft.com/office/drawing/2014/main" id="{90101D1B-5CF1-4E87-900A-CBC0B60CD6FE}"/>
                </a:ext>
              </a:extLst>
            </p:cNvPr>
            <p:cNvPicPr>
              <a:picLocks noChangeAspect="1"/>
            </p:cNvPicPr>
            <p:nvPr/>
          </p:nvPicPr>
          <p:blipFill>
            <a:blip r:embed="rId3"/>
            <a:stretch>
              <a:fillRect/>
            </a:stretch>
          </p:blipFill>
          <p:spPr>
            <a:xfrm>
              <a:off x="9631077" y="4683297"/>
              <a:ext cx="354135" cy="343920"/>
            </a:xfrm>
            <a:prstGeom prst="rect">
              <a:avLst/>
            </a:prstGeom>
          </p:spPr>
        </p:pic>
        <p:pic>
          <p:nvPicPr>
            <p:cNvPr id="131" name="Picture 130">
              <a:extLst>
                <a:ext uri="{FF2B5EF4-FFF2-40B4-BE49-F238E27FC236}">
                  <a16:creationId xmlns:a16="http://schemas.microsoft.com/office/drawing/2014/main" id="{2BE62D41-4077-4EF2-B954-86AC1CA44CE7}"/>
                </a:ext>
              </a:extLst>
            </p:cNvPr>
            <p:cNvPicPr>
              <a:picLocks noChangeAspect="1"/>
            </p:cNvPicPr>
            <p:nvPr/>
          </p:nvPicPr>
          <p:blipFill>
            <a:blip r:embed="rId3"/>
            <a:stretch>
              <a:fillRect/>
            </a:stretch>
          </p:blipFill>
          <p:spPr>
            <a:xfrm>
              <a:off x="10066943" y="5547403"/>
              <a:ext cx="354135" cy="343920"/>
            </a:xfrm>
            <a:prstGeom prst="rect">
              <a:avLst/>
            </a:prstGeom>
          </p:spPr>
        </p:pic>
        <p:pic>
          <p:nvPicPr>
            <p:cNvPr id="132" name="Picture 131">
              <a:extLst>
                <a:ext uri="{FF2B5EF4-FFF2-40B4-BE49-F238E27FC236}">
                  <a16:creationId xmlns:a16="http://schemas.microsoft.com/office/drawing/2014/main" id="{ACE955F3-56EF-4FF7-B68C-7E14592AD966}"/>
                </a:ext>
              </a:extLst>
            </p:cNvPr>
            <p:cNvPicPr>
              <a:picLocks noChangeAspect="1"/>
            </p:cNvPicPr>
            <p:nvPr/>
          </p:nvPicPr>
          <p:blipFill>
            <a:blip r:embed="rId3"/>
            <a:stretch>
              <a:fillRect/>
            </a:stretch>
          </p:blipFill>
          <p:spPr>
            <a:xfrm>
              <a:off x="10066942" y="5115350"/>
              <a:ext cx="354135" cy="343920"/>
            </a:xfrm>
            <a:prstGeom prst="rect">
              <a:avLst/>
            </a:prstGeom>
          </p:spPr>
        </p:pic>
        <p:pic>
          <p:nvPicPr>
            <p:cNvPr id="133" name="Picture 132">
              <a:extLst>
                <a:ext uri="{FF2B5EF4-FFF2-40B4-BE49-F238E27FC236}">
                  <a16:creationId xmlns:a16="http://schemas.microsoft.com/office/drawing/2014/main" id="{D17C739D-C673-4B04-9595-7EE4B465850F}"/>
                </a:ext>
              </a:extLst>
            </p:cNvPr>
            <p:cNvPicPr>
              <a:picLocks noChangeAspect="1"/>
            </p:cNvPicPr>
            <p:nvPr/>
          </p:nvPicPr>
          <p:blipFill>
            <a:blip r:embed="rId3"/>
            <a:stretch>
              <a:fillRect/>
            </a:stretch>
          </p:blipFill>
          <p:spPr>
            <a:xfrm>
              <a:off x="10066941" y="4683297"/>
              <a:ext cx="354135" cy="343920"/>
            </a:xfrm>
            <a:prstGeom prst="rect">
              <a:avLst/>
            </a:prstGeom>
          </p:spPr>
        </p:pic>
        <p:pic>
          <p:nvPicPr>
            <p:cNvPr id="134" name="Picture 133">
              <a:extLst>
                <a:ext uri="{FF2B5EF4-FFF2-40B4-BE49-F238E27FC236}">
                  <a16:creationId xmlns:a16="http://schemas.microsoft.com/office/drawing/2014/main" id="{9CCAC823-B588-460D-877D-3FFB9C1AB78C}"/>
                </a:ext>
              </a:extLst>
            </p:cNvPr>
            <p:cNvPicPr>
              <a:picLocks noChangeAspect="1"/>
            </p:cNvPicPr>
            <p:nvPr/>
          </p:nvPicPr>
          <p:blipFill>
            <a:blip r:embed="rId3"/>
            <a:stretch>
              <a:fillRect/>
            </a:stretch>
          </p:blipFill>
          <p:spPr>
            <a:xfrm>
              <a:off x="10502807" y="5547403"/>
              <a:ext cx="354135" cy="343920"/>
            </a:xfrm>
            <a:prstGeom prst="rect">
              <a:avLst/>
            </a:prstGeom>
          </p:spPr>
        </p:pic>
        <p:pic>
          <p:nvPicPr>
            <p:cNvPr id="135" name="Picture 134">
              <a:extLst>
                <a:ext uri="{FF2B5EF4-FFF2-40B4-BE49-F238E27FC236}">
                  <a16:creationId xmlns:a16="http://schemas.microsoft.com/office/drawing/2014/main" id="{4FF6DB55-2385-47E2-892A-250644DFB969}"/>
                </a:ext>
              </a:extLst>
            </p:cNvPr>
            <p:cNvPicPr>
              <a:picLocks noChangeAspect="1"/>
            </p:cNvPicPr>
            <p:nvPr/>
          </p:nvPicPr>
          <p:blipFill>
            <a:blip r:embed="rId3"/>
            <a:stretch>
              <a:fillRect/>
            </a:stretch>
          </p:blipFill>
          <p:spPr>
            <a:xfrm>
              <a:off x="10502806" y="5115350"/>
              <a:ext cx="354135" cy="343920"/>
            </a:xfrm>
            <a:prstGeom prst="rect">
              <a:avLst/>
            </a:prstGeom>
          </p:spPr>
        </p:pic>
        <p:pic>
          <p:nvPicPr>
            <p:cNvPr id="136" name="Picture 135">
              <a:extLst>
                <a:ext uri="{FF2B5EF4-FFF2-40B4-BE49-F238E27FC236}">
                  <a16:creationId xmlns:a16="http://schemas.microsoft.com/office/drawing/2014/main" id="{46A4E906-2B48-4FE0-BE70-C7B4A1949E48}"/>
                </a:ext>
              </a:extLst>
            </p:cNvPr>
            <p:cNvPicPr>
              <a:picLocks noChangeAspect="1"/>
            </p:cNvPicPr>
            <p:nvPr/>
          </p:nvPicPr>
          <p:blipFill>
            <a:blip r:embed="rId3"/>
            <a:stretch>
              <a:fillRect/>
            </a:stretch>
          </p:blipFill>
          <p:spPr>
            <a:xfrm>
              <a:off x="10502805" y="4683297"/>
              <a:ext cx="354135" cy="343920"/>
            </a:xfrm>
            <a:prstGeom prst="rect">
              <a:avLst/>
            </a:prstGeom>
          </p:spPr>
        </p:pic>
        <p:pic>
          <p:nvPicPr>
            <p:cNvPr id="137" name="Picture 136">
              <a:extLst>
                <a:ext uri="{FF2B5EF4-FFF2-40B4-BE49-F238E27FC236}">
                  <a16:creationId xmlns:a16="http://schemas.microsoft.com/office/drawing/2014/main" id="{ABBF6649-2E5E-4CDE-B90F-153E8E70A82D}"/>
                </a:ext>
              </a:extLst>
            </p:cNvPr>
            <p:cNvPicPr>
              <a:picLocks noChangeAspect="1"/>
            </p:cNvPicPr>
            <p:nvPr/>
          </p:nvPicPr>
          <p:blipFill>
            <a:blip r:embed="rId3"/>
            <a:stretch>
              <a:fillRect/>
            </a:stretch>
          </p:blipFill>
          <p:spPr>
            <a:xfrm>
              <a:off x="10938671" y="5547403"/>
              <a:ext cx="354135" cy="343920"/>
            </a:xfrm>
            <a:prstGeom prst="rect">
              <a:avLst/>
            </a:prstGeom>
          </p:spPr>
        </p:pic>
        <p:pic>
          <p:nvPicPr>
            <p:cNvPr id="138" name="Picture 137">
              <a:extLst>
                <a:ext uri="{FF2B5EF4-FFF2-40B4-BE49-F238E27FC236}">
                  <a16:creationId xmlns:a16="http://schemas.microsoft.com/office/drawing/2014/main" id="{9A0A3B09-C427-4914-BBA6-91BE69A10B2E}"/>
                </a:ext>
              </a:extLst>
            </p:cNvPr>
            <p:cNvPicPr>
              <a:picLocks noChangeAspect="1"/>
            </p:cNvPicPr>
            <p:nvPr/>
          </p:nvPicPr>
          <p:blipFill>
            <a:blip r:embed="rId3"/>
            <a:stretch>
              <a:fillRect/>
            </a:stretch>
          </p:blipFill>
          <p:spPr>
            <a:xfrm>
              <a:off x="10938670" y="5115350"/>
              <a:ext cx="354135" cy="343920"/>
            </a:xfrm>
            <a:prstGeom prst="rect">
              <a:avLst/>
            </a:prstGeom>
          </p:spPr>
        </p:pic>
        <p:pic>
          <p:nvPicPr>
            <p:cNvPr id="139" name="Picture 138">
              <a:extLst>
                <a:ext uri="{FF2B5EF4-FFF2-40B4-BE49-F238E27FC236}">
                  <a16:creationId xmlns:a16="http://schemas.microsoft.com/office/drawing/2014/main" id="{A3B3290C-EDB4-4698-BF5C-63391536297B}"/>
                </a:ext>
              </a:extLst>
            </p:cNvPr>
            <p:cNvPicPr>
              <a:picLocks noChangeAspect="1"/>
            </p:cNvPicPr>
            <p:nvPr/>
          </p:nvPicPr>
          <p:blipFill>
            <a:blip r:embed="rId3"/>
            <a:stretch>
              <a:fillRect/>
            </a:stretch>
          </p:blipFill>
          <p:spPr>
            <a:xfrm>
              <a:off x="10938669" y="4683297"/>
              <a:ext cx="354135" cy="343920"/>
            </a:xfrm>
            <a:prstGeom prst="rect">
              <a:avLst/>
            </a:prstGeom>
          </p:spPr>
        </p:pic>
        <p:sp>
          <p:nvSpPr>
            <p:cNvPr id="140" name="Rectangle 139">
              <a:extLst>
                <a:ext uri="{FF2B5EF4-FFF2-40B4-BE49-F238E27FC236}">
                  <a16:creationId xmlns:a16="http://schemas.microsoft.com/office/drawing/2014/main" id="{390E4A24-8629-4F35-9D57-E5FF116ACFE1}"/>
                </a:ext>
              </a:extLst>
            </p:cNvPr>
            <p:cNvSpPr/>
            <p:nvPr/>
          </p:nvSpPr>
          <p:spPr>
            <a:xfrm>
              <a:off x="9566076" y="4547170"/>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1" name="Straight Arrow Connector 140">
              <a:extLst>
                <a:ext uri="{FF2B5EF4-FFF2-40B4-BE49-F238E27FC236}">
                  <a16:creationId xmlns:a16="http://schemas.microsoft.com/office/drawing/2014/main" id="{24D7430D-DC3D-4A49-B335-6E111581EE80}"/>
                </a:ext>
              </a:extLst>
            </p:cNvPr>
            <p:cNvCxnSpPr>
              <a:stCxn id="127" idx="3"/>
              <a:endCxn id="140" idx="1"/>
            </p:cNvCxnSpPr>
            <p:nvPr/>
          </p:nvCxnSpPr>
          <p:spPr>
            <a:xfrm>
              <a:off x="8792246" y="5285346"/>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4" name="TextBox 143">
              <a:extLst>
                <a:ext uri="{FF2B5EF4-FFF2-40B4-BE49-F238E27FC236}">
                  <a16:creationId xmlns:a16="http://schemas.microsoft.com/office/drawing/2014/main" id="{2E1BFADE-EECB-4A31-AC72-E1E319EF7359}"/>
                </a:ext>
              </a:extLst>
            </p:cNvPr>
            <p:cNvSpPr txBox="1"/>
            <p:nvPr/>
          </p:nvSpPr>
          <p:spPr>
            <a:xfrm>
              <a:off x="7628563" y="4545087"/>
              <a:ext cx="1269899" cy="369332"/>
            </a:xfrm>
            <a:prstGeom prst="rect">
              <a:avLst/>
            </a:prstGeom>
            <a:noFill/>
          </p:spPr>
          <p:txBody>
            <a:bodyPr wrap="none" rtlCol="0">
              <a:spAutoFit/>
            </a:bodyPr>
            <a:lstStyle/>
            <a:p>
              <a:r>
                <a:rPr lang="sv-SE" dirty="0"/>
                <a:t>Customer C</a:t>
              </a:r>
              <a:endParaRPr lang="en-US" dirty="0"/>
            </a:p>
          </p:txBody>
        </p:sp>
        <p:pic>
          <p:nvPicPr>
            <p:cNvPr id="146" name="Picture 10" descr="Image result for ibm IOT logo">
              <a:extLst>
                <a:ext uri="{FF2B5EF4-FFF2-40B4-BE49-F238E27FC236}">
                  <a16:creationId xmlns:a16="http://schemas.microsoft.com/office/drawing/2014/main" id="{C3B0129C-EA2B-4878-9272-0AFDF8FC8E6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08637" y="5424829"/>
              <a:ext cx="570524" cy="5591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5" name="Group 1024">
            <a:extLst>
              <a:ext uri="{FF2B5EF4-FFF2-40B4-BE49-F238E27FC236}">
                <a16:creationId xmlns:a16="http://schemas.microsoft.com/office/drawing/2014/main" id="{33E4F68E-0296-4F20-B2B6-9C823641D452}"/>
              </a:ext>
            </a:extLst>
          </p:cNvPr>
          <p:cNvGrpSpPr/>
          <p:nvPr/>
        </p:nvGrpSpPr>
        <p:grpSpPr>
          <a:xfrm>
            <a:off x="7600037" y="1215589"/>
            <a:ext cx="3753763" cy="1512567"/>
            <a:chOff x="7600037" y="1215589"/>
            <a:chExt cx="3753763" cy="1512567"/>
          </a:xfrm>
        </p:grpSpPr>
        <p:sp>
          <p:nvSpPr>
            <p:cNvPr id="97" name="Rectangle 96">
              <a:extLst>
                <a:ext uri="{FF2B5EF4-FFF2-40B4-BE49-F238E27FC236}">
                  <a16:creationId xmlns:a16="http://schemas.microsoft.com/office/drawing/2014/main" id="{8DFB482E-E367-494E-9070-060F7F323E9D}"/>
                </a:ext>
              </a:extLst>
            </p:cNvPr>
            <p:cNvSpPr/>
            <p:nvPr/>
          </p:nvSpPr>
          <p:spPr>
            <a:xfrm>
              <a:off x="7687346" y="1632712"/>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98" name="Picture 97">
              <a:extLst>
                <a:ext uri="{FF2B5EF4-FFF2-40B4-BE49-F238E27FC236}">
                  <a16:creationId xmlns:a16="http://schemas.microsoft.com/office/drawing/2014/main" id="{9F8B69E9-BF8B-47AD-986E-FA3031CE06FF}"/>
                </a:ext>
              </a:extLst>
            </p:cNvPr>
            <p:cNvPicPr>
              <a:picLocks noChangeAspect="1"/>
            </p:cNvPicPr>
            <p:nvPr/>
          </p:nvPicPr>
          <p:blipFill>
            <a:blip r:embed="rId3"/>
            <a:stretch>
              <a:fillRect/>
            </a:stretch>
          </p:blipFill>
          <p:spPr>
            <a:xfrm>
              <a:off x="9631079" y="2244019"/>
              <a:ext cx="354135" cy="343920"/>
            </a:xfrm>
            <a:prstGeom prst="rect">
              <a:avLst/>
            </a:prstGeom>
          </p:spPr>
        </p:pic>
        <p:pic>
          <p:nvPicPr>
            <p:cNvPr id="99" name="Picture 98">
              <a:extLst>
                <a:ext uri="{FF2B5EF4-FFF2-40B4-BE49-F238E27FC236}">
                  <a16:creationId xmlns:a16="http://schemas.microsoft.com/office/drawing/2014/main" id="{25564854-60C0-47A2-849E-5BC647B7E764}"/>
                </a:ext>
              </a:extLst>
            </p:cNvPr>
            <p:cNvPicPr>
              <a:picLocks noChangeAspect="1"/>
            </p:cNvPicPr>
            <p:nvPr/>
          </p:nvPicPr>
          <p:blipFill>
            <a:blip r:embed="rId3"/>
            <a:stretch>
              <a:fillRect/>
            </a:stretch>
          </p:blipFill>
          <p:spPr>
            <a:xfrm>
              <a:off x="9631078" y="1811966"/>
              <a:ext cx="354135" cy="343920"/>
            </a:xfrm>
            <a:prstGeom prst="rect">
              <a:avLst/>
            </a:prstGeom>
          </p:spPr>
        </p:pic>
        <p:pic>
          <p:nvPicPr>
            <p:cNvPr id="100" name="Picture 99">
              <a:extLst>
                <a:ext uri="{FF2B5EF4-FFF2-40B4-BE49-F238E27FC236}">
                  <a16:creationId xmlns:a16="http://schemas.microsoft.com/office/drawing/2014/main" id="{C057CA5D-804B-4419-A1BC-08D1E7B8452D}"/>
                </a:ext>
              </a:extLst>
            </p:cNvPr>
            <p:cNvPicPr>
              <a:picLocks noChangeAspect="1"/>
            </p:cNvPicPr>
            <p:nvPr/>
          </p:nvPicPr>
          <p:blipFill>
            <a:blip r:embed="rId3"/>
            <a:stretch>
              <a:fillRect/>
            </a:stretch>
          </p:blipFill>
          <p:spPr>
            <a:xfrm>
              <a:off x="9631077" y="1379913"/>
              <a:ext cx="354135" cy="343920"/>
            </a:xfrm>
            <a:prstGeom prst="rect">
              <a:avLst/>
            </a:prstGeom>
          </p:spPr>
        </p:pic>
        <p:pic>
          <p:nvPicPr>
            <p:cNvPr id="101" name="Picture 100">
              <a:extLst>
                <a:ext uri="{FF2B5EF4-FFF2-40B4-BE49-F238E27FC236}">
                  <a16:creationId xmlns:a16="http://schemas.microsoft.com/office/drawing/2014/main" id="{08383796-F09D-41C0-90BE-66EA73B7CC6A}"/>
                </a:ext>
              </a:extLst>
            </p:cNvPr>
            <p:cNvPicPr>
              <a:picLocks noChangeAspect="1"/>
            </p:cNvPicPr>
            <p:nvPr/>
          </p:nvPicPr>
          <p:blipFill>
            <a:blip r:embed="rId3"/>
            <a:stretch>
              <a:fillRect/>
            </a:stretch>
          </p:blipFill>
          <p:spPr>
            <a:xfrm>
              <a:off x="10066943" y="2244019"/>
              <a:ext cx="354135" cy="343920"/>
            </a:xfrm>
            <a:prstGeom prst="rect">
              <a:avLst/>
            </a:prstGeom>
          </p:spPr>
        </p:pic>
        <p:pic>
          <p:nvPicPr>
            <p:cNvPr id="102" name="Picture 101">
              <a:extLst>
                <a:ext uri="{FF2B5EF4-FFF2-40B4-BE49-F238E27FC236}">
                  <a16:creationId xmlns:a16="http://schemas.microsoft.com/office/drawing/2014/main" id="{D88DB640-A60D-41D3-837D-FA359873969A}"/>
                </a:ext>
              </a:extLst>
            </p:cNvPr>
            <p:cNvPicPr>
              <a:picLocks noChangeAspect="1"/>
            </p:cNvPicPr>
            <p:nvPr/>
          </p:nvPicPr>
          <p:blipFill>
            <a:blip r:embed="rId3"/>
            <a:stretch>
              <a:fillRect/>
            </a:stretch>
          </p:blipFill>
          <p:spPr>
            <a:xfrm>
              <a:off x="10066942" y="1811966"/>
              <a:ext cx="354135" cy="343920"/>
            </a:xfrm>
            <a:prstGeom prst="rect">
              <a:avLst/>
            </a:prstGeom>
          </p:spPr>
        </p:pic>
        <p:pic>
          <p:nvPicPr>
            <p:cNvPr id="103" name="Picture 102">
              <a:extLst>
                <a:ext uri="{FF2B5EF4-FFF2-40B4-BE49-F238E27FC236}">
                  <a16:creationId xmlns:a16="http://schemas.microsoft.com/office/drawing/2014/main" id="{A7C5B9DC-4E4D-4409-BF42-29844A24E3AD}"/>
                </a:ext>
              </a:extLst>
            </p:cNvPr>
            <p:cNvPicPr>
              <a:picLocks noChangeAspect="1"/>
            </p:cNvPicPr>
            <p:nvPr/>
          </p:nvPicPr>
          <p:blipFill>
            <a:blip r:embed="rId3"/>
            <a:stretch>
              <a:fillRect/>
            </a:stretch>
          </p:blipFill>
          <p:spPr>
            <a:xfrm>
              <a:off x="10066941" y="1379913"/>
              <a:ext cx="354135" cy="343920"/>
            </a:xfrm>
            <a:prstGeom prst="rect">
              <a:avLst/>
            </a:prstGeom>
          </p:spPr>
        </p:pic>
        <p:pic>
          <p:nvPicPr>
            <p:cNvPr id="104" name="Picture 103">
              <a:extLst>
                <a:ext uri="{FF2B5EF4-FFF2-40B4-BE49-F238E27FC236}">
                  <a16:creationId xmlns:a16="http://schemas.microsoft.com/office/drawing/2014/main" id="{A02DF20A-4758-440D-BB21-024141B72EA7}"/>
                </a:ext>
              </a:extLst>
            </p:cNvPr>
            <p:cNvPicPr>
              <a:picLocks noChangeAspect="1"/>
            </p:cNvPicPr>
            <p:nvPr/>
          </p:nvPicPr>
          <p:blipFill>
            <a:blip r:embed="rId3"/>
            <a:stretch>
              <a:fillRect/>
            </a:stretch>
          </p:blipFill>
          <p:spPr>
            <a:xfrm>
              <a:off x="10502807" y="2244019"/>
              <a:ext cx="354135" cy="343920"/>
            </a:xfrm>
            <a:prstGeom prst="rect">
              <a:avLst/>
            </a:prstGeom>
          </p:spPr>
        </p:pic>
        <p:pic>
          <p:nvPicPr>
            <p:cNvPr id="105" name="Picture 104">
              <a:extLst>
                <a:ext uri="{FF2B5EF4-FFF2-40B4-BE49-F238E27FC236}">
                  <a16:creationId xmlns:a16="http://schemas.microsoft.com/office/drawing/2014/main" id="{876B1451-4416-4103-9517-D845CD46A637}"/>
                </a:ext>
              </a:extLst>
            </p:cNvPr>
            <p:cNvPicPr>
              <a:picLocks noChangeAspect="1"/>
            </p:cNvPicPr>
            <p:nvPr/>
          </p:nvPicPr>
          <p:blipFill>
            <a:blip r:embed="rId3"/>
            <a:stretch>
              <a:fillRect/>
            </a:stretch>
          </p:blipFill>
          <p:spPr>
            <a:xfrm>
              <a:off x="10502806" y="1811966"/>
              <a:ext cx="354135" cy="343920"/>
            </a:xfrm>
            <a:prstGeom prst="rect">
              <a:avLst/>
            </a:prstGeom>
          </p:spPr>
        </p:pic>
        <p:pic>
          <p:nvPicPr>
            <p:cNvPr id="106" name="Picture 105">
              <a:extLst>
                <a:ext uri="{FF2B5EF4-FFF2-40B4-BE49-F238E27FC236}">
                  <a16:creationId xmlns:a16="http://schemas.microsoft.com/office/drawing/2014/main" id="{ACDD1C4E-8943-4AE0-A19F-412DAD352190}"/>
                </a:ext>
              </a:extLst>
            </p:cNvPr>
            <p:cNvPicPr>
              <a:picLocks noChangeAspect="1"/>
            </p:cNvPicPr>
            <p:nvPr/>
          </p:nvPicPr>
          <p:blipFill>
            <a:blip r:embed="rId3"/>
            <a:stretch>
              <a:fillRect/>
            </a:stretch>
          </p:blipFill>
          <p:spPr>
            <a:xfrm>
              <a:off x="10502805" y="1379913"/>
              <a:ext cx="354135" cy="343920"/>
            </a:xfrm>
            <a:prstGeom prst="rect">
              <a:avLst/>
            </a:prstGeom>
          </p:spPr>
        </p:pic>
        <p:pic>
          <p:nvPicPr>
            <p:cNvPr id="107" name="Picture 106">
              <a:extLst>
                <a:ext uri="{FF2B5EF4-FFF2-40B4-BE49-F238E27FC236}">
                  <a16:creationId xmlns:a16="http://schemas.microsoft.com/office/drawing/2014/main" id="{8B6E931A-186D-4D59-8CDA-D496F8B08736}"/>
                </a:ext>
              </a:extLst>
            </p:cNvPr>
            <p:cNvPicPr>
              <a:picLocks noChangeAspect="1"/>
            </p:cNvPicPr>
            <p:nvPr/>
          </p:nvPicPr>
          <p:blipFill>
            <a:blip r:embed="rId3"/>
            <a:stretch>
              <a:fillRect/>
            </a:stretch>
          </p:blipFill>
          <p:spPr>
            <a:xfrm>
              <a:off x="10938671" y="2244019"/>
              <a:ext cx="354135" cy="343920"/>
            </a:xfrm>
            <a:prstGeom prst="rect">
              <a:avLst/>
            </a:prstGeom>
          </p:spPr>
        </p:pic>
        <p:pic>
          <p:nvPicPr>
            <p:cNvPr id="108" name="Picture 107">
              <a:extLst>
                <a:ext uri="{FF2B5EF4-FFF2-40B4-BE49-F238E27FC236}">
                  <a16:creationId xmlns:a16="http://schemas.microsoft.com/office/drawing/2014/main" id="{F3B04BD2-2FDF-48DD-8331-979A749E8BEA}"/>
                </a:ext>
              </a:extLst>
            </p:cNvPr>
            <p:cNvPicPr>
              <a:picLocks noChangeAspect="1"/>
            </p:cNvPicPr>
            <p:nvPr/>
          </p:nvPicPr>
          <p:blipFill>
            <a:blip r:embed="rId3"/>
            <a:stretch>
              <a:fillRect/>
            </a:stretch>
          </p:blipFill>
          <p:spPr>
            <a:xfrm>
              <a:off x="10938670" y="1811966"/>
              <a:ext cx="354135" cy="343920"/>
            </a:xfrm>
            <a:prstGeom prst="rect">
              <a:avLst/>
            </a:prstGeom>
          </p:spPr>
        </p:pic>
        <p:pic>
          <p:nvPicPr>
            <p:cNvPr id="109" name="Picture 108">
              <a:extLst>
                <a:ext uri="{FF2B5EF4-FFF2-40B4-BE49-F238E27FC236}">
                  <a16:creationId xmlns:a16="http://schemas.microsoft.com/office/drawing/2014/main" id="{408B9254-BD10-4446-8323-44104567FA60}"/>
                </a:ext>
              </a:extLst>
            </p:cNvPr>
            <p:cNvPicPr>
              <a:picLocks noChangeAspect="1"/>
            </p:cNvPicPr>
            <p:nvPr/>
          </p:nvPicPr>
          <p:blipFill>
            <a:blip r:embed="rId3"/>
            <a:stretch>
              <a:fillRect/>
            </a:stretch>
          </p:blipFill>
          <p:spPr>
            <a:xfrm>
              <a:off x="10938669" y="1379913"/>
              <a:ext cx="354135" cy="343920"/>
            </a:xfrm>
            <a:prstGeom prst="rect">
              <a:avLst/>
            </a:prstGeom>
          </p:spPr>
        </p:pic>
        <p:sp>
          <p:nvSpPr>
            <p:cNvPr id="110" name="Rectangle 109">
              <a:extLst>
                <a:ext uri="{FF2B5EF4-FFF2-40B4-BE49-F238E27FC236}">
                  <a16:creationId xmlns:a16="http://schemas.microsoft.com/office/drawing/2014/main" id="{4AD99BB6-AEFB-4791-ABBD-4064BB46C075}"/>
                </a:ext>
              </a:extLst>
            </p:cNvPr>
            <p:cNvSpPr/>
            <p:nvPr/>
          </p:nvSpPr>
          <p:spPr>
            <a:xfrm>
              <a:off x="9566076" y="1243786"/>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1" name="Straight Arrow Connector 110">
              <a:extLst>
                <a:ext uri="{FF2B5EF4-FFF2-40B4-BE49-F238E27FC236}">
                  <a16:creationId xmlns:a16="http://schemas.microsoft.com/office/drawing/2014/main" id="{8250AACA-D217-4156-BF99-A6FD7E8026E3}"/>
                </a:ext>
              </a:extLst>
            </p:cNvPr>
            <p:cNvCxnSpPr>
              <a:stCxn id="97" idx="3"/>
              <a:endCxn id="110" idx="1"/>
            </p:cNvCxnSpPr>
            <p:nvPr/>
          </p:nvCxnSpPr>
          <p:spPr>
            <a:xfrm>
              <a:off x="8792246" y="1981962"/>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2" name="TextBox 141">
              <a:extLst>
                <a:ext uri="{FF2B5EF4-FFF2-40B4-BE49-F238E27FC236}">
                  <a16:creationId xmlns:a16="http://schemas.microsoft.com/office/drawing/2014/main" id="{98163CC1-7F24-497D-AC8D-A1A1B66D362B}"/>
                </a:ext>
              </a:extLst>
            </p:cNvPr>
            <p:cNvSpPr txBox="1"/>
            <p:nvPr/>
          </p:nvSpPr>
          <p:spPr>
            <a:xfrm>
              <a:off x="7600037" y="1215589"/>
              <a:ext cx="1279517" cy="369332"/>
            </a:xfrm>
            <a:prstGeom prst="rect">
              <a:avLst/>
            </a:prstGeom>
            <a:noFill/>
          </p:spPr>
          <p:txBody>
            <a:bodyPr wrap="none" rtlCol="0">
              <a:spAutoFit/>
            </a:bodyPr>
            <a:lstStyle/>
            <a:p>
              <a:r>
                <a:rPr lang="sv-SE" dirty="0"/>
                <a:t>Customer A</a:t>
              </a:r>
              <a:endParaRPr lang="en-US" dirty="0"/>
            </a:p>
          </p:txBody>
        </p:sp>
        <p:grpSp>
          <p:nvGrpSpPr>
            <p:cNvPr id="147" name="Group 146">
              <a:extLst>
                <a:ext uri="{FF2B5EF4-FFF2-40B4-BE49-F238E27FC236}">
                  <a16:creationId xmlns:a16="http://schemas.microsoft.com/office/drawing/2014/main" id="{87B6A82F-1629-4584-9099-D0CC272D8CFF}"/>
                </a:ext>
              </a:extLst>
            </p:cNvPr>
            <p:cNvGrpSpPr/>
            <p:nvPr/>
          </p:nvGrpSpPr>
          <p:grpSpPr>
            <a:xfrm>
              <a:off x="8544765" y="2170874"/>
              <a:ext cx="576692" cy="509588"/>
              <a:chOff x="5498091" y="4114800"/>
              <a:chExt cx="576692" cy="509588"/>
            </a:xfrm>
          </p:grpSpPr>
          <p:sp>
            <p:nvSpPr>
              <p:cNvPr id="148" name="Oval 147">
                <a:extLst>
                  <a:ext uri="{FF2B5EF4-FFF2-40B4-BE49-F238E27FC236}">
                    <a16:creationId xmlns:a16="http://schemas.microsoft.com/office/drawing/2014/main" id="{6879CA68-485D-4F4F-98C8-538FB24974CD}"/>
                  </a:ext>
                </a:extLst>
              </p:cNvPr>
              <p:cNvSpPr/>
              <p:nvPr/>
            </p:nvSpPr>
            <p:spPr>
              <a:xfrm>
                <a:off x="5534025" y="4114800"/>
                <a:ext cx="504825" cy="50958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9" name="Picture 8" descr="Image result for AZURE IOT">
                <a:extLst>
                  <a:ext uri="{FF2B5EF4-FFF2-40B4-BE49-F238E27FC236}">
                    <a16:creationId xmlns:a16="http://schemas.microsoft.com/office/drawing/2014/main" id="{F4C859F1-50BC-44CE-8CE3-4C4A0FCD2A4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50" name="Straight Arrow Connector 149">
            <a:extLst>
              <a:ext uri="{FF2B5EF4-FFF2-40B4-BE49-F238E27FC236}">
                <a16:creationId xmlns:a16="http://schemas.microsoft.com/office/drawing/2014/main" id="{7961FD4A-C074-4458-ACB9-954EE0E7BB5F}"/>
              </a:ext>
            </a:extLst>
          </p:cNvPr>
          <p:cNvCxnSpPr>
            <a:cxnSpLocks/>
          </p:cNvCxnSpPr>
          <p:nvPr/>
        </p:nvCxnSpPr>
        <p:spPr>
          <a:xfrm>
            <a:off x="6354196" y="1985971"/>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2" name="Straight Arrow Connector 151">
            <a:extLst>
              <a:ext uri="{FF2B5EF4-FFF2-40B4-BE49-F238E27FC236}">
                <a16:creationId xmlns:a16="http://schemas.microsoft.com/office/drawing/2014/main" id="{44593D00-CE4C-4A9F-9D8D-AFAE43F21DBE}"/>
              </a:ext>
            </a:extLst>
          </p:cNvPr>
          <p:cNvCxnSpPr>
            <a:cxnSpLocks/>
          </p:cNvCxnSpPr>
          <p:nvPr/>
        </p:nvCxnSpPr>
        <p:spPr>
          <a:xfrm>
            <a:off x="6354196" y="3629734"/>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3" name="Straight Arrow Connector 152">
            <a:extLst>
              <a:ext uri="{FF2B5EF4-FFF2-40B4-BE49-F238E27FC236}">
                <a16:creationId xmlns:a16="http://schemas.microsoft.com/office/drawing/2014/main" id="{2313CC88-3FC5-492C-811A-7AD63B120468}"/>
              </a:ext>
            </a:extLst>
          </p:cNvPr>
          <p:cNvCxnSpPr>
            <a:cxnSpLocks/>
          </p:cNvCxnSpPr>
          <p:nvPr/>
        </p:nvCxnSpPr>
        <p:spPr>
          <a:xfrm>
            <a:off x="6354196" y="5273497"/>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1047" name="Group 1046">
            <a:extLst>
              <a:ext uri="{FF2B5EF4-FFF2-40B4-BE49-F238E27FC236}">
                <a16:creationId xmlns:a16="http://schemas.microsoft.com/office/drawing/2014/main" id="{8B1F25E4-A03B-497B-BE7F-420879D0DBD2}"/>
              </a:ext>
            </a:extLst>
          </p:cNvPr>
          <p:cNvGrpSpPr/>
          <p:nvPr/>
        </p:nvGrpSpPr>
        <p:grpSpPr>
          <a:xfrm>
            <a:off x="378558" y="1212586"/>
            <a:ext cx="3754579" cy="4971129"/>
            <a:chOff x="378558" y="1212586"/>
            <a:chExt cx="3754579" cy="4971129"/>
          </a:xfrm>
        </p:grpSpPr>
        <p:pic>
          <p:nvPicPr>
            <p:cNvPr id="1043" name="Picture 1042">
              <a:extLst>
                <a:ext uri="{FF2B5EF4-FFF2-40B4-BE49-F238E27FC236}">
                  <a16:creationId xmlns:a16="http://schemas.microsoft.com/office/drawing/2014/main" id="{760FD41F-7262-408F-BC4D-47730479435A}"/>
                </a:ext>
              </a:extLst>
            </p:cNvPr>
            <p:cNvPicPr>
              <a:picLocks noChangeAspect="1"/>
            </p:cNvPicPr>
            <p:nvPr/>
          </p:nvPicPr>
          <p:blipFill>
            <a:blip r:embed="rId7"/>
            <a:stretch>
              <a:fillRect/>
            </a:stretch>
          </p:blipFill>
          <p:spPr>
            <a:xfrm>
              <a:off x="439679" y="1212586"/>
              <a:ext cx="3295238" cy="2514286"/>
            </a:xfrm>
            <a:prstGeom prst="rect">
              <a:avLst/>
            </a:prstGeom>
          </p:spPr>
        </p:pic>
        <p:pic>
          <p:nvPicPr>
            <p:cNvPr id="1044" name="Picture 1043">
              <a:extLst>
                <a:ext uri="{FF2B5EF4-FFF2-40B4-BE49-F238E27FC236}">
                  <a16:creationId xmlns:a16="http://schemas.microsoft.com/office/drawing/2014/main" id="{1F262B37-5820-4076-88B2-F4E4CA954DDA}"/>
                </a:ext>
              </a:extLst>
            </p:cNvPr>
            <p:cNvPicPr>
              <a:picLocks noChangeAspect="1"/>
            </p:cNvPicPr>
            <p:nvPr/>
          </p:nvPicPr>
          <p:blipFill>
            <a:blip r:embed="rId8"/>
            <a:stretch>
              <a:fillRect/>
            </a:stretch>
          </p:blipFill>
          <p:spPr>
            <a:xfrm>
              <a:off x="378558" y="3688477"/>
              <a:ext cx="3371429" cy="2495238"/>
            </a:xfrm>
            <a:prstGeom prst="rect">
              <a:avLst/>
            </a:prstGeom>
          </p:spPr>
        </p:pic>
        <p:sp>
          <p:nvSpPr>
            <p:cNvPr id="1046" name="Right Brace 1045">
              <a:extLst>
                <a:ext uri="{FF2B5EF4-FFF2-40B4-BE49-F238E27FC236}">
                  <a16:creationId xmlns:a16="http://schemas.microsoft.com/office/drawing/2014/main" id="{7053BCB7-131F-44B5-8548-4CD0E7E94135}"/>
                </a:ext>
              </a:extLst>
            </p:cNvPr>
            <p:cNvSpPr/>
            <p:nvPr/>
          </p:nvSpPr>
          <p:spPr>
            <a:xfrm>
              <a:off x="3924300" y="1243786"/>
              <a:ext cx="208837" cy="4787754"/>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3313532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25"/>
                                        </p:tgtEl>
                                        <p:attrNameLst>
                                          <p:attrName>style.visibility</p:attrName>
                                        </p:attrNameLst>
                                      </p:cBhvr>
                                      <p:to>
                                        <p:strVal val="visible"/>
                                      </p:to>
                                    </p:set>
                                    <p:animEffect transition="in" filter="fade">
                                      <p:cBhvr>
                                        <p:cTn id="7" dur="500"/>
                                        <p:tgtEl>
                                          <p:spTgt spid="102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27"/>
                                        </p:tgtEl>
                                        <p:attrNameLst>
                                          <p:attrName>style.visibility</p:attrName>
                                        </p:attrNameLst>
                                      </p:cBhvr>
                                      <p:to>
                                        <p:strVal val="visible"/>
                                      </p:to>
                                    </p:set>
                                    <p:animEffect transition="in" filter="fade">
                                      <p:cBhvr>
                                        <p:cTn id="11" dur="500"/>
                                        <p:tgtEl>
                                          <p:spTgt spid="102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028"/>
                                        </p:tgtEl>
                                        <p:attrNameLst>
                                          <p:attrName>style.visibility</p:attrName>
                                        </p:attrNameLst>
                                      </p:cBhvr>
                                      <p:to>
                                        <p:strVal val="visible"/>
                                      </p:to>
                                    </p:set>
                                    <p:animEffect transition="in" filter="fade">
                                      <p:cBhvr>
                                        <p:cTn id="15" dur="500"/>
                                        <p:tgtEl>
                                          <p:spTgt spid="102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029"/>
                                        </p:tgtEl>
                                        <p:attrNameLst>
                                          <p:attrName>style.visibility</p:attrName>
                                        </p:attrNameLst>
                                      </p:cBhvr>
                                      <p:to>
                                        <p:strVal val="visible"/>
                                      </p:to>
                                    </p:set>
                                    <p:animEffect transition="in" filter="fade">
                                      <p:cBhvr>
                                        <p:cTn id="20" dur="500"/>
                                        <p:tgtEl>
                                          <p:spTgt spid="1029"/>
                                        </p:tgtEl>
                                      </p:cBhvr>
                                    </p:animEffect>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150"/>
                                        </p:tgtEl>
                                        <p:attrNameLst>
                                          <p:attrName>style.visibility</p:attrName>
                                        </p:attrNameLst>
                                      </p:cBhvr>
                                      <p:to>
                                        <p:strVal val="visible"/>
                                      </p:to>
                                    </p:set>
                                    <p:animEffect transition="in" filter="fade">
                                      <p:cBhvr>
                                        <p:cTn id="24" dur="500"/>
                                        <p:tgtEl>
                                          <p:spTgt spid="150"/>
                                        </p:tgtEl>
                                      </p:cBhvr>
                                    </p:animEffect>
                                  </p:childTnLst>
                                </p:cTn>
                              </p:par>
                            </p:childTnLst>
                          </p:cTn>
                        </p:par>
                        <p:par>
                          <p:cTn id="25" fill="hold">
                            <p:stCondLst>
                              <p:cond delay="1000"/>
                            </p:stCondLst>
                            <p:childTnLst>
                              <p:par>
                                <p:cTn id="26" presetID="10" presetClass="entr" presetSubtype="0" fill="hold" nodeType="afterEffect">
                                  <p:stCondLst>
                                    <p:cond delay="0"/>
                                  </p:stCondLst>
                                  <p:childTnLst>
                                    <p:set>
                                      <p:cBhvr>
                                        <p:cTn id="27" dur="1" fill="hold">
                                          <p:stCondLst>
                                            <p:cond delay="0"/>
                                          </p:stCondLst>
                                        </p:cTn>
                                        <p:tgtEl>
                                          <p:spTgt spid="152"/>
                                        </p:tgtEl>
                                        <p:attrNameLst>
                                          <p:attrName>style.visibility</p:attrName>
                                        </p:attrNameLst>
                                      </p:cBhvr>
                                      <p:to>
                                        <p:strVal val="visible"/>
                                      </p:to>
                                    </p:set>
                                    <p:animEffect transition="in" filter="fade">
                                      <p:cBhvr>
                                        <p:cTn id="28" dur="500"/>
                                        <p:tgtEl>
                                          <p:spTgt spid="152"/>
                                        </p:tgtEl>
                                      </p:cBhvr>
                                    </p:animEffect>
                                  </p:childTnLst>
                                </p:cTn>
                              </p:par>
                            </p:childTnLst>
                          </p:cTn>
                        </p:par>
                        <p:par>
                          <p:cTn id="29" fill="hold">
                            <p:stCondLst>
                              <p:cond delay="1500"/>
                            </p:stCondLst>
                            <p:childTnLst>
                              <p:par>
                                <p:cTn id="30" presetID="10" presetClass="entr" presetSubtype="0" fill="hold" nodeType="afterEffect">
                                  <p:stCondLst>
                                    <p:cond delay="0"/>
                                  </p:stCondLst>
                                  <p:childTnLst>
                                    <p:set>
                                      <p:cBhvr>
                                        <p:cTn id="31" dur="1" fill="hold">
                                          <p:stCondLst>
                                            <p:cond delay="0"/>
                                          </p:stCondLst>
                                        </p:cTn>
                                        <p:tgtEl>
                                          <p:spTgt spid="153"/>
                                        </p:tgtEl>
                                        <p:attrNameLst>
                                          <p:attrName>style.visibility</p:attrName>
                                        </p:attrNameLst>
                                      </p:cBhvr>
                                      <p:to>
                                        <p:strVal val="visible"/>
                                      </p:to>
                                    </p:set>
                                    <p:animEffect transition="in" filter="fade">
                                      <p:cBhvr>
                                        <p:cTn id="32" dur="500"/>
                                        <p:tgtEl>
                                          <p:spTgt spid="153"/>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047"/>
                                        </p:tgtEl>
                                        <p:attrNameLst>
                                          <p:attrName>style.visibility</p:attrName>
                                        </p:attrNameLst>
                                      </p:cBhvr>
                                      <p:to>
                                        <p:strVal val="visible"/>
                                      </p:to>
                                    </p:set>
                                    <p:animEffect transition="in" filter="fade">
                                      <p:cBhvr>
                                        <p:cTn id="37" dur="500"/>
                                        <p:tgtEl>
                                          <p:spTgt spid="10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B1907BCD-D346-4947-A9D7-F83B2F31F831}"/>
              </a:ext>
            </a:extLst>
          </p:cNvPr>
          <p:cNvSpPr/>
          <p:nvPr/>
        </p:nvSpPr>
        <p:spPr>
          <a:xfrm>
            <a:off x="1873561" y="1759784"/>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5CA22908-7C0D-47E8-B698-95D23F3EE815}"/>
              </a:ext>
            </a:extLst>
          </p:cNvPr>
          <p:cNvSpPr/>
          <p:nvPr/>
        </p:nvSpPr>
        <p:spPr>
          <a:xfrm>
            <a:off x="1873561" y="2463169"/>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583D7AF6-E57B-4B33-8894-1BDEBE058F87}"/>
              </a:ext>
            </a:extLst>
          </p:cNvPr>
          <p:cNvSpPr/>
          <p:nvPr/>
        </p:nvSpPr>
        <p:spPr>
          <a:xfrm>
            <a:off x="1873561" y="3166554"/>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332F5A28-433C-4245-B847-5CF8C1BD912D}"/>
              </a:ext>
            </a:extLst>
          </p:cNvPr>
          <p:cNvSpPr/>
          <p:nvPr/>
        </p:nvSpPr>
        <p:spPr>
          <a:xfrm>
            <a:off x="1873561" y="3869939"/>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0D79E4B0-7425-4922-988F-56BF12A4F338}"/>
              </a:ext>
            </a:extLst>
          </p:cNvPr>
          <p:cNvSpPr/>
          <p:nvPr/>
        </p:nvSpPr>
        <p:spPr>
          <a:xfrm>
            <a:off x="1873561" y="4573324"/>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8CC2A69B-03DF-41E6-8D45-A5B2CFD95B28}"/>
              </a:ext>
            </a:extLst>
          </p:cNvPr>
          <p:cNvSpPr/>
          <p:nvPr/>
        </p:nvSpPr>
        <p:spPr>
          <a:xfrm>
            <a:off x="1873561" y="5276709"/>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9A410C2E-8B57-488A-97B0-88E98C87BCF2}"/>
              </a:ext>
            </a:extLst>
          </p:cNvPr>
          <p:cNvSpPr>
            <a:spLocks noGrp="1"/>
          </p:cNvSpPr>
          <p:nvPr>
            <p:ph idx="1"/>
          </p:nvPr>
        </p:nvSpPr>
        <p:spPr>
          <a:xfrm>
            <a:off x="853175" y="422704"/>
            <a:ext cx="10774574" cy="524341"/>
          </a:xfrm>
        </p:spPr>
        <p:txBody>
          <a:bodyPr>
            <a:normAutofit fontScale="92500" lnSpcReduction="10000"/>
          </a:bodyPr>
          <a:lstStyle/>
          <a:p>
            <a:pPr marL="0" indent="0">
              <a:buNone/>
            </a:pPr>
            <a:r>
              <a:rPr lang="en-US" sz="3600" b="1" dirty="0"/>
              <a:t>Tools &amp; Services</a:t>
            </a:r>
          </a:p>
          <a:p>
            <a:pPr marL="0" indent="0">
              <a:buNone/>
            </a:pPr>
            <a:endParaRPr lang="en-US" sz="3600" b="1" dirty="0"/>
          </a:p>
          <a:p>
            <a:endParaRPr lang="en-US" sz="3600" b="1" dirty="0"/>
          </a:p>
          <a:p>
            <a:endParaRPr lang="en-US" sz="3600" dirty="0"/>
          </a:p>
        </p:txBody>
      </p:sp>
      <p:pic>
        <p:nvPicPr>
          <p:cNvPr id="4102" name="Picture 6" descr="Chrome">
            <a:extLst>
              <a:ext uri="{FF2B5EF4-FFF2-40B4-BE49-F238E27FC236}">
                <a16:creationId xmlns:a16="http://schemas.microsoft.com/office/drawing/2014/main" id="{5A4B31E6-184D-463B-B0B2-440906ACB83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67945" y="1854168"/>
            <a:ext cx="476250" cy="476250"/>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Node.js">
            <a:extLst>
              <a:ext uri="{FF2B5EF4-FFF2-40B4-BE49-F238E27FC236}">
                <a16:creationId xmlns:a16="http://schemas.microsoft.com/office/drawing/2014/main" id="{54EE58B5-4F79-487C-9A4E-A5DAE91007D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10807" y="2567078"/>
            <a:ext cx="390525" cy="457200"/>
          </a:xfrm>
          <a:prstGeom prst="rect">
            <a:avLst/>
          </a:prstGeom>
          <a:noFill/>
          <a:extLst>
            <a:ext uri="{909E8E84-426E-40DD-AFC4-6F175D3DCCD1}">
              <a14:hiddenFill xmlns:a14="http://schemas.microsoft.com/office/drawing/2010/main">
                <a:solidFill>
                  <a:srgbClr val="FFFFFF"/>
                </a:solidFill>
              </a14:hiddenFill>
            </a:ext>
          </a:extLst>
        </p:spPr>
      </p:pic>
      <p:pic>
        <p:nvPicPr>
          <p:cNvPr id="4106" name="Picture 10" descr="VS Code">
            <a:extLst>
              <a:ext uri="{FF2B5EF4-FFF2-40B4-BE49-F238E27FC236}">
                <a16:creationId xmlns:a16="http://schemas.microsoft.com/office/drawing/2014/main" id="{5BE9152D-6D86-45B7-B458-A2D8444DC5C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7469" y="3276857"/>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4108" name="Picture 12" descr="Postman">
            <a:extLst>
              <a:ext uri="{FF2B5EF4-FFF2-40B4-BE49-F238E27FC236}">
                <a16:creationId xmlns:a16="http://schemas.microsoft.com/office/drawing/2014/main" id="{94BEAD44-942D-4A73-9FD9-F09492EDBCD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77469" y="3973848"/>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4112" name="Picture 16" descr="https://github.com/axians/microservicebus-tutorial/raw/master/img/github-logo.png">
            <a:extLst>
              <a:ext uri="{FF2B5EF4-FFF2-40B4-BE49-F238E27FC236}">
                <a16:creationId xmlns:a16="http://schemas.microsoft.com/office/drawing/2014/main" id="{FEB5F0C2-33D1-4DDB-9D03-A0F43AD5001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67945" y="4681995"/>
            <a:ext cx="476250" cy="44767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a:extLst>
              <a:ext uri="{FF2B5EF4-FFF2-40B4-BE49-F238E27FC236}">
                <a16:creationId xmlns:a16="http://schemas.microsoft.com/office/drawing/2014/main" id="{20066A2E-FE39-41FA-8E73-0C227BE7B59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921179" y="5392283"/>
            <a:ext cx="544204" cy="446658"/>
          </a:xfrm>
          <a:prstGeom prst="rect">
            <a:avLst/>
          </a:prstGeom>
        </p:spPr>
      </p:pic>
      <p:sp>
        <p:nvSpPr>
          <p:cNvPr id="7" name="TextBox 6">
            <a:extLst>
              <a:ext uri="{FF2B5EF4-FFF2-40B4-BE49-F238E27FC236}">
                <a16:creationId xmlns:a16="http://schemas.microsoft.com/office/drawing/2014/main" id="{83E13B70-AAE7-4FDA-85C0-C76C88DDFDDC}"/>
              </a:ext>
            </a:extLst>
          </p:cNvPr>
          <p:cNvSpPr txBox="1"/>
          <p:nvPr/>
        </p:nvSpPr>
        <p:spPr>
          <a:xfrm>
            <a:off x="2602515" y="1882175"/>
            <a:ext cx="1173591" cy="461665"/>
          </a:xfrm>
          <a:prstGeom prst="rect">
            <a:avLst/>
          </a:prstGeom>
          <a:noFill/>
        </p:spPr>
        <p:txBody>
          <a:bodyPr wrap="none" rtlCol="0">
            <a:spAutoFit/>
          </a:bodyPr>
          <a:lstStyle/>
          <a:p>
            <a:r>
              <a:rPr lang="en-US" sz="2400" dirty="0"/>
              <a:t>Chrome</a:t>
            </a:r>
          </a:p>
        </p:txBody>
      </p:sp>
      <p:sp>
        <p:nvSpPr>
          <p:cNvPr id="26" name="TextBox 25">
            <a:extLst>
              <a:ext uri="{FF2B5EF4-FFF2-40B4-BE49-F238E27FC236}">
                <a16:creationId xmlns:a16="http://schemas.microsoft.com/office/drawing/2014/main" id="{58FD3452-A98C-4998-823B-90562C03B288}"/>
              </a:ext>
            </a:extLst>
          </p:cNvPr>
          <p:cNvSpPr txBox="1"/>
          <p:nvPr/>
        </p:nvSpPr>
        <p:spPr>
          <a:xfrm>
            <a:off x="2602515" y="2571239"/>
            <a:ext cx="1132041" cy="461665"/>
          </a:xfrm>
          <a:prstGeom prst="rect">
            <a:avLst/>
          </a:prstGeom>
          <a:noFill/>
        </p:spPr>
        <p:txBody>
          <a:bodyPr wrap="none" rtlCol="0">
            <a:spAutoFit/>
          </a:bodyPr>
          <a:lstStyle/>
          <a:p>
            <a:r>
              <a:rPr lang="en-US" sz="2400" dirty="0"/>
              <a:t>Node.js</a:t>
            </a:r>
          </a:p>
        </p:txBody>
      </p:sp>
      <p:sp>
        <p:nvSpPr>
          <p:cNvPr id="30" name="TextBox 29">
            <a:extLst>
              <a:ext uri="{FF2B5EF4-FFF2-40B4-BE49-F238E27FC236}">
                <a16:creationId xmlns:a16="http://schemas.microsoft.com/office/drawing/2014/main" id="{BB5E95D6-BA9F-4357-85B6-751DBEA3655B}"/>
              </a:ext>
            </a:extLst>
          </p:cNvPr>
          <p:cNvSpPr txBox="1"/>
          <p:nvPr/>
        </p:nvSpPr>
        <p:spPr>
          <a:xfrm>
            <a:off x="2602515" y="3255774"/>
            <a:ext cx="2509020" cy="461665"/>
          </a:xfrm>
          <a:prstGeom prst="rect">
            <a:avLst/>
          </a:prstGeom>
          <a:noFill/>
        </p:spPr>
        <p:txBody>
          <a:bodyPr wrap="none" rtlCol="0">
            <a:spAutoFit/>
          </a:bodyPr>
          <a:lstStyle/>
          <a:p>
            <a:r>
              <a:rPr lang="en-US" sz="2400" dirty="0"/>
              <a:t>Visual Studio Code</a:t>
            </a:r>
          </a:p>
        </p:txBody>
      </p:sp>
      <p:sp>
        <p:nvSpPr>
          <p:cNvPr id="34" name="TextBox 33">
            <a:extLst>
              <a:ext uri="{FF2B5EF4-FFF2-40B4-BE49-F238E27FC236}">
                <a16:creationId xmlns:a16="http://schemas.microsoft.com/office/drawing/2014/main" id="{0740E5A3-0878-4BD5-8178-61F0918C61BB}"/>
              </a:ext>
            </a:extLst>
          </p:cNvPr>
          <p:cNvSpPr txBox="1"/>
          <p:nvPr/>
        </p:nvSpPr>
        <p:spPr>
          <a:xfrm>
            <a:off x="2602515" y="3997283"/>
            <a:ext cx="1273105" cy="461665"/>
          </a:xfrm>
          <a:prstGeom prst="rect">
            <a:avLst/>
          </a:prstGeom>
          <a:noFill/>
        </p:spPr>
        <p:txBody>
          <a:bodyPr wrap="none" rtlCol="0">
            <a:spAutoFit/>
          </a:bodyPr>
          <a:lstStyle/>
          <a:p>
            <a:r>
              <a:rPr lang="en-US" sz="2400" dirty="0"/>
              <a:t>Postman</a:t>
            </a:r>
          </a:p>
        </p:txBody>
      </p:sp>
      <p:sp>
        <p:nvSpPr>
          <p:cNvPr id="35" name="TextBox 34">
            <a:extLst>
              <a:ext uri="{FF2B5EF4-FFF2-40B4-BE49-F238E27FC236}">
                <a16:creationId xmlns:a16="http://schemas.microsoft.com/office/drawing/2014/main" id="{76CEE2C1-64D7-4EE3-828C-4B311CB62B68}"/>
              </a:ext>
            </a:extLst>
          </p:cNvPr>
          <p:cNvSpPr txBox="1"/>
          <p:nvPr/>
        </p:nvSpPr>
        <p:spPr>
          <a:xfrm>
            <a:off x="2602515" y="4686347"/>
            <a:ext cx="1067921" cy="461665"/>
          </a:xfrm>
          <a:prstGeom prst="rect">
            <a:avLst/>
          </a:prstGeom>
          <a:noFill/>
        </p:spPr>
        <p:txBody>
          <a:bodyPr wrap="none" rtlCol="0">
            <a:spAutoFit/>
          </a:bodyPr>
          <a:lstStyle/>
          <a:p>
            <a:r>
              <a:rPr lang="en-US" sz="2400" dirty="0"/>
              <a:t>GitHub</a:t>
            </a:r>
          </a:p>
        </p:txBody>
      </p:sp>
      <p:sp>
        <p:nvSpPr>
          <p:cNvPr id="36" name="TextBox 35">
            <a:extLst>
              <a:ext uri="{FF2B5EF4-FFF2-40B4-BE49-F238E27FC236}">
                <a16:creationId xmlns:a16="http://schemas.microsoft.com/office/drawing/2014/main" id="{F78AE144-ED2C-4354-B844-61592F70A374}"/>
              </a:ext>
            </a:extLst>
          </p:cNvPr>
          <p:cNvSpPr txBox="1"/>
          <p:nvPr/>
        </p:nvSpPr>
        <p:spPr>
          <a:xfrm>
            <a:off x="2602515" y="5370882"/>
            <a:ext cx="2242473" cy="461665"/>
          </a:xfrm>
          <a:prstGeom prst="rect">
            <a:avLst/>
          </a:prstGeom>
          <a:noFill/>
        </p:spPr>
        <p:txBody>
          <a:bodyPr wrap="none" rtlCol="0">
            <a:spAutoFit/>
          </a:bodyPr>
          <a:lstStyle/>
          <a:p>
            <a:r>
              <a:rPr lang="en-US" sz="2400" dirty="0"/>
              <a:t>microServiceBus</a:t>
            </a:r>
          </a:p>
        </p:txBody>
      </p:sp>
      <p:sp>
        <p:nvSpPr>
          <p:cNvPr id="4" name="TextBox 3">
            <a:extLst>
              <a:ext uri="{FF2B5EF4-FFF2-40B4-BE49-F238E27FC236}">
                <a16:creationId xmlns:a16="http://schemas.microsoft.com/office/drawing/2014/main" id="{4DEBD947-C026-42A3-94E3-9AA79B0A30F1}"/>
              </a:ext>
            </a:extLst>
          </p:cNvPr>
          <p:cNvSpPr txBox="1"/>
          <p:nvPr/>
        </p:nvSpPr>
        <p:spPr>
          <a:xfrm>
            <a:off x="6677025" y="365551"/>
            <a:ext cx="5312929" cy="707886"/>
          </a:xfrm>
          <a:prstGeom prst="rect">
            <a:avLst/>
          </a:prstGeom>
          <a:noFill/>
        </p:spPr>
        <p:txBody>
          <a:bodyPr wrap="none" rtlCol="0">
            <a:spAutoFit/>
          </a:bodyPr>
          <a:lstStyle/>
          <a:p>
            <a:r>
              <a:rPr lang="en-US" sz="4000" dirty="0">
                <a:solidFill>
                  <a:schemeClr val="tx1">
                    <a:lumMod val="65000"/>
                  </a:schemeClr>
                </a:solidFill>
              </a:rPr>
              <a:t>http://bit.ly/</a:t>
            </a:r>
            <a:r>
              <a:rPr lang="en-US" sz="4000" b="1" dirty="0"/>
              <a:t>msbtutorial</a:t>
            </a:r>
          </a:p>
        </p:txBody>
      </p:sp>
    </p:spTree>
    <p:extLst>
      <p:ext uri="{BB962C8B-B14F-4D97-AF65-F5344CB8AC3E}">
        <p14:creationId xmlns:p14="http://schemas.microsoft.com/office/powerpoint/2010/main" val="219796997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Axians – </a:t>
            </a:r>
            <a:r>
              <a:rPr lang="sv-SE" b="1" dirty="0">
                <a:solidFill>
                  <a:srgbClr val="FF0000"/>
                </a:solidFill>
              </a:rPr>
              <a:t>IoT</a:t>
            </a:r>
            <a:r>
              <a:rPr lang="sv-SE" dirty="0"/>
              <a:t> Operation</a:t>
            </a:r>
            <a:endParaRPr lang="en-US" dirty="0"/>
          </a:p>
        </p:txBody>
      </p:sp>
      <p:grpSp>
        <p:nvGrpSpPr>
          <p:cNvPr id="22" name="Group 21"/>
          <p:cNvGrpSpPr/>
          <p:nvPr/>
        </p:nvGrpSpPr>
        <p:grpSpPr>
          <a:xfrm>
            <a:off x="3440367" y="1154018"/>
            <a:ext cx="1272556" cy="4831310"/>
            <a:chOff x="3271635" y="1154018"/>
            <a:chExt cx="1272556" cy="4831310"/>
          </a:xfrm>
        </p:grpSpPr>
        <p:pic>
          <p:nvPicPr>
            <p:cNvPr id="1026" name="Picture 2" descr="https://microservicebus.com/Images/ServiceNowLogo.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6200000">
              <a:off x="2961948" y="3259489"/>
              <a:ext cx="1905000" cy="400050"/>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p:cNvSpPr/>
            <p:nvPr/>
          </p:nvSpPr>
          <p:spPr>
            <a:xfrm>
              <a:off x="3271635" y="1154018"/>
              <a:ext cx="1272556" cy="483131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36" name="Group 35"/>
          <p:cNvGrpSpPr/>
          <p:nvPr/>
        </p:nvGrpSpPr>
        <p:grpSpPr>
          <a:xfrm>
            <a:off x="812771" y="1453632"/>
            <a:ext cx="2034945" cy="4011761"/>
            <a:chOff x="704534" y="1467601"/>
            <a:chExt cx="2267904" cy="4471024"/>
          </a:xfrm>
        </p:grpSpPr>
        <p:pic>
          <p:nvPicPr>
            <p:cNvPr id="3" name="Picture 2"/>
            <p:cNvPicPr>
              <a:picLocks noChangeAspect="1"/>
            </p:cNvPicPr>
            <p:nvPr/>
          </p:nvPicPr>
          <p:blipFill>
            <a:blip r:embed="rId3"/>
            <a:stretch>
              <a:fillRect/>
            </a:stretch>
          </p:blipFill>
          <p:spPr>
            <a:xfrm>
              <a:off x="1101057" y="1467601"/>
              <a:ext cx="1691366" cy="1629208"/>
            </a:xfrm>
            <a:prstGeom prst="rect">
              <a:avLst/>
            </a:prstGeom>
          </p:spPr>
        </p:pic>
        <p:pic>
          <p:nvPicPr>
            <p:cNvPr id="5" name="Picture 4"/>
            <p:cNvPicPr>
              <a:picLocks noChangeAspect="1"/>
            </p:cNvPicPr>
            <p:nvPr/>
          </p:nvPicPr>
          <p:blipFill>
            <a:blip r:embed="rId4"/>
            <a:stretch>
              <a:fillRect/>
            </a:stretch>
          </p:blipFill>
          <p:spPr>
            <a:xfrm>
              <a:off x="704534" y="4273447"/>
              <a:ext cx="751106" cy="679824"/>
            </a:xfrm>
            <a:prstGeom prst="rect">
              <a:avLst/>
            </a:prstGeom>
          </p:spPr>
        </p:pic>
        <p:pic>
          <p:nvPicPr>
            <p:cNvPr id="62" name="Picture 61"/>
            <p:cNvPicPr>
              <a:picLocks noChangeAspect="1"/>
            </p:cNvPicPr>
            <p:nvPr/>
          </p:nvPicPr>
          <p:blipFill>
            <a:blip r:embed="rId4"/>
            <a:stretch>
              <a:fillRect/>
            </a:stretch>
          </p:blipFill>
          <p:spPr>
            <a:xfrm>
              <a:off x="1462938" y="4273446"/>
              <a:ext cx="751106" cy="679824"/>
            </a:xfrm>
            <a:prstGeom prst="rect">
              <a:avLst/>
            </a:prstGeom>
          </p:spPr>
        </p:pic>
        <p:pic>
          <p:nvPicPr>
            <p:cNvPr id="63" name="Picture 62"/>
            <p:cNvPicPr>
              <a:picLocks noChangeAspect="1"/>
            </p:cNvPicPr>
            <p:nvPr/>
          </p:nvPicPr>
          <p:blipFill>
            <a:blip r:embed="rId4"/>
            <a:stretch>
              <a:fillRect/>
            </a:stretch>
          </p:blipFill>
          <p:spPr>
            <a:xfrm>
              <a:off x="2221332" y="4273445"/>
              <a:ext cx="751106" cy="679824"/>
            </a:xfrm>
            <a:prstGeom prst="rect">
              <a:avLst/>
            </a:prstGeom>
          </p:spPr>
        </p:pic>
        <p:sp>
          <p:nvSpPr>
            <p:cNvPr id="9" name="TextBox 8"/>
            <p:cNvSpPr txBox="1"/>
            <p:nvPr/>
          </p:nvSpPr>
          <p:spPr>
            <a:xfrm>
              <a:off x="1019328" y="3013535"/>
              <a:ext cx="148091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SERVICE DESK</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5" name="TextBox 64"/>
            <p:cNvSpPr txBox="1"/>
            <p:nvPr/>
          </p:nvSpPr>
          <p:spPr>
            <a:xfrm>
              <a:off x="991369" y="5015295"/>
              <a:ext cx="1694244"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NETWORK OPERATIONS CENTER</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9" name="Group 1028">
            <a:extLst>
              <a:ext uri="{FF2B5EF4-FFF2-40B4-BE49-F238E27FC236}">
                <a16:creationId xmlns:a16="http://schemas.microsoft.com/office/drawing/2014/main" id="{240BDCA2-26D6-4FD6-9AFA-BF2FF6B8B65F}"/>
              </a:ext>
            </a:extLst>
          </p:cNvPr>
          <p:cNvGrpSpPr/>
          <p:nvPr/>
        </p:nvGrpSpPr>
        <p:grpSpPr>
          <a:xfrm>
            <a:off x="4800751" y="1152632"/>
            <a:ext cx="1520944" cy="4831311"/>
            <a:chOff x="4800751" y="1152632"/>
            <a:chExt cx="1520944" cy="4831311"/>
          </a:xfrm>
        </p:grpSpPr>
        <p:sp>
          <p:nvSpPr>
            <p:cNvPr id="51" name="Rectangle 50"/>
            <p:cNvSpPr/>
            <p:nvPr/>
          </p:nvSpPr>
          <p:spPr>
            <a:xfrm>
              <a:off x="4800751" y="1152632"/>
              <a:ext cx="1520944" cy="483131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2" name="Picture 5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21389" y="3065004"/>
              <a:ext cx="879667" cy="721991"/>
            </a:xfrm>
            <a:prstGeom prst="rect">
              <a:avLst/>
            </a:prstGeom>
          </p:spPr>
        </p:pic>
        <p:sp>
          <p:nvSpPr>
            <p:cNvPr id="66" name="TextBox 65"/>
            <p:cNvSpPr txBox="1"/>
            <p:nvPr/>
          </p:nvSpPr>
          <p:spPr>
            <a:xfrm>
              <a:off x="4806507" y="1168072"/>
              <a:ext cx="151518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Devic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Mgmt</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7" name="Group 1026">
            <a:extLst>
              <a:ext uri="{FF2B5EF4-FFF2-40B4-BE49-F238E27FC236}">
                <a16:creationId xmlns:a16="http://schemas.microsoft.com/office/drawing/2014/main" id="{4247E955-95C6-4803-9CFE-53A8E9E77630}"/>
              </a:ext>
            </a:extLst>
          </p:cNvPr>
          <p:cNvGrpSpPr/>
          <p:nvPr/>
        </p:nvGrpSpPr>
        <p:grpSpPr>
          <a:xfrm>
            <a:off x="7614300" y="2880338"/>
            <a:ext cx="3739500" cy="1499510"/>
            <a:chOff x="7614300" y="2880338"/>
            <a:chExt cx="3739500" cy="1499510"/>
          </a:xfrm>
        </p:grpSpPr>
        <p:sp>
          <p:nvSpPr>
            <p:cNvPr id="112" name="Rectangle 111">
              <a:extLst>
                <a:ext uri="{FF2B5EF4-FFF2-40B4-BE49-F238E27FC236}">
                  <a16:creationId xmlns:a16="http://schemas.microsoft.com/office/drawing/2014/main" id="{45864581-913C-4B90-B531-FB2920590272}"/>
                </a:ext>
              </a:extLst>
            </p:cNvPr>
            <p:cNvSpPr/>
            <p:nvPr/>
          </p:nvSpPr>
          <p:spPr>
            <a:xfrm>
              <a:off x="7687346" y="3284404"/>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13" name="Picture 112">
              <a:extLst>
                <a:ext uri="{FF2B5EF4-FFF2-40B4-BE49-F238E27FC236}">
                  <a16:creationId xmlns:a16="http://schemas.microsoft.com/office/drawing/2014/main" id="{6DA0732B-EE61-4D1C-83C3-E5CBE8F99033}"/>
                </a:ext>
              </a:extLst>
            </p:cNvPr>
            <p:cNvPicPr>
              <a:picLocks noChangeAspect="1"/>
            </p:cNvPicPr>
            <p:nvPr/>
          </p:nvPicPr>
          <p:blipFill>
            <a:blip r:embed="rId6"/>
            <a:stretch>
              <a:fillRect/>
            </a:stretch>
          </p:blipFill>
          <p:spPr>
            <a:xfrm>
              <a:off x="9631079" y="3895711"/>
              <a:ext cx="354135" cy="343920"/>
            </a:xfrm>
            <a:prstGeom prst="rect">
              <a:avLst/>
            </a:prstGeom>
          </p:spPr>
        </p:pic>
        <p:pic>
          <p:nvPicPr>
            <p:cNvPr id="114" name="Picture 113">
              <a:extLst>
                <a:ext uri="{FF2B5EF4-FFF2-40B4-BE49-F238E27FC236}">
                  <a16:creationId xmlns:a16="http://schemas.microsoft.com/office/drawing/2014/main" id="{F361A9DB-A270-4B6A-9A3D-AD43731B9907}"/>
                </a:ext>
              </a:extLst>
            </p:cNvPr>
            <p:cNvPicPr>
              <a:picLocks noChangeAspect="1"/>
            </p:cNvPicPr>
            <p:nvPr/>
          </p:nvPicPr>
          <p:blipFill>
            <a:blip r:embed="rId6"/>
            <a:stretch>
              <a:fillRect/>
            </a:stretch>
          </p:blipFill>
          <p:spPr>
            <a:xfrm>
              <a:off x="9631078" y="3463658"/>
              <a:ext cx="354135" cy="343920"/>
            </a:xfrm>
            <a:prstGeom prst="rect">
              <a:avLst/>
            </a:prstGeom>
          </p:spPr>
        </p:pic>
        <p:pic>
          <p:nvPicPr>
            <p:cNvPr id="115" name="Picture 114">
              <a:extLst>
                <a:ext uri="{FF2B5EF4-FFF2-40B4-BE49-F238E27FC236}">
                  <a16:creationId xmlns:a16="http://schemas.microsoft.com/office/drawing/2014/main" id="{0C8E72F0-2700-4E86-83B1-543727E45984}"/>
                </a:ext>
              </a:extLst>
            </p:cNvPr>
            <p:cNvPicPr>
              <a:picLocks noChangeAspect="1"/>
            </p:cNvPicPr>
            <p:nvPr/>
          </p:nvPicPr>
          <p:blipFill>
            <a:blip r:embed="rId6"/>
            <a:stretch>
              <a:fillRect/>
            </a:stretch>
          </p:blipFill>
          <p:spPr>
            <a:xfrm>
              <a:off x="9631077" y="3031605"/>
              <a:ext cx="354135" cy="343920"/>
            </a:xfrm>
            <a:prstGeom prst="rect">
              <a:avLst/>
            </a:prstGeom>
          </p:spPr>
        </p:pic>
        <p:pic>
          <p:nvPicPr>
            <p:cNvPr id="116" name="Picture 115">
              <a:extLst>
                <a:ext uri="{FF2B5EF4-FFF2-40B4-BE49-F238E27FC236}">
                  <a16:creationId xmlns:a16="http://schemas.microsoft.com/office/drawing/2014/main" id="{CF1BB178-83FC-4BA2-B790-87B2D0E2210E}"/>
                </a:ext>
              </a:extLst>
            </p:cNvPr>
            <p:cNvPicPr>
              <a:picLocks noChangeAspect="1"/>
            </p:cNvPicPr>
            <p:nvPr/>
          </p:nvPicPr>
          <p:blipFill>
            <a:blip r:embed="rId6"/>
            <a:stretch>
              <a:fillRect/>
            </a:stretch>
          </p:blipFill>
          <p:spPr>
            <a:xfrm>
              <a:off x="10066943" y="3895711"/>
              <a:ext cx="354135" cy="343920"/>
            </a:xfrm>
            <a:prstGeom prst="rect">
              <a:avLst/>
            </a:prstGeom>
          </p:spPr>
        </p:pic>
        <p:pic>
          <p:nvPicPr>
            <p:cNvPr id="117" name="Picture 116">
              <a:extLst>
                <a:ext uri="{FF2B5EF4-FFF2-40B4-BE49-F238E27FC236}">
                  <a16:creationId xmlns:a16="http://schemas.microsoft.com/office/drawing/2014/main" id="{EF9D3BA8-FCB5-4480-BF86-22B6E2F1C11F}"/>
                </a:ext>
              </a:extLst>
            </p:cNvPr>
            <p:cNvPicPr>
              <a:picLocks noChangeAspect="1"/>
            </p:cNvPicPr>
            <p:nvPr/>
          </p:nvPicPr>
          <p:blipFill>
            <a:blip r:embed="rId6"/>
            <a:stretch>
              <a:fillRect/>
            </a:stretch>
          </p:blipFill>
          <p:spPr>
            <a:xfrm>
              <a:off x="10066942" y="3463658"/>
              <a:ext cx="354135" cy="343920"/>
            </a:xfrm>
            <a:prstGeom prst="rect">
              <a:avLst/>
            </a:prstGeom>
          </p:spPr>
        </p:pic>
        <p:pic>
          <p:nvPicPr>
            <p:cNvPr id="118" name="Picture 117">
              <a:extLst>
                <a:ext uri="{FF2B5EF4-FFF2-40B4-BE49-F238E27FC236}">
                  <a16:creationId xmlns:a16="http://schemas.microsoft.com/office/drawing/2014/main" id="{503B7343-3F1D-4C2F-AEA4-16B1078387D7}"/>
                </a:ext>
              </a:extLst>
            </p:cNvPr>
            <p:cNvPicPr>
              <a:picLocks noChangeAspect="1"/>
            </p:cNvPicPr>
            <p:nvPr/>
          </p:nvPicPr>
          <p:blipFill>
            <a:blip r:embed="rId6"/>
            <a:stretch>
              <a:fillRect/>
            </a:stretch>
          </p:blipFill>
          <p:spPr>
            <a:xfrm>
              <a:off x="10066941" y="3031605"/>
              <a:ext cx="354135" cy="343920"/>
            </a:xfrm>
            <a:prstGeom prst="rect">
              <a:avLst/>
            </a:prstGeom>
          </p:spPr>
        </p:pic>
        <p:pic>
          <p:nvPicPr>
            <p:cNvPr id="119" name="Picture 118">
              <a:extLst>
                <a:ext uri="{FF2B5EF4-FFF2-40B4-BE49-F238E27FC236}">
                  <a16:creationId xmlns:a16="http://schemas.microsoft.com/office/drawing/2014/main" id="{9BF859DD-F7A2-4C81-8790-00311632C23E}"/>
                </a:ext>
              </a:extLst>
            </p:cNvPr>
            <p:cNvPicPr>
              <a:picLocks noChangeAspect="1"/>
            </p:cNvPicPr>
            <p:nvPr/>
          </p:nvPicPr>
          <p:blipFill>
            <a:blip r:embed="rId6"/>
            <a:stretch>
              <a:fillRect/>
            </a:stretch>
          </p:blipFill>
          <p:spPr>
            <a:xfrm>
              <a:off x="10502807" y="3895711"/>
              <a:ext cx="354135" cy="343920"/>
            </a:xfrm>
            <a:prstGeom prst="rect">
              <a:avLst/>
            </a:prstGeom>
          </p:spPr>
        </p:pic>
        <p:pic>
          <p:nvPicPr>
            <p:cNvPr id="120" name="Picture 119">
              <a:extLst>
                <a:ext uri="{FF2B5EF4-FFF2-40B4-BE49-F238E27FC236}">
                  <a16:creationId xmlns:a16="http://schemas.microsoft.com/office/drawing/2014/main" id="{70B17A51-4B80-48C8-8B22-0FB0F3235360}"/>
                </a:ext>
              </a:extLst>
            </p:cNvPr>
            <p:cNvPicPr>
              <a:picLocks noChangeAspect="1"/>
            </p:cNvPicPr>
            <p:nvPr/>
          </p:nvPicPr>
          <p:blipFill>
            <a:blip r:embed="rId6"/>
            <a:stretch>
              <a:fillRect/>
            </a:stretch>
          </p:blipFill>
          <p:spPr>
            <a:xfrm>
              <a:off x="10502806" y="3463658"/>
              <a:ext cx="354135" cy="343920"/>
            </a:xfrm>
            <a:prstGeom prst="rect">
              <a:avLst/>
            </a:prstGeom>
          </p:spPr>
        </p:pic>
        <p:pic>
          <p:nvPicPr>
            <p:cNvPr id="121" name="Picture 120">
              <a:extLst>
                <a:ext uri="{FF2B5EF4-FFF2-40B4-BE49-F238E27FC236}">
                  <a16:creationId xmlns:a16="http://schemas.microsoft.com/office/drawing/2014/main" id="{B9E9895A-7AD0-41F0-9C4C-E6623BEB99EA}"/>
                </a:ext>
              </a:extLst>
            </p:cNvPr>
            <p:cNvPicPr>
              <a:picLocks noChangeAspect="1"/>
            </p:cNvPicPr>
            <p:nvPr/>
          </p:nvPicPr>
          <p:blipFill>
            <a:blip r:embed="rId6"/>
            <a:stretch>
              <a:fillRect/>
            </a:stretch>
          </p:blipFill>
          <p:spPr>
            <a:xfrm>
              <a:off x="10502805" y="3031605"/>
              <a:ext cx="354135" cy="343920"/>
            </a:xfrm>
            <a:prstGeom prst="rect">
              <a:avLst/>
            </a:prstGeom>
          </p:spPr>
        </p:pic>
        <p:pic>
          <p:nvPicPr>
            <p:cNvPr id="122" name="Picture 121">
              <a:extLst>
                <a:ext uri="{FF2B5EF4-FFF2-40B4-BE49-F238E27FC236}">
                  <a16:creationId xmlns:a16="http://schemas.microsoft.com/office/drawing/2014/main" id="{B6F70FE5-27CD-40F2-A50E-5229267A5376}"/>
                </a:ext>
              </a:extLst>
            </p:cNvPr>
            <p:cNvPicPr>
              <a:picLocks noChangeAspect="1"/>
            </p:cNvPicPr>
            <p:nvPr/>
          </p:nvPicPr>
          <p:blipFill>
            <a:blip r:embed="rId6"/>
            <a:stretch>
              <a:fillRect/>
            </a:stretch>
          </p:blipFill>
          <p:spPr>
            <a:xfrm>
              <a:off x="10938671" y="3895711"/>
              <a:ext cx="354135" cy="343920"/>
            </a:xfrm>
            <a:prstGeom prst="rect">
              <a:avLst/>
            </a:prstGeom>
          </p:spPr>
        </p:pic>
        <p:pic>
          <p:nvPicPr>
            <p:cNvPr id="123" name="Picture 122">
              <a:extLst>
                <a:ext uri="{FF2B5EF4-FFF2-40B4-BE49-F238E27FC236}">
                  <a16:creationId xmlns:a16="http://schemas.microsoft.com/office/drawing/2014/main" id="{968389B7-EE9C-4F32-B0FF-D1E2A848D42B}"/>
                </a:ext>
              </a:extLst>
            </p:cNvPr>
            <p:cNvPicPr>
              <a:picLocks noChangeAspect="1"/>
            </p:cNvPicPr>
            <p:nvPr/>
          </p:nvPicPr>
          <p:blipFill>
            <a:blip r:embed="rId6"/>
            <a:stretch>
              <a:fillRect/>
            </a:stretch>
          </p:blipFill>
          <p:spPr>
            <a:xfrm>
              <a:off x="10938670" y="3463658"/>
              <a:ext cx="354135" cy="343920"/>
            </a:xfrm>
            <a:prstGeom prst="rect">
              <a:avLst/>
            </a:prstGeom>
          </p:spPr>
        </p:pic>
        <p:pic>
          <p:nvPicPr>
            <p:cNvPr id="124" name="Picture 123">
              <a:extLst>
                <a:ext uri="{FF2B5EF4-FFF2-40B4-BE49-F238E27FC236}">
                  <a16:creationId xmlns:a16="http://schemas.microsoft.com/office/drawing/2014/main" id="{E01ECDA3-9BA6-47B9-83CE-340618F723BC}"/>
                </a:ext>
              </a:extLst>
            </p:cNvPr>
            <p:cNvPicPr>
              <a:picLocks noChangeAspect="1"/>
            </p:cNvPicPr>
            <p:nvPr/>
          </p:nvPicPr>
          <p:blipFill>
            <a:blip r:embed="rId6"/>
            <a:stretch>
              <a:fillRect/>
            </a:stretch>
          </p:blipFill>
          <p:spPr>
            <a:xfrm>
              <a:off x="10938669" y="3031605"/>
              <a:ext cx="354135" cy="343920"/>
            </a:xfrm>
            <a:prstGeom prst="rect">
              <a:avLst/>
            </a:prstGeom>
          </p:spPr>
        </p:pic>
        <p:sp>
          <p:nvSpPr>
            <p:cNvPr id="125" name="Rectangle 124">
              <a:extLst>
                <a:ext uri="{FF2B5EF4-FFF2-40B4-BE49-F238E27FC236}">
                  <a16:creationId xmlns:a16="http://schemas.microsoft.com/office/drawing/2014/main" id="{C7ECC834-E963-4038-BB6E-9924343554FD}"/>
                </a:ext>
              </a:extLst>
            </p:cNvPr>
            <p:cNvSpPr/>
            <p:nvPr/>
          </p:nvSpPr>
          <p:spPr>
            <a:xfrm>
              <a:off x="9566076" y="2895478"/>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6" name="Straight Arrow Connector 125">
              <a:extLst>
                <a:ext uri="{FF2B5EF4-FFF2-40B4-BE49-F238E27FC236}">
                  <a16:creationId xmlns:a16="http://schemas.microsoft.com/office/drawing/2014/main" id="{77177B09-C981-4444-96EA-9F85052E0FF8}"/>
                </a:ext>
              </a:extLst>
            </p:cNvPr>
            <p:cNvCxnSpPr>
              <a:stCxn id="112" idx="3"/>
              <a:endCxn id="125" idx="1"/>
            </p:cNvCxnSpPr>
            <p:nvPr/>
          </p:nvCxnSpPr>
          <p:spPr>
            <a:xfrm>
              <a:off x="8792246" y="3633654"/>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3" name="TextBox 142">
              <a:extLst>
                <a:ext uri="{FF2B5EF4-FFF2-40B4-BE49-F238E27FC236}">
                  <a16:creationId xmlns:a16="http://schemas.microsoft.com/office/drawing/2014/main" id="{C0EC3CDA-02A0-47C9-8C43-50F517E80E67}"/>
                </a:ext>
              </a:extLst>
            </p:cNvPr>
            <p:cNvSpPr txBox="1"/>
            <p:nvPr/>
          </p:nvSpPr>
          <p:spPr>
            <a:xfrm>
              <a:off x="7614300" y="2880338"/>
              <a:ext cx="1271502" cy="369332"/>
            </a:xfrm>
            <a:prstGeom prst="rect">
              <a:avLst/>
            </a:prstGeom>
            <a:noFill/>
          </p:spPr>
          <p:txBody>
            <a:bodyPr wrap="none" rtlCol="0">
              <a:spAutoFit/>
            </a:bodyPr>
            <a:lstStyle/>
            <a:p>
              <a:r>
                <a:rPr lang="sv-SE" dirty="0"/>
                <a:t>Customer B</a:t>
              </a:r>
              <a:endParaRPr lang="en-US" dirty="0"/>
            </a:p>
          </p:txBody>
        </p:sp>
        <p:pic>
          <p:nvPicPr>
            <p:cNvPr id="145" name="Picture 4" descr="Related image">
              <a:extLst>
                <a:ext uri="{FF2B5EF4-FFF2-40B4-BE49-F238E27FC236}">
                  <a16:creationId xmlns:a16="http://schemas.microsoft.com/office/drawing/2014/main" id="{2FBFACFD-2097-4971-817B-11CF759B7F6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623840" y="3797438"/>
              <a:ext cx="418541" cy="5064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8" name="Group 1027">
            <a:extLst>
              <a:ext uri="{FF2B5EF4-FFF2-40B4-BE49-F238E27FC236}">
                <a16:creationId xmlns:a16="http://schemas.microsoft.com/office/drawing/2014/main" id="{0CDE55AB-F524-4AFF-8F1E-304A555BFC43}"/>
              </a:ext>
            </a:extLst>
          </p:cNvPr>
          <p:cNvGrpSpPr/>
          <p:nvPr/>
        </p:nvGrpSpPr>
        <p:grpSpPr>
          <a:xfrm>
            <a:off x="7628563" y="4545087"/>
            <a:ext cx="3725237" cy="1486453"/>
            <a:chOff x="7628563" y="4545087"/>
            <a:chExt cx="3725237" cy="1486453"/>
          </a:xfrm>
        </p:grpSpPr>
        <p:sp>
          <p:nvSpPr>
            <p:cNvPr id="127" name="Rectangle 126">
              <a:extLst>
                <a:ext uri="{FF2B5EF4-FFF2-40B4-BE49-F238E27FC236}">
                  <a16:creationId xmlns:a16="http://schemas.microsoft.com/office/drawing/2014/main" id="{F580FFF3-D4BF-47F5-8541-D44196DE24B3}"/>
                </a:ext>
              </a:extLst>
            </p:cNvPr>
            <p:cNvSpPr/>
            <p:nvPr/>
          </p:nvSpPr>
          <p:spPr>
            <a:xfrm>
              <a:off x="7687346" y="4936096"/>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28" name="Picture 127">
              <a:extLst>
                <a:ext uri="{FF2B5EF4-FFF2-40B4-BE49-F238E27FC236}">
                  <a16:creationId xmlns:a16="http://schemas.microsoft.com/office/drawing/2014/main" id="{6BD708F8-E9BA-4F50-9698-6269D3F90311}"/>
                </a:ext>
              </a:extLst>
            </p:cNvPr>
            <p:cNvPicPr>
              <a:picLocks noChangeAspect="1"/>
            </p:cNvPicPr>
            <p:nvPr/>
          </p:nvPicPr>
          <p:blipFill>
            <a:blip r:embed="rId6"/>
            <a:stretch>
              <a:fillRect/>
            </a:stretch>
          </p:blipFill>
          <p:spPr>
            <a:xfrm>
              <a:off x="9631079" y="5547403"/>
              <a:ext cx="354135" cy="343920"/>
            </a:xfrm>
            <a:prstGeom prst="rect">
              <a:avLst/>
            </a:prstGeom>
          </p:spPr>
        </p:pic>
        <p:pic>
          <p:nvPicPr>
            <p:cNvPr id="129" name="Picture 128">
              <a:extLst>
                <a:ext uri="{FF2B5EF4-FFF2-40B4-BE49-F238E27FC236}">
                  <a16:creationId xmlns:a16="http://schemas.microsoft.com/office/drawing/2014/main" id="{61D82181-4B14-4798-AD32-5D0480EA8D7C}"/>
                </a:ext>
              </a:extLst>
            </p:cNvPr>
            <p:cNvPicPr>
              <a:picLocks noChangeAspect="1"/>
            </p:cNvPicPr>
            <p:nvPr/>
          </p:nvPicPr>
          <p:blipFill>
            <a:blip r:embed="rId6"/>
            <a:stretch>
              <a:fillRect/>
            </a:stretch>
          </p:blipFill>
          <p:spPr>
            <a:xfrm>
              <a:off x="9631078" y="5115350"/>
              <a:ext cx="354135" cy="343920"/>
            </a:xfrm>
            <a:prstGeom prst="rect">
              <a:avLst/>
            </a:prstGeom>
          </p:spPr>
        </p:pic>
        <p:pic>
          <p:nvPicPr>
            <p:cNvPr id="130" name="Picture 129">
              <a:extLst>
                <a:ext uri="{FF2B5EF4-FFF2-40B4-BE49-F238E27FC236}">
                  <a16:creationId xmlns:a16="http://schemas.microsoft.com/office/drawing/2014/main" id="{90101D1B-5CF1-4E87-900A-CBC0B60CD6FE}"/>
                </a:ext>
              </a:extLst>
            </p:cNvPr>
            <p:cNvPicPr>
              <a:picLocks noChangeAspect="1"/>
            </p:cNvPicPr>
            <p:nvPr/>
          </p:nvPicPr>
          <p:blipFill>
            <a:blip r:embed="rId6"/>
            <a:stretch>
              <a:fillRect/>
            </a:stretch>
          </p:blipFill>
          <p:spPr>
            <a:xfrm>
              <a:off x="9631077" y="4683297"/>
              <a:ext cx="354135" cy="343920"/>
            </a:xfrm>
            <a:prstGeom prst="rect">
              <a:avLst/>
            </a:prstGeom>
          </p:spPr>
        </p:pic>
        <p:pic>
          <p:nvPicPr>
            <p:cNvPr id="131" name="Picture 130">
              <a:extLst>
                <a:ext uri="{FF2B5EF4-FFF2-40B4-BE49-F238E27FC236}">
                  <a16:creationId xmlns:a16="http://schemas.microsoft.com/office/drawing/2014/main" id="{2BE62D41-4077-4EF2-B954-86AC1CA44CE7}"/>
                </a:ext>
              </a:extLst>
            </p:cNvPr>
            <p:cNvPicPr>
              <a:picLocks noChangeAspect="1"/>
            </p:cNvPicPr>
            <p:nvPr/>
          </p:nvPicPr>
          <p:blipFill>
            <a:blip r:embed="rId6"/>
            <a:stretch>
              <a:fillRect/>
            </a:stretch>
          </p:blipFill>
          <p:spPr>
            <a:xfrm>
              <a:off x="10066943" y="5547403"/>
              <a:ext cx="354135" cy="343920"/>
            </a:xfrm>
            <a:prstGeom prst="rect">
              <a:avLst/>
            </a:prstGeom>
          </p:spPr>
        </p:pic>
        <p:pic>
          <p:nvPicPr>
            <p:cNvPr id="132" name="Picture 131">
              <a:extLst>
                <a:ext uri="{FF2B5EF4-FFF2-40B4-BE49-F238E27FC236}">
                  <a16:creationId xmlns:a16="http://schemas.microsoft.com/office/drawing/2014/main" id="{ACE955F3-56EF-4FF7-B68C-7E14592AD966}"/>
                </a:ext>
              </a:extLst>
            </p:cNvPr>
            <p:cNvPicPr>
              <a:picLocks noChangeAspect="1"/>
            </p:cNvPicPr>
            <p:nvPr/>
          </p:nvPicPr>
          <p:blipFill>
            <a:blip r:embed="rId6"/>
            <a:stretch>
              <a:fillRect/>
            </a:stretch>
          </p:blipFill>
          <p:spPr>
            <a:xfrm>
              <a:off x="10066942" y="5115350"/>
              <a:ext cx="354135" cy="343920"/>
            </a:xfrm>
            <a:prstGeom prst="rect">
              <a:avLst/>
            </a:prstGeom>
          </p:spPr>
        </p:pic>
        <p:pic>
          <p:nvPicPr>
            <p:cNvPr id="133" name="Picture 132">
              <a:extLst>
                <a:ext uri="{FF2B5EF4-FFF2-40B4-BE49-F238E27FC236}">
                  <a16:creationId xmlns:a16="http://schemas.microsoft.com/office/drawing/2014/main" id="{D17C739D-C673-4B04-9595-7EE4B465850F}"/>
                </a:ext>
              </a:extLst>
            </p:cNvPr>
            <p:cNvPicPr>
              <a:picLocks noChangeAspect="1"/>
            </p:cNvPicPr>
            <p:nvPr/>
          </p:nvPicPr>
          <p:blipFill>
            <a:blip r:embed="rId6"/>
            <a:stretch>
              <a:fillRect/>
            </a:stretch>
          </p:blipFill>
          <p:spPr>
            <a:xfrm>
              <a:off x="10066941" y="4683297"/>
              <a:ext cx="354135" cy="343920"/>
            </a:xfrm>
            <a:prstGeom prst="rect">
              <a:avLst/>
            </a:prstGeom>
          </p:spPr>
        </p:pic>
        <p:pic>
          <p:nvPicPr>
            <p:cNvPr id="134" name="Picture 133">
              <a:extLst>
                <a:ext uri="{FF2B5EF4-FFF2-40B4-BE49-F238E27FC236}">
                  <a16:creationId xmlns:a16="http://schemas.microsoft.com/office/drawing/2014/main" id="{9CCAC823-B588-460D-877D-3FFB9C1AB78C}"/>
                </a:ext>
              </a:extLst>
            </p:cNvPr>
            <p:cNvPicPr>
              <a:picLocks noChangeAspect="1"/>
            </p:cNvPicPr>
            <p:nvPr/>
          </p:nvPicPr>
          <p:blipFill>
            <a:blip r:embed="rId6"/>
            <a:stretch>
              <a:fillRect/>
            </a:stretch>
          </p:blipFill>
          <p:spPr>
            <a:xfrm>
              <a:off x="10502807" y="5547403"/>
              <a:ext cx="354135" cy="343920"/>
            </a:xfrm>
            <a:prstGeom prst="rect">
              <a:avLst/>
            </a:prstGeom>
          </p:spPr>
        </p:pic>
        <p:pic>
          <p:nvPicPr>
            <p:cNvPr id="135" name="Picture 134">
              <a:extLst>
                <a:ext uri="{FF2B5EF4-FFF2-40B4-BE49-F238E27FC236}">
                  <a16:creationId xmlns:a16="http://schemas.microsoft.com/office/drawing/2014/main" id="{4FF6DB55-2385-47E2-892A-250644DFB969}"/>
                </a:ext>
              </a:extLst>
            </p:cNvPr>
            <p:cNvPicPr>
              <a:picLocks noChangeAspect="1"/>
            </p:cNvPicPr>
            <p:nvPr/>
          </p:nvPicPr>
          <p:blipFill>
            <a:blip r:embed="rId6"/>
            <a:stretch>
              <a:fillRect/>
            </a:stretch>
          </p:blipFill>
          <p:spPr>
            <a:xfrm>
              <a:off x="10502806" y="5115350"/>
              <a:ext cx="354135" cy="343920"/>
            </a:xfrm>
            <a:prstGeom prst="rect">
              <a:avLst/>
            </a:prstGeom>
          </p:spPr>
        </p:pic>
        <p:pic>
          <p:nvPicPr>
            <p:cNvPr id="136" name="Picture 135">
              <a:extLst>
                <a:ext uri="{FF2B5EF4-FFF2-40B4-BE49-F238E27FC236}">
                  <a16:creationId xmlns:a16="http://schemas.microsoft.com/office/drawing/2014/main" id="{46A4E906-2B48-4FE0-BE70-C7B4A1949E48}"/>
                </a:ext>
              </a:extLst>
            </p:cNvPr>
            <p:cNvPicPr>
              <a:picLocks noChangeAspect="1"/>
            </p:cNvPicPr>
            <p:nvPr/>
          </p:nvPicPr>
          <p:blipFill>
            <a:blip r:embed="rId6"/>
            <a:stretch>
              <a:fillRect/>
            </a:stretch>
          </p:blipFill>
          <p:spPr>
            <a:xfrm>
              <a:off x="10502805" y="4683297"/>
              <a:ext cx="354135" cy="343920"/>
            </a:xfrm>
            <a:prstGeom prst="rect">
              <a:avLst/>
            </a:prstGeom>
          </p:spPr>
        </p:pic>
        <p:pic>
          <p:nvPicPr>
            <p:cNvPr id="137" name="Picture 136">
              <a:extLst>
                <a:ext uri="{FF2B5EF4-FFF2-40B4-BE49-F238E27FC236}">
                  <a16:creationId xmlns:a16="http://schemas.microsoft.com/office/drawing/2014/main" id="{ABBF6649-2E5E-4CDE-B90F-153E8E70A82D}"/>
                </a:ext>
              </a:extLst>
            </p:cNvPr>
            <p:cNvPicPr>
              <a:picLocks noChangeAspect="1"/>
            </p:cNvPicPr>
            <p:nvPr/>
          </p:nvPicPr>
          <p:blipFill>
            <a:blip r:embed="rId6"/>
            <a:stretch>
              <a:fillRect/>
            </a:stretch>
          </p:blipFill>
          <p:spPr>
            <a:xfrm>
              <a:off x="10938671" y="5547403"/>
              <a:ext cx="354135" cy="343920"/>
            </a:xfrm>
            <a:prstGeom prst="rect">
              <a:avLst/>
            </a:prstGeom>
          </p:spPr>
        </p:pic>
        <p:pic>
          <p:nvPicPr>
            <p:cNvPr id="138" name="Picture 137">
              <a:extLst>
                <a:ext uri="{FF2B5EF4-FFF2-40B4-BE49-F238E27FC236}">
                  <a16:creationId xmlns:a16="http://schemas.microsoft.com/office/drawing/2014/main" id="{9A0A3B09-C427-4914-BBA6-91BE69A10B2E}"/>
                </a:ext>
              </a:extLst>
            </p:cNvPr>
            <p:cNvPicPr>
              <a:picLocks noChangeAspect="1"/>
            </p:cNvPicPr>
            <p:nvPr/>
          </p:nvPicPr>
          <p:blipFill>
            <a:blip r:embed="rId6"/>
            <a:stretch>
              <a:fillRect/>
            </a:stretch>
          </p:blipFill>
          <p:spPr>
            <a:xfrm>
              <a:off x="10938670" y="5115350"/>
              <a:ext cx="354135" cy="343920"/>
            </a:xfrm>
            <a:prstGeom prst="rect">
              <a:avLst/>
            </a:prstGeom>
          </p:spPr>
        </p:pic>
        <p:pic>
          <p:nvPicPr>
            <p:cNvPr id="139" name="Picture 138">
              <a:extLst>
                <a:ext uri="{FF2B5EF4-FFF2-40B4-BE49-F238E27FC236}">
                  <a16:creationId xmlns:a16="http://schemas.microsoft.com/office/drawing/2014/main" id="{A3B3290C-EDB4-4698-BF5C-63391536297B}"/>
                </a:ext>
              </a:extLst>
            </p:cNvPr>
            <p:cNvPicPr>
              <a:picLocks noChangeAspect="1"/>
            </p:cNvPicPr>
            <p:nvPr/>
          </p:nvPicPr>
          <p:blipFill>
            <a:blip r:embed="rId6"/>
            <a:stretch>
              <a:fillRect/>
            </a:stretch>
          </p:blipFill>
          <p:spPr>
            <a:xfrm>
              <a:off x="10938669" y="4683297"/>
              <a:ext cx="354135" cy="343920"/>
            </a:xfrm>
            <a:prstGeom prst="rect">
              <a:avLst/>
            </a:prstGeom>
          </p:spPr>
        </p:pic>
        <p:sp>
          <p:nvSpPr>
            <p:cNvPr id="140" name="Rectangle 139">
              <a:extLst>
                <a:ext uri="{FF2B5EF4-FFF2-40B4-BE49-F238E27FC236}">
                  <a16:creationId xmlns:a16="http://schemas.microsoft.com/office/drawing/2014/main" id="{390E4A24-8629-4F35-9D57-E5FF116ACFE1}"/>
                </a:ext>
              </a:extLst>
            </p:cNvPr>
            <p:cNvSpPr/>
            <p:nvPr/>
          </p:nvSpPr>
          <p:spPr>
            <a:xfrm>
              <a:off x="9566076" y="4547170"/>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1" name="Straight Arrow Connector 140">
              <a:extLst>
                <a:ext uri="{FF2B5EF4-FFF2-40B4-BE49-F238E27FC236}">
                  <a16:creationId xmlns:a16="http://schemas.microsoft.com/office/drawing/2014/main" id="{24D7430D-DC3D-4A49-B335-6E111581EE80}"/>
                </a:ext>
              </a:extLst>
            </p:cNvPr>
            <p:cNvCxnSpPr>
              <a:stCxn id="127" idx="3"/>
              <a:endCxn id="140" idx="1"/>
            </p:cNvCxnSpPr>
            <p:nvPr/>
          </p:nvCxnSpPr>
          <p:spPr>
            <a:xfrm>
              <a:off x="8792246" y="5285346"/>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4" name="TextBox 143">
              <a:extLst>
                <a:ext uri="{FF2B5EF4-FFF2-40B4-BE49-F238E27FC236}">
                  <a16:creationId xmlns:a16="http://schemas.microsoft.com/office/drawing/2014/main" id="{2E1BFADE-EECB-4A31-AC72-E1E319EF7359}"/>
                </a:ext>
              </a:extLst>
            </p:cNvPr>
            <p:cNvSpPr txBox="1"/>
            <p:nvPr/>
          </p:nvSpPr>
          <p:spPr>
            <a:xfrm>
              <a:off x="7628563" y="4545087"/>
              <a:ext cx="1269899" cy="369332"/>
            </a:xfrm>
            <a:prstGeom prst="rect">
              <a:avLst/>
            </a:prstGeom>
            <a:noFill/>
          </p:spPr>
          <p:txBody>
            <a:bodyPr wrap="none" rtlCol="0">
              <a:spAutoFit/>
            </a:bodyPr>
            <a:lstStyle/>
            <a:p>
              <a:r>
                <a:rPr lang="sv-SE" dirty="0"/>
                <a:t>Customer C</a:t>
              </a:r>
              <a:endParaRPr lang="en-US" dirty="0"/>
            </a:p>
          </p:txBody>
        </p:sp>
        <p:pic>
          <p:nvPicPr>
            <p:cNvPr id="146" name="Picture 10" descr="Image result for ibm IOT logo">
              <a:extLst>
                <a:ext uri="{FF2B5EF4-FFF2-40B4-BE49-F238E27FC236}">
                  <a16:creationId xmlns:a16="http://schemas.microsoft.com/office/drawing/2014/main" id="{C3B0129C-EA2B-4878-9272-0AFDF8FC8E6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608637" y="5424829"/>
              <a:ext cx="570524" cy="5591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5" name="Group 1024">
            <a:extLst>
              <a:ext uri="{FF2B5EF4-FFF2-40B4-BE49-F238E27FC236}">
                <a16:creationId xmlns:a16="http://schemas.microsoft.com/office/drawing/2014/main" id="{33E4F68E-0296-4F20-B2B6-9C823641D452}"/>
              </a:ext>
            </a:extLst>
          </p:cNvPr>
          <p:cNvGrpSpPr/>
          <p:nvPr/>
        </p:nvGrpSpPr>
        <p:grpSpPr>
          <a:xfrm>
            <a:off x="7600037" y="1215589"/>
            <a:ext cx="3753763" cy="1512567"/>
            <a:chOff x="7600037" y="1215589"/>
            <a:chExt cx="3753763" cy="1512567"/>
          </a:xfrm>
        </p:grpSpPr>
        <p:sp>
          <p:nvSpPr>
            <p:cNvPr id="97" name="Rectangle 96">
              <a:extLst>
                <a:ext uri="{FF2B5EF4-FFF2-40B4-BE49-F238E27FC236}">
                  <a16:creationId xmlns:a16="http://schemas.microsoft.com/office/drawing/2014/main" id="{8DFB482E-E367-494E-9070-060F7F323E9D}"/>
                </a:ext>
              </a:extLst>
            </p:cNvPr>
            <p:cNvSpPr/>
            <p:nvPr/>
          </p:nvSpPr>
          <p:spPr>
            <a:xfrm>
              <a:off x="7687346" y="1632712"/>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98" name="Picture 97">
              <a:extLst>
                <a:ext uri="{FF2B5EF4-FFF2-40B4-BE49-F238E27FC236}">
                  <a16:creationId xmlns:a16="http://schemas.microsoft.com/office/drawing/2014/main" id="{9F8B69E9-BF8B-47AD-986E-FA3031CE06FF}"/>
                </a:ext>
              </a:extLst>
            </p:cNvPr>
            <p:cNvPicPr>
              <a:picLocks noChangeAspect="1"/>
            </p:cNvPicPr>
            <p:nvPr/>
          </p:nvPicPr>
          <p:blipFill>
            <a:blip r:embed="rId6"/>
            <a:stretch>
              <a:fillRect/>
            </a:stretch>
          </p:blipFill>
          <p:spPr>
            <a:xfrm>
              <a:off x="9631079" y="2244019"/>
              <a:ext cx="354135" cy="343920"/>
            </a:xfrm>
            <a:prstGeom prst="rect">
              <a:avLst/>
            </a:prstGeom>
          </p:spPr>
        </p:pic>
        <p:pic>
          <p:nvPicPr>
            <p:cNvPr id="99" name="Picture 98">
              <a:extLst>
                <a:ext uri="{FF2B5EF4-FFF2-40B4-BE49-F238E27FC236}">
                  <a16:creationId xmlns:a16="http://schemas.microsoft.com/office/drawing/2014/main" id="{25564854-60C0-47A2-849E-5BC647B7E764}"/>
                </a:ext>
              </a:extLst>
            </p:cNvPr>
            <p:cNvPicPr>
              <a:picLocks noChangeAspect="1"/>
            </p:cNvPicPr>
            <p:nvPr/>
          </p:nvPicPr>
          <p:blipFill>
            <a:blip r:embed="rId6"/>
            <a:stretch>
              <a:fillRect/>
            </a:stretch>
          </p:blipFill>
          <p:spPr>
            <a:xfrm>
              <a:off x="9631078" y="1811966"/>
              <a:ext cx="354135" cy="343920"/>
            </a:xfrm>
            <a:prstGeom prst="rect">
              <a:avLst/>
            </a:prstGeom>
          </p:spPr>
        </p:pic>
        <p:pic>
          <p:nvPicPr>
            <p:cNvPr id="100" name="Picture 99">
              <a:extLst>
                <a:ext uri="{FF2B5EF4-FFF2-40B4-BE49-F238E27FC236}">
                  <a16:creationId xmlns:a16="http://schemas.microsoft.com/office/drawing/2014/main" id="{C057CA5D-804B-4419-A1BC-08D1E7B8452D}"/>
                </a:ext>
              </a:extLst>
            </p:cNvPr>
            <p:cNvPicPr>
              <a:picLocks noChangeAspect="1"/>
            </p:cNvPicPr>
            <p:nvPr/>
          </p:nvPicPr>
          <p:blipFill>
            <a:blip r:embed="rId6"/>
            <a:stretch>
              <a:fillRect/>
            </a:stretch>
          </p:blipFill>
          <p:spPr>
            <a:xfrm>
              <a:off x="9631077" y="1379913"/>
              <a:ext cx="354135" cy="343920"/>
            </a:xfrm>
            <a:prstGeom prst="rect">
              <a:avLst/>
            </a:prstGeom>
          </p:spPr>
        </p:pic>
        <p:pic>
          <p:nvPicPr>
            <p:cNvPr id="101" name="Picture 100">
              <a:extLst>
                <a:ext uri="{FF2B5EF4-FFF2-40B4-BE49-F238E27FC236}">
                  <a16:creationId xmlns:a16="http://schemas.microsoft.com/office/drawing/2014/main" id="{08383796-F09D-41C0-90BE-66EA73B7CC6A}"/>
                </a:ext>
              </a:extLst>
            </p:cNvPr>
            <p:cNvPicPr>
              <a:picLocks noChangeAspect="1"/>
            </p:cNvPicPr>
            <p:nvPr/>
          </p:nvPicPr>
          <p:blipFill>
            <a:blip r:embed="rId6"/>
            <a:stretch>
              <a:fillRect/>
            </a:stretch>
          </p:blipFill>
          <p:spPr>
            <a:xfrm>
              <a:off x="10066943" y="2244019"/>
              <a:ext cx="354135" cy="343920"/>
            </a:xfrm>
            <a:prstGeom prst="rect">
              <a:avLst/>
            </a:prstGeom>
          </p:spPr>
        </p:pic>
        <p:pic>
          <p:nvPicPr>
            <p:cNvPr id="102" name="Picture 101">
              <a:extLst>
                <a:ext uri="{FF2B5EF4-FFF2-40B4-BE49-F238E27FC236}">
                  <a16:creationId xmlns:a16="http://schemas.microsoft.com/office/drawing/2014/main" id="{D88DB640-A60D-41D3-837D-FA359873969A}"/>
                </a:ext>
              </a:extLst>
            </p:cNvPr>
            <p:cNvPicPr>
              <a:picLocks noChangeAspect="1"/>
            </p:cNvPicPr>
            <p:nvPr/>
          </p:nvPicPr>
          <p:blipFill>
            <a:blip r:embed="rId6"/>
            <a:stretch>
              <a:fillRect/>
            </a:stretch>
          </p:blipFill>
          <p:spPr>
            <a:xfrm>
              <a:off x="10066942" y="1811966"/>
              <a:ext cx="354135" cy="343920"/>
            </a:xfrm>
            <a:prstGeom prst="rect">
              <a:avLst/>
            </a:prstGeom>
          </p:spPr>
        </p:pic>
        <p:pic>
          <p:nvPicPr>
            <p:cNvPr id="103" name="Picture 102">
              <a:extLst>
                <a:ext uri="{FF2B5EF4-FFF2-40B4-BE49-F238E27FC236}">
                  <a16:creationId xmlns:a16="http://schemas.microsoft.com/office/drawing/2014/main" id="{A7C5B9DC-4E4D-4409-BF42-29844A24E3AD}"/>
                </a:ext>
              </a:extLst>
            </p:cNvPr>
            <p:cNvPicPr>
              <a:picLocks noChangeAspect="1"/>
            </p:cNvPicPr>
            <p:nvPr/>
          </p:nvPicPr>
          <p:blipFill>
            <a:blip r:embed="rId6"/>
            <a:stretch>
              <a:fillRect/>
            </a:stretch>
          </p:blipFill>
          <p:spPr>
            <a:xfrm>
              <a:off x="10066941" y="1379913"/>
              <a:ext cx="354135" cy="343920"/>
            </a:xfrm>
            <a:prstGeom prst="rect">
              <a:avLst/>
            </a:prstGeom>
          </p:spPr>
        </p:pic>
        <p:pic>
          <p:nvPicPr>
            <p:cNvPr id="104" name="Picture 103">
              <a:extLst>
                <a:ext uri="{FF2B5EF4-FFF2-40B4-BE49-F238E27FC236}">
                  <a16:creationId xmlns:a16="http://schemas.microsoft.com/office/drawing/2014/main" id="{A02DF20A-4758-440D-BB21-024141B72EA7}"/>
                </a:ext>
              </a:extLst>
            </p:cNvPr>
            <p:cNvPicPr>
              <a:picLocks noChangeAspect="1"/>
            </p:cNvPicPr>
            <p:nvPr/>
          </p:nvPicPr>
          <p:blipFill>
            <a:blip r:embed="rId6"/>
            <a:stretch>
              <a:fillRect/>
            </a:stretch>
          </p:blipFill>
          <p:spPr>
            <a:xfrm>
              <a:off x="10502807" y="2244019"/>
              <a:ext cx="354135" cy="343920"/>
            </a:xfrm>
            <a:prstGeom prst="rect">
              <a:avLst/>
            </a:prstGeom>
          </p:spPr>
        </p:pic>
        <p:pic>
          <p:nvPicPr>
            <p:cNvPr id="105" name="Picture 104">
              <a:extLst>
                <a:ext uri="{FF2B5EF4-FFF2-40B4-BE49-F238E27FC236}">
                  <a16:creationId xmlns:a16="http://schemas.microsoft.com/office/drawing/2014/main" id="{876B1451-4416-4103-9517-D845CD46A637}"/>
                </a:ext>
              </a:extLst>
            </p:cNvPr>
            <p:cNvPicPr>
              <a:picLocks noChangeAspect="1"/>
            </p:cNvPicPr>
            <p:nvPr/>
          </p:nvPicPr>
          <p:blipFill>
            <a:blip r:embed="rId6"/>
            <a:stretch>
              <a:fillRect/>
            </a:stretch>
          </p:blipFill>
          <p:spPr>
            <a:xfrm>
              <a:off x="10502806" y="1811966"/>
              <a:ext cx="354135" cy="343920"/>
            </a:xfrm>
            <a:prstGeom prst="rect">
              <a:avLst/>
            </a:prstGeom>
          </p:spPr>
        </p:pic>
        <p:pic>
          <p:nvPicPr>
            <p:cNvPr id="106" name="Picture 105">
              <a:extLst>
                <a:ext uri="{FF2B5EF4-FFF2-40B4-BE49-F238E27FC236}">
                  <a16:creationId xmlns:a16="http://schemas.microsoft.com/office/drawing/2014/main" id="{ACDD1C4E-8943-4AE0-A19F-412DAD352190}"/>
                </a:ext>
              </a:extLst>
            </p:cNvPr>
            <p:cNvPicPr>
              <a:picLocks noChangeAspect="1"/>
            </p:cNvPicPr>
            <p:nvPr/>
          </p:nvPicPr>
          <p:blipFill>
            <a:blip r:embed="rId6"/>
            <a:stretch>
              <a:fillRect/>
            </a:stretch>
          </p:blipFill>
          <p:spPr>
            <a:xfrm>
              <a:off x="10502805" y="1379913"/>
              <a:ext cx="354135" cy="343920"/>
            </a:xfrm>
            <a:prstGeom prst="rect">
              <a:avLst/>
            </a:prstGeom>
          </p:spPr>
        </p:pic>
        <p:pic>
          <p:nvPicPr>
            <p:cNvPr id="107" name="Picture 106">
              <a:extLst>
                <a:ext uri="{FF2B5EF4-FFF2-40B4-BE49-F238E27FC236}">
                  <a16:creationId xmlns:a16="http://schemas.microsoft.com/office/drawing/2014/main" id="{8B6E931A-186D-4D59-8CDA-D496F8B08736}"/>
                </a:ext>
              </a:extLst>
            </p:cNvPr>
            <p:cNvPicPr>
              <a:picLocks noChangeAspect="1"/>
            </p:cNvPicPr>
            <p:nvPr/>
          </p:nvPicPr>
          <p:blipFill>
            <a:blip r:embed="rId6"/>
            <a:stretch>
              <a:fillRect/>
            </a:stretch>
          </p:blipFill>
          <p:spPr>
            <a:xfrm>
              <a:off x="10938671" y="2244019"/>
              <a:ext cx="354135" cy="343920"/>
            </a:xfrm>
            <a:prstGeom prst="rect">
              <a:avLst/>
            </a:prstGeom>
          </p:spPr>
        </p:pic>
        <p:pic>
          <p:nvPicPr>
            <p:cNvPr id="108" name="Picture 107">
              <a:extLst>
                <a:ext uri="{FF2B5EF4-FFF2-40B4-BE49-F238E27FC236}">
                  <a16:creationId xmlns:a16="http://schemas.microsoft.com/office/drawing/2014/main" id="{F3B04BD2-2FDF-48DD-8331-979A749E8BEA}"/>
                </a:ext>
              </a:extLst>
            </p:cNvPr>
            <p:cNvPicPr>
              <a:picLocks noChangeAspect="1"/>
            </p:cNvPicPr>
            <p:nvPr/>
          </p:nvPicPr>
          <p:blipFill>
            <a:blip r:embed="rId6"/>
            <a:stretch>
              <a:fillRect/>
            </a:stretch>
          </p:blipFill>
          <p:spPr>
            <a:xfrm>
              <a:off x="10938670" y="1811966"/>
              <a:ext cx="354135" cy="343920"/>
            </a:xfrm>
            <a:prstGeom prst="rect">
              <a:avLst/>
            </a:prstGeom>
          </p:spPr>
        </p:pic>
        <p:pic>
          <p:nvPicPr>
            <p:cNvPr id="109" name="Picture 108">
              <a:extLst>
                <a:ext uri="{FF2B5EF4-FFF2-40B4-BE49-F238E27FC236}">
                  <a16:creationId xmlns:a16="http://schemas.microsoft.com/office/drawing/2014/main" id="{408B9254-BD10-4446-8323-44104567FA60}"/>
                </a:ext>
              </a:extLst>
            </p:cNvPr>
            <p:cNvPicPr>
              <a:picLocks noChangeAspect="1"/>
            </p:cNvPicPr>
            <p:nvPr/>
          </p:nvPicPr>
          <p:blipFill>
            <a:blip r:embed="rId6"/>
            <a:stretch>
              <a:fillRect/>
            </a:stretch>
          </p:blipFill>
          <p:spPr>
            <a:xfrm>
              <a:off x="10938669" y="1379913"/>
              <a:ext cx="354135" cy="343920"/>
            </a:xfrm>
            <a:prstGeom prst="rect">
              <a:avLst/>
            </a:prstGeom>
          </p:spPr>
        </p:pic>
        <p:sp>
          <p:nvSpPr>
            <p:cNvPr id="110" name="Rectangle 109">
              <a:extLst>
                <a:ext uri="{FF2B5EF4-FFF2-40B4-BE49-F238E27FC236}">
                  <a16:creationId xmlns:a16="http://schemas.microsoft.com/office/drawing/2014/main" id="{4AD99BB6-AEFB-4791-ABBD-4064BB46C075}"/>
                </a:ext>
              </a:extLst>
            </p:cNvPr>
            <p:cNvSpPr/>
            <p:nvPr/>
          </p:nvSpPr>
          <p:spPr>
            <a:xfrm>
              <a:off x="9566076" y="1243786"/>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1" name="Straight Arrow Connector 110">
              <a:extLst>
                <a:ext uri="{FF2B5EF4-FFF2-40B4-BE49-F238E27FC236}">
                  <a16:creationId xmlns:a16="http://schemas.microsoft.com/office/drawing/2014/main" id="{8250AACA-D217-4156-BF99-A6FD7E8026E3}"/>
                </a:ext>
              </a:extLst>
            </p:cNvPr>
            <p:cNvCxnSpPr>
              <a:stCxn id="97" idx="3"/>
              <a:endCxn id="110" idx="1"/>
            </p:cNvCxnSpPr>
            <p:nvPr/>
          </p:nvCxnSpPr>
          <p:spPr>
            <a:xfrm>
              <a:off x="8792246" y="1981962"/>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2" name="TextBox 141">
              <a:extLst>
                <a:ext uri="{FF2B5EF4-FFF2-40B4-BE49-F238E27FC236}">
                  <a16:creationId xmlns:a16="http://schemas.microsoft.com/office/drawing/2014/main" id="{98163CC1-7F24-497D-AC8D-A1A1B66D362B}"/>
                </a:ext>
              </a:extLst>
            </p:cNvPr>
            <p:cNvSpPr txBox="1"/>
            <p:nvPr/>
          </p:nvSpPr>
          <p:spPr>
            <a:xfrm>
              <a:off x="7600037" y="1215589"/>
              <a:ext cx="1279517" cy="369332"/>
            </a:xfrm>
            <a:prstGeom prst="rect">
              <a:avLst/>
            </a:prstGeom>
            <a:noFill/>
          </p:spPr>
          <p:txBody>
            <a:bodyPr wrap="none" rtlCol="0">
              <a:spAutoFit/>
            </a:bodyPr>
            <a:lstStyle/>
            <a:p>
              <a:r>
                <a:rPr lang="sv-SE" dirty="0"/>
                <a:t>Customer A</a:t>
              </a:r>
              <a:endParaRPr lang="en-US" dirty="0"/>
            </a:p>
          </p:txBody>
        </p:sp>
        <p:grpSp>
          <p:nvGrpSpPr>
            <p:cNvPr id="147" name="Group 146">
              <a:extLst>
                <a:ext uri="{FF2B5EF4-FFF2-40B4-BE49-F238E27FC236}">
                  <a16:creationId xmlns:a16="http://schemas.microsoft.com/office/drawing/2014/main" id="{87B6A82F-1629-4584-9099-D0CC272D8CFF}"/>
                </a:ext>
              </a:extLst>
            </p:cNvPr>
            <p:cNvGrpSpPr/>
            <p:nvPr/>
          </p:nvGrpSpPr>
          <p:grpSpPr>
            <a:xfrm>
              <a:off x="8544765" y="2170874"/>
              <a:ext cx="576692" cy="509588"/>
              <a:chOff x="5498091" y="4114800"/>
              <a:chExt cx="576692" cy="509588"/>
            </a:xfrm>
          </p:grpSpPr>
          <p:sp>
            <p:nvSpPr>
              <p:cNvPr id="148" name="Oval 147">
                <a:extLst>
                  <a:ext uri="{FF2B5EF4-FFF2-40B4-BE49-F238E27FC236}">
                    <a16:creationId xmlns:a16="http://schemas.microsoft.com/office/drawing/2014/main" id="{6879CA68-485D-4F4F-98C8-538FB24974CD}"/>
                  </a:ext>
                </a:extLst>
              </p:cNvPr>
              <p:cNvSpPr/>
              <p:nvPr/>
            </p:nvSpPr>
            <p:spPr>
              <a:xfrm>
                <a:off x="5534025" y="4114800"/>
                <a:ext cx="504825" cy="50958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9" name="Picture 8" descr="Image result for AZURE IOT">
                <a:extLst>
                  <a:ext uri="{FF2B5EF4-FFF2-40B4-BE49-F238E27FC236}">
                    <a16:creationId xmlns:a16="http://schemas.microsoft.com/office/drawing/2014/main" id="{F4C859F1-50BC-44CE-8CE3-4C4A0FCD2A4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50" name="Straight Arrow Connector 149">
            <a:extLst>
              <a:ext uri="{FF2B5EF4-FFF2-40B4-BE49-F238E27FC236}">
                <a16:creationId xmlns:a16="http://schemas.microsoft.com/office/drawing/2014/main" id="{7961FD4A-C074-4458-ACB9-954EE0E7BB5F}"/>
              </a:ext>
            </a:extLst>
          </p:cNvPr>
          <p:cNvCxnSpPr>
            <a:cxnSpLocks/>
          </p:cNvCxnSpPr>
          <p:nvPr/>
        </p:nvCxnSpPr>
        <p:spPr>
          <a:xfrm>
            <a:off x="6354196" y="1985971"/>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2" name="Straight Arrow Connector 151">
            <a:extLst>
              <a:ext uri="{FF2B5EF4-FFF2-40B4-BE49-F238E27FC236}">
                <a16:creationId xmlns:a16="http://schemas.microsoft.com/office/drawing/2014/main" id="{44593D00-CE4C-4A9F-9D8D-AFAE43F21DBE}"/>
              </a:ext>
            </a:extLst>
          </p:cNvPr>
          <p:cNvCxnSpPr>
            <a:cxnSpLocks/>
          </p:cNvCxnSpPr>
          <p:nvPr/>
        </p:nvCxnSpPr>
        <p:spPr>
          <a:xfrm>
            <a:off x="6354196" y="3629734"/>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3" name="Straight Arrow Connector 152">
            <a:extLst>
              <a:ext uri="{FF2B5EF4-FFF2-40B4-BE49-F238E27FC236}">
                <a16:creationId xmlns:a16="http://schemas.microsoft.com/office/drawing/2014/main" id="{2313CC88-3FC5-492C-811A-7AD63B120468}"/>
              </a:ext>
            </a:extLst>
          </p:cNvPr>
          <p:cNvCxnSpPr>
            <a:cxnSpLocks/>
          </p:cNvCxnSpPr>
          <p:nvPr/>
        </p:nvCxnSpPr>
        <p:spPr>
          <a:xfrm>
            <a:off x="6354196" y="5273497"/>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84" name="Group 83">
            <a:extLst>
              <a:ext uri="{FF2B5EF4-FFF2-40B4-BE49-F238E27FC236}">
                <a16:creationId xmlns:a16="http://schemas.microsoft.com/office/drawing/2014/main" id="{55A08CFD-DEB1-4A6D-B0AB-3629F94A0FCA}"/>
              </a:ext>
            </a:extLst>
          </p:cNvPr>
          <p:cNvGrpSpPr/>
          <p:nvPr/>
        </p:nvGrpSpPr>
        <p:grpSpPr>
          <a:xfrm>
            <a:off x="378558" y="1212586"/>
            <a:ext cx="3754579" cy="4971129"/>
            <a:chOff x="378558" y="1212586"/>
            <a:chExt cx="3754579" cy="4971129"/>
          </a:xfrm>
        </p:grpSpPr>
        <p:pic>
          <p:nvPicPr>
            <p:cNvPr id="85" name="Picture 84">
              <a:extLst>
                <a:ext uri="{FF2B5EF4-FFF2-40B4-BE49-F238E27FC236}">
                  <a16:creationId xmlns:a16="http://schemas.microsoft.com/office/drawing/2014/main" id="{B1A32144-ABFD-4B6F-8FCB-2D7E100ADDAF}"/>
                </a:ext>
              </a:extLst>
            </p:cNvPr>
            <p:cNvPicPr>
              <a:picLocks noChangeAspect="1"/>
            </p:cNvPicPr>
            <p:nvPr/>
          </p:nvPicPr>
          <p:blipFill>
            <a:blip r:embed="rId10"/>
            <a:stretch>
              <a:fillRect/>
            </a:stretch>
          </p:blipFill>
          <p:spPr>
            <a:xfrm>
              <a:off x="439679" y="1212586"/>
              <a:ext cx="3295238" cy="2514286"/>
            </a:xfrm>
            <a:prstGeom prst="rect">
              <a:avLst/>
            </a:prstGeom>
          </p:spPr>
        </p:pic>
        <p:pic>
          <p:nvPicPr>
            <p:cNvPr id="86" name="Picture 85">
              <a:extLst>
                <a:ext uri="{FF2B5EF4-FFF2-40B4-BE49-F238E27FC236}">
                  <a16:creationId xmlns:a16="http://schemas.microsoft.com/office/drawing/2014/main" id="{FFAA56B8-BF5D-406A-B77B-3400835F9178}"/>
                </a:ext>
              </a:extLst>
            </p:cNvPr>
            <p:cNvPicPr>
              <a:picLocks noChangeAspect="1"/>
            </p:cNvPicPr>
            <p:nvPr/>
          </p:nvPicPr>
          <p:blipFill>
            <a:blip r:embed="rId11"/>
            <a:stretch>
              <a:fillRect/>
            </a:stretch>
          </p:blipFill>
          <p:spPr>
            <a:xfrm>
              <a:off x="378558" y="3688477"/>
              <a:ext cx="3371429" cy="2495238"/>
            </a:xfrm>
            <a:prstGeom prst="rect">
              <a:avLst/>
            </a:prstGeom>
          </p:spPr>
        </p:pic>
        <p:sp>
          <p:nvSpPr>
            <p:cNvPr id="87" name="Right Brace 86">
              <a:extLst>
                <a:ext uri="{FF2B5EF4-FFF2-40B4-BE49-F238E27FC236}">
                  <a16:creationId xmlns:a16="http://schemas.microsoft.com/office/drawing/2014/main" id="{ABDE9FF6-68A5-46C3-9CD2-CCC8D0C3004D}"/>
                </a:ext>
              </a:extLst>
            </p:cNvPr>
            <p:cNvSpPr/>
            <p:nvPr/>
          </p:nvSpPr>
          <p:spPr>
            <a:xfrm>
              <a:off x="3924300" y="1243786"/>
              <a:ext cx="208837" cy="4787754"/>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27146448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84"/>
                                        </p:tgtEl>
                                      </p:cBhvr>
                                    </p:animEffect>
                                    <p:set>
                                      <p:cBhvr>
                                        <p:cTn id="7" dur="1" fill="hold">
                                          <p:stCondLst>
                                            <p:cond delay="499"/>
                                          </p:stCondLst>
                                        </p:cTn>
                                        <p:tgtEl>
                                          <p:spTgt spid="84"/>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6"/>
                                        </p:tgtEl>
                                        <p:attrNameLst>
                                          <p:attrName>style.visibility</p:attrName>
                                        </p:attrNameLst>
                                      </p:cBhvr>
                                      <p:to>
                                        <p:strVal val="visible"/>
                                      </p:to>
                                    </p:set>
                                    <p:animEffect transition="in" filter="fade">
                                      <p:cBhvr>
                                        <p:cTn id="11" dur="500"/>
                                        <p:tgtEl>
                                          <p:spTgt spid="36"/>
                                        </p:tgtEl>
                                      </p:cBhvr>
                                    </p:animEffect>
                                  </p:childTnLst>
                                </p:cTn>
                              </p:par>
                              <p:par>
                                <p:cTn id="12" presetID="10" presetClass="entr" presetSubtype="0" fill="hold" nodeType="withEffect">
                                  <p:stCondLst>
                                    <p:cond delay="0"/>
                                  </p:stCondLst>
                                  <p:childTnLst>
                                    <p:set>
                                      <p:cBhvr>
                                        <p:cTn id="13" dur="1" fill="hold">
                                          <p:stCondLst>
                                            <p:cond delay="0"/>
                                          </p:stCondLst>
                                        </p:cTn>
                                        <p:tgtEl>
                                          <p:spTgt spid="22"/>
                                        </p:tgtEl>
                                        <p:attrNameLst>
                                          <p:attrName>style.visibility</p:attrName>
                                        </p:attrNameLst>
                                      </p:cBhvr>
                                      <p:to>
                                        <p:strVal val="visible"/>
                                      </p:to>
                                    </p:set>
                                    <p:animEffect transition="in" filter="fade">
                                      <p:cBhvr>
                                        <p:cTn id="14"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Axians – </a:t>
            </a:r>
            <a:r>
              <a:rPr lang="sv-SE" b="1" dirty="0">
                <a:solidFill>
                  <a:srgbClr val="FF0000"/>
                </a:solidFill>
              </a:rPr>
              <a:t>IoT</a:t>
            </a:r>
            <a:r>
              <a:rPr lang="sv-SE" dirty="0"/>
              <a:t> Operation</a:t>
            </a:r>
            <a:endParaRPr lang="en-US" dirty="0"/>
          </a:p>
        </p:txBody>
      </p:sp>
      <p:grpSp>
        <p:nvGrpSpPr>
          <p:cNvPr id="22" name="Group 21"/>
          <p:cNvGrpSpPr/>
          <p:nvPr/>
        </p:nvGrpSpPr>
        <p:grpSpPr>
          <a:xfrm>
            <a:off x="3440367" y="1154018"/>
            <a:ext cx="1272556" cy="4831310"/>
            <a:chOff x="3271635" y="1154018"/>
            <a:chExt cx="1272556" cy="4831310"/>
          </a:xfrm>
        </p:grpSpPr>
        <p:pic>
          <p:nvPicPr>
            <p:cNvPr id="1026" name="Picture 2" descr="https://microservicebus.com/Images/ServiceNowLogo.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6200000">
              <a:off x="2961948" y="3259489"/>
              <a:ext cx="1905000" cy="400050"/>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p:cNvSpPr/>
            <p:nvPr/>
          </p:nvSpPr>
          <p:spPr>
            <a:xfrm>
              <a:off x="3271635" y="1154018"/>
              <a:ext cx="1272556" cy="483131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9" name="Group 1028">
            <a:extLst>
              <a:ext uri="{FF2B5EF4-FFF2-40B4-BE49-F238E27FC236}">
                <a16:creationId xmlns:a16="http://schemas.microsoft.com/office/drawing/2014/main" id="{240BDCA2-26D6-4FD6-9AFA-BF2FF6B8B65F}"/>
              </a:ext>
            </a:extLst>
          </p:cNvPr>
          <p:cNvGrpSpPr/>
          <p:nvPr/>
        </p:nvGrpSpPr>
        <p:grpSpPr>
          <a:xfrm>
            <a:off x="4800751" y="1152632"/>
            <a:ext cx="1520944" cy="4831311"/>
            <a:chOff x="4800751" y="1152632"/>
            <a:chExt cx="1520944" cy="4831311"/>
          </a:xfrm>
        </p:grpSpPr>
        <p:sp>
          <p:nvSpPr>
            <p:cNvPr id="51" name="Rectangle 50"/>
            <p:cNvSpPr/>
            <p:nvPr/>
          </p:nvSpPr>
          <p:spPr>
            <a:xfrm>
              <a:off x="4800751" y="1152632"/>
              <a:ext cx="1520944" cy="483131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2" name="Picture 5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21389" y="3065004"/>
              <a:ext cx="879667" cy="721991"/>
            </a:xfrm>
            <a:prstGeom prst="rect">
              <a:avLst/>
            </a:prstGeom>
          </p:spPr>
        </p:pic>
        <p:sp>
          <p:nvSpPr>
            <p:cNvPr id="66" name="TextBox 65"/>
            <p:cNvSpPr txBox="1"/>
            <p:nvPr/>
          </p:nvSpPr>
          <p:spPr>
            <a:xfrm>
              <a:off x="4806507" y="1168072"/>
              <a:ext cx="151518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Devic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Mgmt</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7" name="Group 1026">
            <a:extLst>
              <a:ext uri="{FF2B5EF4-FFF2-40B4-BE49-F238E27FC236}">
                <a16:creationId xmlns:a16="http://schemas.microsoft.com/office/drawing/2014/main" id="{4247E955-95C6-4803-9CFE-53A8E9E77630}"/>
              </a:ext>
            </a:extLst>
          </p:cNvPr>
          <p:cNvGrpSpPr/>
          <p:nvPr/>
        </p:nvGrpSpPr>
        <p:grpSpPr>
          <a:xfrm>
            <a:off x="7614300" y="2880338"/>
            <a:ext cx="3739500" cy="1499510"/>
            <a:chOff x="7614300" y="2880338"/>
            <a:chExt cx="3739500" cy="1499510"/>
          </a:xfrm>
        </p:grpSpPr>
        <p:sp>
          <p:nvSpPr>
            <p:cNvPr id="112" name="Rectangle 111">
              <a:extLst>
                <a:ext uri="{FF2B5EF4-FFF2-40B4-BE49-F238E27FC236}">
                  <a16:creationId xmlns:a16="http://schemas.microsoft.com/office/drawing/2014/main" id="{45864581-913C-4B90-B531-FB2920590272}"/>
                </a:ext>
              </a:extLst>
            </p:cNvPr>
            <p:cNvSpPr/>
            <p:nvPr/>
          </p:nvSpPr>
          <p:spPr>
            <a:xfrm>
              <a:off x="7687346" y="3284404"/>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13" name="Picture 112">
              <a:extLst>
                <a:ext uri="{FF2B5EF4-FFF2-40B4-BE49-F238E27FC236}">
                  <a16:creationId xmlns:a16="http://schemas.microsoft.com/office/drawing/2014/main" id="{6DA0732B-EE61-4D1C-83C3-E5CBE8F99033}"/>
                </a:ext>
              </a:extLst>
            </p:cNvPr>
            <p:cNvPicPr>
              <a:picLocks noChangeAspect="1"/>
            </p:cNvPicPr>
            <p:nvPr/>
          </p:nvPicPr>
          <p:blipFill>
            <a:blip r:embed="rId4"/>
            <a:stretch>
              <a:fillRect/>
            </a:stretch>
          </p:blipFill>
          <p:spPr>
            <a:xfrm>
              <a:off x="9631079" y="3895711"/>
              <a:ext cx="354135" cy="343920"/>
            </a:xfrm>
            <a:prstGeom prst="rect">
              <a:avLst/>
            </a:prstGeom>
          </p:spPr>
        </p:pic>
        <p:pic>
          <p:nvPicPr>
            <p:cNvPr id="114" name="Picture 113">
              <a:extLst>
                <a:ext uri="{FF2B5EF4-FFF2-40B4-BE49-F238E27FC236}">
                  <a16:creationId xmlns:a16="http://schemas.microsoft.com/office/drawing/2014/main" id="{F361A9DB-A270-4B6A-9A3D-AD43731B9907}"/>
                </a:ext>
              </a:extLst>
            </p:cNvPr>
            <p:cNvPicPr>
              <a:picLocks noChangeAspect="1"/>
            </p:cNvPicPr>
            <p:nvPr/>
          </p:nvPicPr>
          <p:blipFill>
            <a:blip r:embed="rId4"/>
            <a:stretch>
              <a:fillRect/>
            </a:stretch>
          </p:blipFill>
          <p:spPr>
            <a:xfrm>
              <a:off x="9631078" y="3463658"/>
              <a:ext cx="354135" cy="343920"/>
            </a:xfrm>
            <a:prstGeom prst="rect">
              <a:avLst/>
            </a:prstGeom>
          </p:spPr>
        </p:pic>
        <p:pic>
          <p:nvPicPr>
            <p:cNvPr id="115" name="Picture 114">
              <a:extLst>
                <a:ext uri="{FF2B5EF4-FFF2-40B4-BE49-F238E27FC236}">
                  <a16:creationId xmlns:a16="http://schemas.microsoft.com/office/drawing/2014/main" id="{0C8E72F0-2700-4E86-83B1-543727E45984}"/>
                </a:ext>
              </a:extLst>
            </p:cNvPr>
            <p:cNvPicPr>
              <a:picLocks noChangeAspect="1"/>
            </p:cNvPicPr>
            <p:nvPr/>
          </p:nvPicPr>
          <p:blipFill>
            <a:blip r:embed="rId4"/>
            <a:stretch>
              <a:fillRect/>
            </a:stretch>
          </p:blipFill>
          <p:spPr>
            <a:xfrm>
              <a:off x="9631077" y="3031605"/>
              <a:ext cx="354135" cy="343920"/>
            </a:xfrm>
            <a:prstGeom prst="rect">
              <a:avLst/>
            </a:prstGeom>
          </p:spPr>
        </p:pic>
        <p:pic>
          <p:nvPicPr>
            <p:cNvPr id="116" name="Picture 115">
              <a:extLst>
                <a:ext uri="{FF2B5EF4-FFF2-40B4-BE49-F238E27FC236}">
                  <a16:creationId xmlns:a16="http://schemas.microsoft.com/office/drawing/2014/main" id="{CF1BB178-83FC-4BA2-B790-87B2D0E2210E}"/>
                </a:ext>
              </a:extLst>
            </p:cNvPr>
            <p:cNvPicPr>
              <a:picLocks noChangeAspect="1"/>
            </p:cNvPicPr>
            <p:nvPr/>
          </p:nvPicPr>
          <p:blipFill>
            <a:blip r:embed="rId4"/>
            <a:stretch>
              <a:fillRect/>
            </a:stretch>
          </p:blipFill>
          <p:spPr>
            <a:xfrm>
              <a:off x="10066943" y="3895711"/>
              <a:ext cx="354135" cy="343920"/>
            </a:xfrm>
            <a:prstGeom prst="rect">
              <a:avLst/>
            </a:prstGeom>
          </p:spPr>
        </p:pic>
        <p:pic>
          <p:nvPicPr>
            <p:cNvPr id="117" name="Picture 116">
              <a:extLst>
                <a:ext uri="{FF2B5EF4-FFF2-40B4-BE49-F238E27FC236}">
                  <a16:creationId xmlns:a16="http://schemas.microsoft.com/office/drawing/2014/main" id="{EF9D3BA8-FCB5-4480-BF86-22B6E2F1C11F}"/>
                </a:ext>
              </a:extLst>
            </p:cNvPr>
            <p:cNvPicPr>
              <a:picLocks noChangeAspect="1"/>
            </p:cNvPicPr>
            <p:nvPr/>
          </p:nvPicPr>
          <p:blipFill>
            <a:blip r:embed="rId4"/>
            <a:stretch>
              <a:fillRect/>
            </a:stretch>
          </p:blipFill>
          <p:spPr>
            <a:xfrm>
              <a:off x="10066942" y="3463658"/>
              <a:ext cx="354135" cy="343920"/>
            </a:xfrm>
            <a:prstGeom prst="rect">
              <a:avLst/>
            </a:prstGeom>
          </p:spPr>
        </p:pic>
        <p:pic>
          <p:nvPicPr>
            <p:cNvPr id="118" name="Picture 117">
              <a:extLst>
                <a:ext uri="{FF2B5EF4-FFF2-40B4-BE49-F238E27FC236}">
                  <a16:creationId xmlns:a16="http://schemas.microsoft.com/office/drawing/2014/main" id="{503B7343-3F1D-4C2F-AEA4-16B1078387D7}"/>
                </a:ext>
              </a:extLst>
            </p:cNvPr>
            <p:cNvPicPr>
              <a:picLocks noChangeAspect="1"/>
            </p:cNvPicPr>
            <p:nvPr/>
          </p:nvPicPr>
          <p:blipFill>
            <a:blip r:embed="rId4"/>
            <a:stretch>
              <a:fillRect/>
            </a:stretch>
          </p:blipFill>
          <p:spPr>
            <a:xfrm>
              <a:off x="10066941" y="3031605"/>
              <a:ext cx="354135" cy="343920"/>
            </a:xfrm>
            <a:prstGeom prst="rect">
              <a:avLst/>
            </a:prstGeom>
          </p:spPr>
        </p:pic>
        <p:pic>
          <p:nvPicPr>
            <p:cNvPr id="119" name="Picture 118">
              <a:extLst>
                <a:ext uri="{FF2B5EF4-FFF2-40B4-BE49-F238E27FC236}">
                  <a16:creationId xmlns:a16="http://schemas.microsoft.com/office/drawing/2014/main" id="{9BF859DD-F7A2-4C81-8790-00311632C23E}"/>
                </a:ext>
              </a:extLst>
            </p:cNvPr>
            <p:cNvPicPr>
              <a:picLocks noChangeAspect="1"/>
            </p:cNvPicPr>
            <p:nvPr/>
          </p:nvPicPr>
          <p:blipFill>
            <a:blip r:embed="rId4"/>
            <a:stretch>
              <a:fillRect/>
            </a:stretch>
          </p:blipFill>
          <p:spPr>
            <a:xfrm>
              <a:off x="10502807" y="3895711"/>
              <a:ext cx="354135" cy="343920"/>
            </a:xfrm>
            <a:prstGeom prst="rect">
              <a:avLst/>
            </a:prstGeom>
          </p:spPr>
        </p:pic>
        <p:pic>
          <p:nvPicPr>
            <p:cNvPr id="120" name="Picture 119">
              <a:extLst>
                <a:ext uri="{FF2B5EF4-FFF2-40B4-BE49-F238E27FC236}">
                  <a16:creationId xmlns:a16="http://schemas.microsoft.com/office/drawing/2014/main" id="{70B17A51-4B80-48C8-8B22-0FB0F3235360}"/>
                </a:ext>
              </a:extLst>
            </p:cNvPr>
            <p:cNvPicPr>
              <a:picLocks noChangeAspect="1"/>
            </p:cNvPicPr>
            <p:nvPr/>
          </p:nvPicPr>
          <p:blipFill>
            <a:blip r:embed="rId4"/>
            <a:stretch>
              <a:fillRect/>
            </a:stretch>
          </p:blipFill>
          <p:spPr>
            <a:xfrm>
              <a:off x="10502806" y="3463658"/>
              <a:ext cx="354135" cy="343920"/>
            </a:xfrm>
            <a:prstGeom prst="rect">
              <a:avLst/>
            </a:prstGeom>
          </p:spPr>
        </p:pic>
        <p:pic>
          <p:nvPicPr>
            <p:cNvPr id="121" name="Picture 120">
              <a:extLst>
                <a:ext uri="{FF2B5EF4-FFF2-40B4-BE49-F238E27FC236}">
                  <a16:creationId xmlns:a16="http://schemas.microsoft.com/office/drawing/2014/main" id="{B9E9895A-7AD0-41F0-9C4C-E6623BEB99EA}"/>
                </a:ext>
              </a:extLst>
            </p:cNvPr>
            <p:cNvPicPr>
              <a:picLocks noChangeAspect="1"/>
            </p:cNvPicPr>
            <p:nvPr/>
          </p:nvPicPr>
          <p:blipFill>
            <a:blip r:embed="rId4"/>
            <a:stretch>
              <a:fillRect/>
            </a:stretch>
          </p:blipFill>
          <p:spPr>
            <a:xfrm>
              <a:off x="10502805" y="3031605"/>
              <a:ext cx="354135" cy="343920"/>
            </a:xfrm>
            <a:prstGeom prst="rect">
              <a:avLst/>
            </a:prstGeom>
          </p:spPr>
        </p:pic>
        <p:pic>
          <p:nvPicPr>
            <p:cNvPr id="122" name="Picture 121">
              <a:extLst>
                <a:ext uri="{FF2B5EF4-FFF2-40B4-BE49-F238E27FC236}">
                  <a16:creationId xmlns:a16="http://schemas.microsoft.com/office/drawing/2014/main" id="{B6F70FE5-27CD-40F2-A50E-5229267A5376}"/>
                </a:ext>
              </a:extLst>
            </p:cNvPr>
            <p:cNvPicPr>
              <a:picLocks noChangeAspect="1"/>
            </p:cNvPicPr>
            <p:nvPr/>
          </p:nvPicPr>
          <p:blipFill>
            <a:blip r:embed="rId4"/>
            <a:stretch>
              <a:fillRect/>
            </a:stretch>
          </p:blipFill>
          <p:spPr>
            <a:xfrm>
              <a:off x="10938671" y="3895711"/>
              <a:ext cx="354135" cy="343920"/>
            </a:xfrm>
            <a:prstGeom prst="rect">
              <a:avLst/>
            </a:prstGeom>
          </p:spPr>
        </p:pic>
        <p:pic>
          <p:nvPicPr>
            <p:cNvPr id="123" name="Picture 122">
              <a:extLst>
                <a:ext uri="{FF2B5EF4-FFF2-40B4-BE49-F238E27FC236}">
                  <a16:creationId xmlns:a16="http://schemas.microsoft.com/office/drawing/2014/main" id="{968389B7-EE9C-4F32-B0FF-D1E2A848D42B}"/>
                </a:ext>
              </a:extLst>
            </p:cNvPr>
            <p:cNvPicPr>
              <a:picLocks noChangeAspect="1"/>
            </p:cNvPicPr>
            <p:nvPr/>
          </p:nvPicPr>
          <p:blipFill>
            <a:blip r:embed="rId4"/>
            <a:stretch>
              <a:fillRect/>
            </a:stretch>
          </p:blipFill>
          <p:spPr>
            <a:xfrm>
              <a:off x="10938670" y="3463658"/>
              <a:ext cx="354135" cy="343920"/>
            </a:xfrm>
            <a:prstGeom prst="rect">
              <a:avLst/>
            </a:prstGeom>
          </p:spPr>
        </p:pic>
        <p:pic>
          <p:nvPicPr>
            <p:cNvPr id="124" name="Picture 123">
              <a:extLst>
                <a:ext uri="{FF2B5EF4-FFF2-40B4-BE49-F238E27FC236}">
                  <a16:creationId xmlns:a16="http://schemas.microsoft.com/office/drawing/2014/main" id="{E01ECDA3-9BA6-47B9-83CE-340618F723BC}"/>
                </a:ext>
              </a:extLst>
            </p:cNvPr>
            <p:cNvPicPr>
              <a:picLocks noChangeAspect="1"/>
            </p:cNvPicPr>
            <p:nvPr/>
          </p:nvPicPr>
          <p:blipFill>
            <a:blip r:embed="rId4"/>
            <a:stretch>
              <a:fillRect/>
            </a:stretch>
          </p:blipFill>
          <p:spPr>
            <a:xfrm>
              <a:off x="10938669" y="3031605"/>
              <a:ext cx="354135" cy="343920"/>
            </a:xfrm>
            <a:prstGeom prst="rect">
              <a:avLst/>
            </a:prstGeom>
          </p:spPr>
        </p:pic>
        <p:sp>
          <p:nvSpPr>
            <p:cNvPr id="125" name="Rectangle 124">
              <a:extLst>
                <a:ext uri="{FF2B5EF4-FFF2-40B4-BE49-F238E27FC236}">
                  <a16:creationId xmlns:a16="http://schemas.microsoft.com/office/drawing/2014/main" id="{C7ECC834-E963-4038-BB6E-9924343554FD}"/>
                </a:ext>
              </a:extLst>
            </p:cNvPr>
            <p:cNvSpPr/>
            <p:nvPr/>
          </p:nvSpPr>
          <p:spPr>
            <a:xfrm>
              <a:off x="9566076" y="2895478"/>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6" name="Straight Arrow Connector 125">
              <a:extLst>
                <a:ext uri="{FF2B5EF4-FFF2-40B4-BE49-F238E27FC236}">
                  <a16:creationId xmlns:a16="http://schemas.microsoft.com/office/drawing/2014/main" id="{77177B09-C981-4444-96EA-9F85052E0FF8}"/>
                </a:ext>
              </a:extLst>
            </p:cNvPr>
            <p:cNvCxnSpPr>
              <a:stCxn id="112" idx="3"/>
              <a:endCxn id="125" idx="1"/>
            </p:cNvCxnSpPr>
            <p:nvPr/>
          </p:nvCxnSpPr>
          <p:spPr>
            <a:xfrm>
              <a:off x="8792246" y="3633654"/>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3" name="TextBox 142">
              <a:extLst>
                <a:ext uri="{FF2B5EF4-FFF2-40B4-BE49-F238E27FC236}">
                  <a16:creationId xmlns:a16="http://schemas.microsoft.com/office/drawing/2014/main" id="{C0EC3CDA-02A0-47C9-8C43-50F517E80E67}"/>
                </a:ext>
              </a:extLst>
            </p:cNvPr>
            <p:cNvSpPr txBox="1"/>
            <p:nvPr/>
          </p:nvSpPr>
          <p:spPr>
            <a:xfrm>
              <a:off x="7614300" y="2880338"/>
              <a:ext cx="1271502" cy="369332"/>
            </a:xfrm>
            <a:prstGeom prst="rect">
              <a:avLst/>
            </a:prstGeom>
            <a:noFill/>
          </p:spPr>
          <p:txBody>
            <a:bodyPr wrap="none" rtlCol="0">
              <a:spAutoFit/>
            </a:bodyPr>
            <a:lstStyle/>
            <a:p>
              <a:r>
                <a:rPr lang="sv-SE" dirty="0"/>
                <a:t>Customer B</a:t>
              </a:r>
              <a:endParaRPr lang="en-US" dirty="0"/>
            </a:p>
          </p:txBody>
        </p:sp>
        <p:pic>
          <p:nvPicPr>
            <p:cNvPr id="145" name="Picture 4" descr="Related image">
              <a:extLst>
                <a:ext uri="{FF2B5EF4-FFF2-40B4-BE49-F238E27FC236}">
                  <a16:creationId xmlns:a16="http://schemas.microsoft.com/office/drawing/2014/main" id="{2FBFACFD-2097-4971-817B-11CF759B7F6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23840" y="3797438"/>
              <a:ext cx="418541" cy="5064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8" name="Group 1027">
            <a:extLst>
              <a:ext uri="{FF2B5EF4-FFF2-40B4-BE49-F238E27FC236}">
                <a16:creationId xmlns:a16="http://schemas.microsoft.com/office/drawing/2014/main" id="{0CDE55AB-F524-4AFF-8F1E-304A555BFC43}"/>
              </a:ext>
            </a:extLst>
          </p:cNvPr>
          <p:cNvGrpSpPr/>
          <p:nvPr/>
        </p:nvGrpSpPr>
        <p:grpSpPr>
          <a:xfrm>
            <a:off x="7628563" y="4545087"/>
            <a:ext cx="3725237" cy="1486453"/>
            <a:chOff x="7628563" y="4545087"/>
            <a:chExt cx="3725237" cy="1486453"/>
          </a:xfrm>
        </p:grpSpPr>
        <p:sp>
          <p:nvSpPr>
            <p:cNvPr id="127" name="Rectangle 126">
              <a:extLst>
                <a:ext uri="{FF2B5EF4-FFF2-40B4-BE49-F238E27FC236}">
                  <a16:creationId xmlns:a16="http://schemas.microsoft.com/office/drawing/2014/main" id="{F580FFF3-D4BF-47F5-8541-D44196DE24B3}"/>
                </a:ext>
              </a:extLst>
            </p:cNvPr>
            <p:cNvSpPr/>
            <p:nvPr/>
          </p:nvSpPr>
          <p:spPr>
            <a:xfrm>
              <a:off x="7687346" y="4936096"/>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28" name="Picture 127">
              <a:extLst>
                <a:ext uri="{FF2B5EF4-FFF2-40B4-BE49-F238E27FC236}">
                  <a16:creationId xmlns:a16="http://schemas.microsoft.com/office/drawing/2014/main" id="{6BD708F8-E9BA-4F50-9698-6269D3F90311}"/>
                </a:ext>
              </a:extLst>
            </p:cNvPr>
            <p:cNvPicPr>
              <a:picLocks noChangeAspect="1"/>
            </p:cNvPicPr>
            <p:nvPr/>
          </p:nvPicPr>
          <p:blipFill>
            <a:blip r:embed="rId4"/>
            <a:stretch>
              <a:fillRect/>
            </a:stretch>
          </p:blipFill>
          <p:spPr>
            <a:xfrm>
              <a:off x="9631079" y="5547403"/>
              <a:ext cx="354135" cy="343920"/>
            </a:xfrm>
            <a:prstGeom prst="rect">
              <a:avLst/>
            </a:prstGeom>
          </p:spPr>
        </p:pic>
        <p:pic>
          <p:nvPicPr>
            <p:cNvPr id="129" name="Picture 128">
              <a:extLst>
                <a:ext uri="{FF2B5EF4-FFF2-40B4-BE49-F238E27FC236}">
                  <a16:creationId xmlns:a16="http://schemas.microsoft.com/office/drawing/2014/main" id="{61D82181-4B14-4798-AD32-5D0480EA8D7C}"/>
                </a:ext>
              </a:extLst>
            </p:cNvPr>
            <p:cNvPicPr>
              <a:picLocks noChangeAspect="1"/>
            </p:cNvPicPr>
            <p:nvPr/>
          </p:nvPicPr>
          <p:blipFill>
            <a:blip r:embed="rId4"/>
            <a:stretch>
              <a:fillRect/>
            </a:stretch>
          </p:blipFill>
          <p:spPr>
            <a:xfrm>
              <a:off x="9631078" y="5115350"/>
              <a:ext cx="354135" cy="343920"/>
            </a:xfrm>
            <a:prstGeom prst="rect">
              <a:avLst/>
            </a:prstGeom>
          </p:spPr>
        </p:pic>
        <p:pic>
          <p:nvPicPr>
            <p:cNvPr id="130" name="Picture 129">
              <a:extLst>
                <a:ext uri="{FF2B5EF4-FFF2-40B4-BE49-F238E27FC236}">
                  <a16:creationId xmlns:a16="http://schemas.microsoft.com/office/drawing/2014/main" id="{90101D1B-5CF1-4E87-900A-CBC0B60CD6FE}"/>
                </a:ext>
              </a:extLst>
            </p:cNvPr>
            <p:cNvPicPr>
              <a:picLocks noChangeAspect="1"/>
            </p:cNvPicPr>
            <p:nvPr/>
          </p:nvPicPr>
          <p:blipFill>
            <a:blip r:embed="rId4"/>
            <a:stretch>
              <a:fillRect/>
            </a:stretch>
          </p:blipFill>
          <p:spPr>
            <a:xfrm>
              <a:off x="9631077" y="4683297"/>
              <a:ext cx="354135" cy="343920"/>
            </a:xfrm>
            <a:prstGeom prst="rect">
              <a:avLst/>
            </a:prstGeom>
          </p:spPr>
        </p:pic>
        <p:pic>
          <p:nvPicPr>
            <p:cNvPr id="131" name="Picture 130">
              <a:extLst>
                <a:ext uri="{FF2B5EF4-FFF2-40B4-BE49-F238E27FC236}">
                  <a16:creationId xmlns:a16="http://schemas.microsoft.com/office/drawing/2014/main" id="{2BE62D41-4077-4EF2-B954-86AC1CA44CE7}"/>
                </a:ext>
              </a:extLst>
            </p:cNvPr>
            <p:cNvPicPr>
              <a:picLocks noChangeAspect="1"/>
            </p:cNvPicPr>
            <p:nvPr/>
          </p:nvPicPr>
          <p:blipFill>
            <a:blip r:embed="rId4"/>
            <a:stretch>
              <a:fillRect/>
            </a:stretch>
          </p:blipFill>
          <p:spPr>
            <a:xfrm>
              <a:off x="10066943" y="5547403"/>
              <a:ext cx="354135" cy="343920"/>
            </a:xfrm>
            <a:prstGeom prst="rect">
              <a:avLst/>
            </a:prstGeom>
          </p:spPr>
        </p:pic>
        <p:pic>
          <p:nvPicPr>
            <p:cNvPr id="132" name="Picture 131">
              <a:extLst>
                <a:ext uri="{FF2B5EF4-FFF2-40B4-BE49-F238E27FC236}">
                  <a16:creationId xmlns:a16="http://schemas.microsoft.com/office/drawing/2014/main" id="{ACE955F3-56EF-4FF7-B68C-7E14592AD966}"/>
                </a:ext>
              </a:extLst>
            </p:cNvPr>
            <p:cNvPicPr>
              <a:picLocks noChangeAspect="1"/>
            </p:cNvPicPr>
            <p:nvPr/>
          </p:nvPicPr>
          <p:blipFill>
            <a:blip r:embed="rId4"/>
            <a:stretch>
              <a:fillRect/>
            </a:stretch>
          </p:blipFill>
          <p:spPr>
            <a:xfrm>
              <a:off x="10066942" y="5115350"/>
              <a:ext cx="354135" cy="343920"/>
            </a:xfrm>
            <a:prstGeom prst="rect">
              <a:avLst/>
            </a:prstGeom>
          </p:spPr>
        </p:pic>
        <p:pic>
          <p:nvPicPr>
            <p:cNvPr id="133" name="Picture 132">
              <a:extLst>
                <a:ext uri="{FF2B5EF4-FFF2-40B4-BE49-F238E27FC236}">
                  <a16:creationId xmlns:a16="http://schemas.microsoft.com/office/drawing/2014/main" id="{D17C739D-C673-4B04-9595-7EE4B465850F}"/>
                </a:ext>
              </a:extLst>
            </p:cNvPr>
            <p:cNvPicPr>
              <a:picLocks noChangeAspect="1"/>
            </p:cNvPicPr>
            <p:nvPr/>
          </p:nvPicPr>
          <p:blipFill>
            <a:blip r:embed="rId4"/>
            <a:stretch>
              <a:fillRect/>
            </a:stretch>
          </p:blipFill>
          <p:spPr>
            <a:xfrm>
              <a:off x="10066941" y="4683297"/>
              <a:ext cx="354135" cy="343920"/>
            </a:xfrm>
            <a:prstGeom prst="rect">
              <a:avLst/>
            </a:prstGeom>
          </p:spPr>
        </p:pic>
        <p:pic>
          <p:nvPicPr>
            <p:cNvPr id="134" name="Picture 133">
              <a:extLst>
                <a:ext uri="{FF2B5EF4-FFF2-40B4-BE49-F238E27FC236}">
                  <a16:creationId xmlns:a16="http://schemas.microsoft.com/office/drawing/2014/main" id="{9CCAC823-B588-460D-877D-3FFB9C1AB78C}"/>
                </a:ext>
              </a:extLst>
            </p:cNvPr>
            <p:cNvPicPr>
              <a:picLocks noChangeAspect="1"/>
            </p:cNvPicPr>
            <p:nvPr/>
          </p:nvPicPr>
          <p:blipFill>
            <a:blip r:embed="rId4"/>
            <a:stretch>
              <a:fillRect/>
            </a:stretch>
          </p:blipFill>
          <p:spPr>
            <a:xfrm>
              <a:off x="10502807" y="5547403"/>
              <a:ext cx="354135" cy="343920"/>
            </a:xfrm>
            <a:prstGeom prst="rect">
              <a:avLst/>
            </a:prstGeom>
          </p:spPr>
        </p:pic>
        <p:pic>
          <p:nvPicPr>
            <p:cNvPr id="135" name="Picture 134">
              <a:extLst>
                <a:ext uri="{FF2B5EF4-FFF2-40B4-BE49-F238E27FC236}">
                  <a16:creationId xmlns:a16="http://schemas.microsoft.com/office/drawing/2014/main" id="{4FF6DB55-2385-47E2-892A-250644DFB969}"/>
                </a:ext>
              </a:extLst>
            </p:cNvPr>
            <p:cNvPicPr>
              <a:picLocks noChangeAspect="1"/>
            </p:cNvPicPr>
            <p:nvPr/>
          </p:nvPicPr>
          <p:blipFill>
            <a:blip r:embed="rId4"/>
            <a:stretch>
              <a:fillRect/>
            </a:stretch>
          </p:blipFill>
          <p:spPr>
            <a:xfrm>
              <a:off x="10502806" y="5115350"/>
              <a:ext cx="354135" cy="343920"/>
            </a:xfrm>
            <a:prstGeom prst="rect">
              <a:avLst/>
            </a:prstGeom>
          </p:spPr>
        </p:pic>
        <p:pic>
          <p:nvPicPr>
            <p:cNvPr id="136" name="Picture 135">
              <a:extLst>
                <a:ext uri="{FF2B5EF4-FFF2-40B4-BE49-F238E27FC236}">
                  <a16:creationId xmlns:a16="http://schemas.microsoft.com/office/drawing/2014/main" id="{46A4E906-2B48-4FE0-BE70-C7B4A1949E48}"/>
                </a:ext>
              </a:extLst>
            </p:cNvPr>
            <p:cNvPicPr>
              <a:picLocks noChangeAspect="1"/>
            </p:cNvPicPr>
            <p:nvPr/>
          </p:nvPicPr>
          <p:blipFill>
            <a:blip r:embed="rId4"/>
            <a:stretch>
              <a:fillRect/>
            </a:stretch>
          </p:blipFill>
          <p:spPr>
            <a:xfrm>
              <a:off x="10502805" y="4683297"/>
              <a:ext cx="354135" cy="343920"/>
            </a:xfrm>
            <a:prstGeom prst="rect">
              <a:avLst/>
            </a:prstGeom>
          </p:spPr>
        </p:pic>
        <p:pic>
          <p:nvPicPr>
            <p:cNvPr id="137" name="Picture 136">
              <a:extLst>
                <a:ext uri="{FF2B5EF4-FFF2-40B4-BE49-F238E27FC236}">
                  <a16:creationId xmlns:a16="http://schemas.microsoft.com/office/drawing/2014/main" id="{ABBF6649-2E5E-4CDE-B90F-153E8E70A82D}"/>
                </a:ext>
              </a:extLst>
            </p:cNvPr>
            <p:cNvPicPr>
              <a:picLocks noChangeAspect="1"/>
            </p:cNvPicPr>
            <p:nvPr/>
          </p:nvPicPr>
          <p:blipFill>
            <a:blip r:embed="rId4"/>
            <a:stretch>
              <a:fillRect/>
            </a:stretch>
          </p:blipFill>
          <p:spPr>
            <a:xfrm>
              <a:off x="10938671" y="5547403"/>
              <a:ext cx="354135" cy="343920"/>
            </a:xfrm>
            <a:prstGeom prst="rect">
              <a:avLst/>
            </a:prstGeom>
          </p:spPr>
        </p:pic>
        <p:pic>
          <p:nvPicPr>
            <p:cNvPr id="138" name="Picture 137">
              <a:extLst>
                <a:ext uri="{FF2B5EF4-FFF2-40B4-BE49-F238E27FC236}">
                  <a16:creationId xmlns:a16="http://schemas.microsoft.com/office/drawing/2014/main" id="{9A0A3B09-C427-4914-BBA6-91BE69A10B2E}"/>
                </a:ext>
              </a:extLst>
            </p:cNvPr>
            <p:cNvPicPr>
              <a:picLocks noChangeAspect="1"/>
            </p:cNvPicPr>
            <p:nvPr/>
          </p:nvPicPr>
          <p:blipFill>
            <a:blip r:embed="rId4"/>
            <a:stretch>
              <a:fillRect/>
            </a:stretch>
          </p:blipFill>
          <p:spPr>
            <a:xfrm>
              <a:off x="10938670" y="5115350"/>
              <a:ext cx="354135" cy="343920"/>
            </a:xfrm>
            <a:prstGeom prst="rect">
              <a:avLst/>
            </a:prstGeom>
          </p:spPr>
        </p:pic>
        <p:pic>
          <p:nvPicPr>
            <p:cNvPr id="139" name="Picture 138">
              <a:extLst>
                <a:ext uri="{FF2B5EF4-FFF2-40B4-BE49-F238E27FC236}">
                  <a16:creationId xmlns:a16="http://schemas.microsoft.com/office/drawing/2014/main" id="{A3B3290C-EDB4-4698-BF5C-63391536297B}"/>
                </a:ext>
              </a:extLst>
            </p:cNvPr>
            <p:cNvPicPr>
              <a:picLocks noChangeAspect="1"/>
            </p:cNvPicPr>
            <p:nvPr/>
          </p:nvPicPr>
          <p:blipFill>
            <a:blip r:embed="rId4"/>
            <a:stretch>
              <a:fillRect/>
            </a:stretch>
          </p:blipFill>
          <p:spPr>
            <a:xfrm>
              <a:off x="10938669" y="4683297"/>
              <a:ext cx="354135" cy="343920"/>
            </a:xfrm>
            <a:prstGeom prst="rect">
              <a:avLst/>
            </a:prstGeom>
          </p:spPr>
        </p:pic>
        <p:sp>
          <p:nvSpPr>
            <p:cNvPr id="140" name="Rectangle 139">
              <a:extLst>
                <a:ext uri="{FF2B5EF4-FFF2-40B4-BE49-F238E27FC236}">
                  <a16:creationId xmlns:a16="http://schemas.microsoft.com/office/drawing/2014/main" id="{390E4A24-8629-4F35-9D57-E5FF116ACFE1}"/>
                </a:ext>
              </a:extLst>
            </p:cNvPr>
            <p:cNvSpPr/>
            <p:nvPr/>
          </p:nvSpPr>
          <p:spPr>
            <a:xfrm>
              <a:off x="9566076" y="4547170"/>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1" name="Straight Arrow Connector 140">
              <a:extLst>
                <a:ext uri="{FF2B5EF4-FFF2-40B4-BE49-F238E27FC236}">
                  <a16:creationId xmlns:a16="http://schemas.microsoft.com/office/drawing/2014/main" id="{24D7430D-DC3D-4A49-B335-6E111581EE80}"/>
                </a:ext>
              </a:extLst>
            </p:cNvPr>
            <p:cNvCxnSpPr>
              <a:stCxn id="127" idx="3"/>
              <a:endCxn id="140" idx="1"/>
            </p:cNvCxnSpPr>
            <p:nvPr/>
          </p:nvCxnSpPr>
          <p:spPr>
            <a:xfrm>
              <a:off x="8792246" y="5285346"/>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4" name="TextBox 143">
              <a:extLst>
                <a:ext uri="{FF2B5EF4-FFF2-40B4-BE49-F238E27FC236}">
                  <a16:creationId xmlns:a16="http://schemas.microsoft.com/office/drawing/2014/main" id="{2E1BFADE-EECB-4A31-AC72-E1E319EF7359}"/>
                </a:ext>
              </a:extLst>
            </p:cNvPr>
            <p:cNvSpPr txBox="1"/>
            <p:nvPr/>
          </p:nvSpPr>
          <p:spPr>
            <a:xfrm>
              <a:off x="7628563" y="4545087"/>
              <a:ext cx="1269899" cy="369332"/>
            </a:xfrm>
            <a:prstGeom prst="rect">
              <a:avLst/>
            </a:prstGeom>
            <a:noFill/>
          </p:spPr>
          <p:txBody>
            <a:bodyPr wrap="none" rtlCol="0">
              <a:spAutoFit/>
            </a:bodyPr>
            <a:lstStyle/>
            <a:p>
              <a:r>
                <a:rPr lang="sv-SE" dirty="0"/>
                <a:t>Customer C</a:t>
              </a:r>
              <a:endParaRPr lang="en-US" dirty="0"/>
            </a:p>
          </p:txBody>
        </p:sp>
        <p:pic>
          <p:nvPicPr>
            <p:cNvPr id="146" name="Picture 10" descr="Image result for ibm IOT logo">
              <a:extLst>
                <a:ext uri="{FF2B5EF4-FFF2-40B4-BE49-F238E27FC236}">
                  <a16:creationId xmlns:a16="http://schemas.microsoft.com/office/drawing/2014/main" id="{C3B0129C-EA2B-4878-9272-0AFDF8FC8E6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608637" y="5424829"/>
              <a:ext cx="570524" cy="5591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5" name="Group 1024">
            <a:extLst>
              <a:ext uri="{FF2B5EF4-FFF2-40B4-BE49-F238E27FC236}">
                <a16:creationId xmlns:a16="http://schemas.microsoft.com/office/drawing/2014/main" id="{33E4F68E-0296-4F20-B2B6-9C823641D452}"/>
              </a:ext>
            </a:extLst>
          </p:cNvPr>
          <p:cNvGrpSpPr/>
          <p:nvPr/>
        </p:nvGrpSpPr>
        <p:grpSpPr>
          <a:xfrm>
            <a:off x="7600037" y="1215589"/>
            <a:ext cx="3753763" cy="1512567"/>
            <a:chOff x="7600037" y="1215589"/>
            <a:chExt cx="3753763" cy="1512567"/>
          </a:xfrm>
        </p:grpSpPr>
        <p:sp>
          <p:nvSpPr>
            <p:cNvPr id="97" name="Rectangle 96">
              <a:extLst>
                <a:ext uri="{FF2B5EF4-FFF2-40B4-BE49-F238E27FC236}">
                  <a16:creationId xmlns:a16="http://schemas.microsoft.com/office/drawing/2014/main" id="{8DFB482E-E367-494E-9070-060F7F323E9D}"/>
                </a:ext>
              </a:extLst>
            </p:cNvPr>
            <p:cNvSpPr/>
            <p:nvPr/>
          </p:nvSpPr>
          <p:spPr>
            <a:xfrm>
              <a:off x="7687346" y="1632712"/>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98" name="Picture 97">
              <a:extLst>
                <a:ext uri="{FF2B5EF4-FFF2-40B4-BE49-F238E27FC236}">
                  <a16:creationId xmlns:a16="http://schemas.microsoft.com/office/drawing/2014/main" id="{9F8B69E9-BF8B-47AD-986E-FA3031CE06FF}"/>
                </a:ext>
              </a:extLst>
            </p:cNvPr>
            <p:cNvPicPr>
              <a:picLocks noChangeAspect="1"/>
            </p:cNvPicPr>
            <p:nvPr/>
          </p:nvPicPr>
          <p:blipFill>
            <a:blip r:embed="rId4"/>
            <a:stretch>
              <a:fillRect/>
            </a:stretch>
          </p:blipFill>
          <p:spPr>
            <a:xfrm>
              <a:off x="9631079" y="2244019"/>
              <a:ext cx="354135" cy="343920"/>
            </a:xfrm>
            <a:prstGeom prst="rect">
              <a:avLst/>
            </a:prstGeom>
          </p:spPr>
        </p:pic>
        <p:pic>
          <p:nvPicPr>
            <p:cNvPr id="99" name="Picture 98">
              <a:extLst>
                <a:ext uri="{FF2B5EF4-FFF2-40B4-BE49-F238E27FC236}">
                  <a16:creationId xmlns:a16="http://schemas.microsoft.com/office/drawing/2014/main" id="{25564854-60C0-47A2-849E-5BC647B7E764}"/>
                </a:ext>
              </a:extLst>
            </p:cNvPr>
            <p:cNvPicPr>
              <a:picLocks noChangeAspect="1"/>
            </p:cNvPicPr>
            <p:nvPr/>
          </p:nvPicPr>
          <p:blipFill>
            <a:blip r:embed="rId4"/>
            <a:stretch>
              <a:fillRect/>
            </a:stretch>
          </p:blipFill>
          <p:spPr>
            <a:xfrm>
              <a:off x="9631078" y="1811966"/>
              <a:ext cx="354135" cy="343920"/>
            </a:xfrm>
            <a:prstGeom prst="rect">
              <a:avLst/>
            </a:prstGeom>
          </p:spPr>
        </p:pic>
        <p:pic>
          <p:nvPicPr>
            <p:cNvPr id="100" name="Picture 99">
              <a:extLst>
                <a:ext uri="{FF2B5EF4-FFF2-40B4-BE49-F238E27FC236}">
                  <a16:creationId xmlns:a16="http://schemas.microsoft.com/office/drawing/2014/main" id="{C057CA5D-804B-4419-A1BC-08D1E7B8452D}"/>
                </a:ext>
              </a:extLst>
            </p:cNvPr>
            <p:cNvPicPr>
              <a:picLocks noChangeAspect="1"/>
            </p:cNvPicPr>
            <p:nvPr/>
          </p:nvPicPr>
          <p:blipFill>
            <a:blip r:embed="rId4"/>
            <a:stretch>
              <a:fillRect/>
            </a:stretch>
          </p:blipFill>
          <p:spPr>
            <a:xfrm>
              <a:off x="9631077" y="1379913"/>
              <a:ext cx="354135" cy="343920"/>
            </a:xfrm>
            <a:prstGeom prst="rect">
              <a:avLst/>
            </a:prstGeom>
          </p:spPr>
        </p:pic>
        <p:pic>
          <p:nvPicPr>
            <p:cNvPr id="101" name="Picture 100">
              <a:extLst>
                <a:ext uri="{FF2B5EF4-FFF2-40B4-BE49-F238E27FC236}">
                  <a16:creationId xmlns:a16="http://schemas.microsoft.com/office/drawing/2014/main" id="{08383796-F09D-41C0-90BE-66EA73B7CC6A}"/>
                </a:ext>
              </a:extLst>
            </p:cNvPr>
            <p:cNvPicPr>
              <a:picLocks noChangeAspect="1"/>
            </p:cNvPicPr>
            <p:nvPr/>
          </p:nvPicPr>
          <p:blipFill>
            <a:blip r:embed="rId4"/>
            <a:stretch>
              <a:fillRect/>
            </a:stretch>
          </p:blipFill>
          <p:spPr>
            <a:xfrm>
              <a:off x="10066943" y="2244019"/>
              <a:ext cx="354135" cy="343920"/>
            </a:xfrm>
            <a:prstGeom prst="rect">
              <a:avLst/>
            </a:prstGeom>
          </p:spPr>
        </p:pic>
        <p:pic>
          <p:nvPicPr>
            <p:cNvPr id="102" name="Picture 101">
              <a:extLst>
                <a:ext uri="{FF2B5EF4-FFF2-40B4-BE49-F238E27FC236}">
                  <a16:creationId xmlns:a16="http://schemas.microsoft.com/office/drawing/2014/main" id="{D88DB640-A60D-41D3-837D-FA359873969A}"/>
                </a:ext>
              </a:extLst>
            </p:cNvPr>
            <p:cNvPicPr>
              <a:picLocks noChangeAspect="1"/>
            </p:cNvPicPr>
            <p:nvPr/>
          </p:nvPicPr>
          <p:blipFill>
            <a:blip r:embed="rId4"/>
            <a:stretch>
              <a:fillRect/>
            </a:stretch>
          </p:blipFill>
          <p:spPr>
            <a:xfrm>
              <a:off x="10066942" y="1811966"/>
              <a:ext cx="354135" cy="343920"/>
            </a:xfrm>
            <a:prstGeom prst="rect">
              <a:avLst/>
            </a:prstGeom>
          </p:spPr>
        </p:pic>
        <p:pic>
          <p:nvPicPr>
            <p:cNvPr id="103" name="Picture 102">
              <a:extLst>
                <a:ext uri="{FF2B5EF4-FFF2-40B4-BE49-F238E27FC236}">
                  <a16:creationId xmlns:a16="http://schemas.microsoft.com/office/drawing/2014/main" id="{A7C5B9DC-4E4D-4409-BF42-29844A24E3AD}"/>
                </a:ext>
              </a:extLst>
            </p:cNvPr>
            <p:cNvPicPr>
              <a:picLocks noChangeAspect="1"/>
            </p:cNvPicPr>
            <p:nvPr/>
          </p:nvPicPr>
          <p:blipFill>
            <a:blip r:embed="rId4"/>
            <a:stretch>
              <a:fillRect/>
            </a:stretch>
          </p:blipFill>
          <p:spPr>
            <a:xfrm>
              <a:off x="10066941" y="1379913"/>
              <a:ext cx="354135" cy="343920"/>
            </a:xfrm>
            <a:prstGeom prst="rect">
              <a:avLst/>
            </a:prstGeom>
          </p:spPr>
        </p:pic>
        <p:pic>
          <p:nvPicPr>
            <p:cNvPr id="104" name="Picture 103">
              <a:extLst>
                <a:ext uri="{FF2B5EF4-FFF2-40B4-BE49-F238E27FC236}">
                  <a16:creationId xmlns:a16="http://schemas.microsoft.com/office/drawing/2014/main" id="{A02DF20A-4758-440D-BB21-024141B72EA7}"/>
                </a:ext>
              </a:extLst>
            </p:cNvPr>
            <p:cNvPicPr>
              <a:picLocks noChangeAspect="1"/>
            </p:cNvPicPr>
            <p:nvPr/>
          </p:nvPicPr>
          <p:blipFill>
            <a:blip r:embed="rId4"/>
            <a:stretch>
              <a:fillRect/>
            </a:stretch>
          </p:blipFill>
          <p:spPr>
            <a:xfrm>
              <a:off x="10502807" y="2244019"/>
              <a:ext cx="354135" cy="343920"/>
            </a:xfrm>
            <a:prstGeom prst="rect">
              <a:avLst/>
            </a:prstGeom>
          </p:spPr>
        </p:pic>
        <p:pic>
          <p:nvPicPr>
            <p:cNvPr id="105" name="Picture 104">
              <a:extLst>
                <a:ext uri="{FF2B5EF4-FFF2-40B4-BE49-F238E27FC236}">
                  <a16:creationId xmlns:a16="http://schemas.microsoft.com/office/drawing/2014/main" id="{876B1451-4416-4103-9517-D845CD46A637}"/>
                </a:ext>
              </a:extLst>
            </p:cNvPr>
            <p:cNvPicPr>
              <a:picLocks noChangeAspect="1"/>
            </p:cNvPicPr>
            <p:nvPr/>
          </p:nvPicPr>
          <p:blipFill>
            <a:blip r:embed="rId4"/>
            <a:stretch>
              <a:fillRect/>
            </a:stretch>
          </p:blipFill>
          <p:spPr>
            <a:xfrm>
              <a:off x="10502806" y="1811966"/>
              <a:ext cx="354135" cy="343920"/>
            </a:xfrm>
            <a:prstGeom prst="rect">
              <a:avLst/>
            </a:prstGeom>
          </p:spPr>
        </p:pic>
        <p:pic>
          <p:nvPicPr>
            <p:cNvPr id="106" name="Picture 105">
              <a:extLst>
                <a:ext uri="{FF2B5EF4-FFF2-40B4-BE49-F238E27FC236}">
                  <a16:creationId xmlns:a16="http://schemas.microsoft.com/office/drawing/2014/main" id="{ACDD1C4E-8943-4AE0-A19F-412DAD352190}"/>
                </a:ext>
              </a:extLst>
            </p:cNvPr>
            <p:cNvPicPr>
              <a:picLocks noChangeAspect="1"/>
            </p:cNvPicPr>
            <p:nvPr/>
          </p:nvPicPr>
          <p:blipFill>
            <a:blip r:embed="rId4"/>
            <a:stretch>
              <a:fillRect/>
            </a:stretch>
          </p:blipFill>
          <p:spPr>
            <a:xfrm>
              <a:off x="10502805" y="1379913"/>
              <a:ext cx="354135" cy="343920"/>
            </a:xfrm>
            <a:prstGeom prst="rect">
              <a:avLst/>
            </a:prstGeom>
          </p:spPr>
        </p:pic>
        <p:pic>
          <p:nvPicPr>
            <p:cNvPr id="107" name="Picture 106">
              <a:extLst>
                <a:ext uri="{FF2B5EF4-FFF2-40B4-BE49-F238E27FC236}">
                  <a16:creationId xmlns:a16="http://schemas.microsoft.com/office/drawing/2014/main" id="{8B6E931A-186D-4D59-8CDA-D496F8B08736}"/>
                </a:ext>
              </a:extLst>
            </p:cNvPr>
            <p:cNvPicPr>
              <a:picLocks noChangeAspect="1"/>
            </p:cNvPicPr>
            <p:nvPr/>
          </p:nvPicPr>
          <p:blipFill>
            <a:blip r:embed="rId4"/>
            <a:stretch>
              <a:fillRect/>
            </a:stretch>
          </p:blipFill>
          <p:spPr>
            <a:xfrm>
              <a:off x="10938671" y="2244019"/>
              <a:ext cx="354135" cy="343920"/>
            </a:xfrm>
            <a:prstGeom prst="rect">
              <a:avLst/>
            </a:prstGeom>
          </p:spPr>
        </p:pic>
        <p:pic>
          <p:nvPicPr>
            <p:cNvPr id="108" name="Picture 107">
              <a:extLst>
                <a:ext uri="{FF2B5EF4-FFF2-40B4-BE49-F238E27FC236}">
                  <a16:creationId xmlns:a16="http://schemas.microsoft.com/office/drawing/2014/main" id="{F3B04BD2-2FDF-48DD-8331-979A749E8BEA}"/>
                </a:ext>
              </a:extLst>
            </p:cNvPr>
            <p:cNvPicPr>
              <a:picLocks noChangeAspect="1"/>
            </p:cNvPicPr>
            <p:nvPr/>
          </p:nvPicPr>
          <p:blipFill>
            <a:blip r:embed="rId4"/>
            <a:stretch>
              <a:fillRect/>
            </a:stretch>
          </p:blipFill>
          <p:spPr>
            <a:xfrm>
              <a:off x="10938670" y="1811966"/>
              <a:ext cx="354135" cy="343920"/>
            </a:xfrm>
            <a:prstGeom prst="rect">
              <a:avLst/>
            </a:prstGeom>
          </p:spPr>
        </p:pic>
        <p:pic>
          <p:nvPicPr>
            <p:cNvPr id="109" name="Picture 108">
              <a:extLst>
                <a:ext uri="{FF2B5EF4-FFF2-40B4-BE49-F238E27FC236}">
                  <a16:creationId xmlns:a16="http://schemas.microsoft.com/office/drawing/2014/main" id="{408B9254-BD10-4446-8323-44104567FA60}"/>
                </a:ext>
              </a:extLst>
            </p:cNvPr>
            <p:cNvPicPr>
              <a:picLocks noChangeAspect="1"/>
            </p:cNvPicPr>
            <p:nvPr/>
          </p:nvPicPr>
          <p:blipFill>
            <a:blip r:embed="rId4"/>
            <a:stretch>
              <a:fillRect/>
            </a:stretch>
          </p:blipFill>
          <p:spPr>
            <a:xfrm>
              <a:off x="10938669" y="1379913"/>
              <a:ext cx="354135" cy="343920"/>
            </a:xfrm>
            <a:prstGeom prst="rect">
              <a:avLst/>
            </a:prstGeom>
          </p:spPr>
        </p:pic>
        <p:sp>
          <p:nvSpPr>
            <p:cNvPr id="110" name="Rectangle 109">
              <a:extLst>
                <a:ext uri="{FF2B5EF4-FFF2-40B4-BE49-F238E27FC236}">
                  <a16:creationId xmlns:a16="http://schemas.microsoft.com/office/drawing/2014/main" id="{4AD99BB6-AEFB-4791-ABBD-4064BB46C075}"/>
                </a:ext>
              </a:extLst>
            </p:cNvPr>
            <p:cNvSpPr/>
            <p:nvPr/>
          </p:nvSpPr>
          <p:spPr>
            <a:xfrm>
              <a:off x="9566076" y="1243786"/>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1" name="Straight Arrow Connector 110">
              <a:extLst>
                <a:ext uri="{FF2B5EF4-FFF2-40B4-BE49-F238E27FC236}">
                  <a16:creationId xmlns:a16="http://schemas.microsoft.com/office/drawing/2014/main" id="{8250AACA-D217-4156-BF99-A6FD7E8026E3}"/>
                </a:ext>
              </a:extLst>
            </p:cNvPr>
            <p:cNvCxnSpPr>
              <a:stCxn id="97" idx="3"/>
              <a:endCxn id="110" idx="1"/>
            </p:cNvCxnSpPr>
            <p:nvPr/>
          </p:nvCxnSpPr>
          <p:spPr>
            <a:xfrm>
              <a:off x="8792246" y="1981962"/>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2" name="TextBox 141">
              <a:extLst>
                <a:ext uri="{FF2B5EF4-FFF2-40B4-BE49-F238E27FC236}">
                  <a16:creationId xmlns:a16="http://schemas.microsoft.com/office/drawing/2014/main" id="{98163CC1-7F24-497D-AC8D-A1A1B66D362B}"/>
                </a:ext>
              </a:extLst>
            </p:cNvPr>
            <p:cNvSpPr txBox="1"/>
            <p:nvPr/>
          </p:nvSpPr>
          <p:spPr>
            <a:xfrm>
              <a:off x="7600037" y="1215589"/>
              <a:ext cx="1279517" cy="369332"/>
            </a:xfrm>
            <a:prstGeom prst="rect">
              <a:avLst/>
            </a:prstGeom>
            <a:noFill/>
          </p:spPr>
          <p:txBody>
            <a:bodyPr wrap="none" rtlCol="0">
              <a:spAutoFit/>
            </a:bodyPr>
            <a:lstStyle/>
            <a:p>
              <a:r>
                <a:rPr lang="sv-SE" dirty="0"/>
                <a:t>Customer A</a:t>
              </a:r>
              <a:endParaRPr lang="en-US" dirty="0"/>
            </a:p>
          </p:txBody>
        </p:sp>
        <p:grpSp>
          <p:nvGrpSpPr>
            <p:cNvPr id="147" name="Group 146">
              <a:extLst>
                <a:ext uri="{FF2B5EF4-FFF2-40B4-BE49-F238E27FC236}">
                  <a16:creationId xmlns:a16="http://schemas.microsoft.com/office/drawing/2014/main" id="{87B6A82F-1629-4584-9099-D0CC272D8CFF}"/>
                </a:ext>
              </a:extLst>
            </p:cNvPr>
            <p:cNvGrpSpPr/>
            <p:nvPr/>
          </p:nvGrpSpPr>
          <p:grpSpPr>
            <a:xfrm>
              <a:off x="8544765" y="2170874"/>
              <a:ext cx="576692" cy="509588"/>
              <a:chOff x="5498091" y="4114800"/>
              <a:chExt cx="576692" cy="509588"/>
            </a:xfrm>
          </p:grpSpPr>
          <p:sp>
            <p:nvSpPr>
              <p:cNvPr id="148" name="Oval 147">
                <a:extLst>
                  <a:ext uri="{FF2B5EF4-FFF2-40B4-BE49-F238E27FC236}">
                    <a16:creationId xmlns:a16="http://schemas.microsoft.com/office/drawing/2014/main" id="{6879CA68-485D-4F4F-98C8-538FB24974CD}"/>
                  </a:ext>
                </a:extLst>
              </p:cNvPr>
              <p:cNvSpPr/>
              <p:nvPr/>
            </p:nvSpPr>
            <p:spPr>
              <a:xfrm>
                <a:off x="5534025" y="4114800"/>
                <a:ext cx="504825" cy="50958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9" name="Picture 8" descr="Image result for AZURE IOT">
                <a:extLst>
                  <a:ext uri="{FF2B5EF4-FFF2-40B4-BE49-F238E27FC236}">
                    <a16:creationId xmlns:a16="http://schemas.microsoft.com/office/drawing/2014/main" id="{F4C859F1-50BC-44CE-8CE3-4C4A0FCD2A4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50" name="Straight Arrow Connector 149">
            <a:extLst>
              <a:ext uri="{FF2B5EF4-FFF2-40B4-BE49-F238E27FC236}">
                <a16:creationId xmlns:a16="http://schemas.microsoft.com/office/drawing/2014/main" id="{7961FD4A-C074-4458-ACB9-954EE0E7BB5F}"/>
              </a:ext>
            </a:extLst>
          </p:cNvPr>
          <p:cNvCxnSpPr>
            <a:cxnSpLocks/>
          </p:cNvCxnSpPr>
          <p:nvPr/>
        </p:nvCxnSpPr>
        <p:spPr>
          <a:xfrm>
            <a:off x="6354196" y="1985971"/>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2" name="Straight Arrow Connector 151">
            <a:extLst>
              <a:ext uri="{FF2B5EF4-FFF2-40B4-BE49-F238E27FC236}">
                <a16:creationId xmlns:a16="http://schemas.microsoft.com/office/drawing/2014/main" id="{44593D00-CE4C-4A9F-9D8D-AFAE43F21DBE}"/>
              </a:ext>
            </a:extLst>
          </p:cNvPr>
          <p:cNvCxnSpPr>
            <a:cxnSpLocks/>
          </p:cNvCxnSpPr>
          <p:nvPr/>
        </p:nvCxnSpPr>
        <p:spPr>
          <a:xfrm>
            <a:off x="6354196" y="3629734"/>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3" name="Straight Arrow Connector 152">
            <a:extLst>
              <a:ext uri="{FF2B5EF4-FFF2-40B4-BE49-F238E27FC236}">
                <a16:creationId xmlns:a16="http://schemas.microsoft.com/office/drawing/2014/main" id="{2313CC88-3FC5-492C-811A-7AD63B120468}"/>
              </a:ext>
            </a:extLst>
          </p:cNvPr>
          <p:cNvCxnSpPr>
            <a:cxnSpLocks/>
          </p:cNvCxnSpPr>
          <p:nvPr/>
        </p:nvCxnSpPr>
        <p:spPr>
          <a:xfrm>
            <a:off x="6354196" y="5273497"/>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10" name="Group 9">
            <a:extLst>
              <a:ext uri="{FF2B5EF4-FFF2-40B4-BE49-F238E27FC236}">
                <a16:creationId xmlns:a16="http://schemas.microsoft.com/office/drawing/2014/main" id="{8ECA4793-8A3F-4E31-99D9-A4556AF2685B}"/>
              </a:ext>
            </a:extLst>
          </p:cNvPr>
          <p:cNvGrpSpPr/>
          <p:nvPr/>
        </p:nvGrpSpPr>
        <p:grpSpPr>
          <a:xfrm>
            <a:off x="316407" y="2513762"/>
            <a:ext cx="3028449" cy="1754326"/>
            <a:chOff x="316407" y="2513762"/>
            <a:chExt cx="3028449" cy="1754326"/>
          </a:xfrm>
        </p:grpSpPr>
        <p:sp>
          <p:nvSpPr>
            <p:cNvPr id="4" name="TextBox 3">
              <a:extLst>
                <a:ext uri="{FF2B5EF4-FFF2-40B4-BE49-F238E27FC236}">
                  <a16:creationId xmlns:a16="http://schemas.microsoft.com/office/drawing/2014/main" id="{62749ABA-999D-4704-8FE8-5282F4AB2630}"/>
                </a:ext>
              </a:extLst>
            </p:cNvPr>
            <p:cNvSpPr txBox="1"/>
            <p:nvPr/>
          </p:nvSpPr>
          <p:spPr>
            <a:xfrm>
              <a:off x="1056794" y="2513762"/>
              <a:ext cx="2288062" cy="1754326"/>
            </a:xfrm>
            <a:prstGeom prst="rect">
              <a:avLst/>
            </a:prstGeom>
            <a:noFill/>
          </p:spPr>
          <p:txBody>
            <a:bodyPr wrap="none" rtlCol="0">
              <a:spAutoFit/>
            </a:bodyPr>
            <a:lstStyle/>
            <a:p>
              <a:r>
                <a:rPr lang="en-US" dirty="0"/>
                <a:t>Incidents </a:t>
              </a:r>
            </a:p>
            <a:p>
              <a:r>
                <a:rPr lang="en-US" dirty="0"/>
                <a:t>Issue tracking</a:t>
              </a:r>
            </a:p>
            <a:p>
              <a:r>
                <a:rPr lang="en-US" dirty="0"/>
                <a:t>Problem Management</a:t>
              </a:r>
            </a:p>
            <a:p>
              <a:r>
                <a:rPr lang="en-US" dirty="0"/>
                <a:t>Change Management</a:t>
              </a:r>
            </a:p>
            <a:p>
              <a:r>
                <a:rPr lang="en-US" dirty="0"/>
                <a:t>Release Management</a:t>
              </a:r>
            </a:p>
            <a:p>
              <a:r>
                <a:rPr lang="en-US" dirty="0"/>
                <a:t>Knowledge base</a:t>
              </a:r>
            </a:p>
          </p:txBody>
        </p:sp>
        <p:sp>
          <p:nvSpPr>
            <p:cNvPr id="6" name="TextBox 5">
              <a:extLst>
                <a:ext uri="{FF2B5EF4-FFF2-40B4-BE49-F238E27FC236}">
                  <a16:creationId xmlns:a16="http://schemas.microsoft.com/office/drawing/2014/main" id="{47E1BC8B-654C-49E8-A9C3-D520924CFE59}"/>
                </a:ext>
              </a:extLst>
            </p:cNvPr>
            <p:cNvSpPr txBox="1"/>
            <p:nvPr/>
          </p:nvSpPr>
          <p:spPr>
            <a:xfrm rot="16200000">
              <a:off x="206921" y="2930461"/>
              <a:ext cx="926857" cy="707886"/>
            </a:xfrm>
            <a:prstGeom prst="rect">
              <a:avLst/>
            </a:prstGeom>
            <a:noFill/>
          </p:spPr>
          <p:txBody>
            <a:bodyPr wrap="none" rtlCol="0">
              <a:spAutoFit/>
            </a:bodyPr>
            <a:lstStyle/>
            <a:p>
              <a:r>
                <a:rPr lang="sv-SE" sz="4000" b="1" dirty="0"/>
                <a:t>ITIL</a:t>
              </a:r>
              <a:endParaRPr lang="en-US" b="1" dirty="0"/>
            </a:p>
          </p:txBody>
        </p:sp>
        <p:cxnSp>
          <p:nvCxnSpPr>
            <p:cNvPr id="8" name="Straight Connector 7">
              <a:extLst>
                <a:ext uri="{FF2B5EF4-FFF2-40B4-BE49-F238E27FC236}">
                  <a16:creationId xmlns:a16="http://schemas.microsoft.com/office/drawing/2014/main" id="{DC99CEF7-C514-4D3C-97DF-DFF9D73FDAAF}"/>
                </a:ext>
              </a:extLst>
            </p:cNvPr>
            <p:cNvCxnSpPr/>
            <p:nvPr/>
          </p:nvCxnSpPr>
          <p:spPr>
            <a:xfrm>
              <a:off x="1041648" y="2577049"/>
              <a:ext cx="0" cy="166258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8" name="Group 87">
            <a:extLst>
              <a:ext uri="{FF2B5EF4-FFF2-40B4-BE49-F238E27FC236}">
                <a16:creationId xmlns:a16="http://schemas.microsoft.com/office/drawing/2014/main" id="{06CF5CD8-91C2-41FE-B524-0D1837D08D0C}"/>
              </a:ext>
            </a:extLst>
          </p:cNvPr>
          <p:cNvGrpSpPr/>
          <p:nvPr/>
        </p:nvGrpSpPr>
        <p:grpSpPr>
          <a:xfrm>
            <a:off x="812771" y="1453632"/>
            <a:ext cx="2034945" cy="4011761"/>
            <a:chOff x="704534" y="1467601"/>
            <a:chExt cx="2267904" cy="4471024"/>
          </a:xfrm>
        </p:grpSpPr>
        <p:pic>
          <p:nvPicPr>
            <p:cNvPr id="89" name="Picture 88">
              <a:extLst>
                <a:ext uri="{FF2B5EF4-FFF2-40B4-BE49-F238E27FC236}">
                  <a16:creationId xmlns:a16="http://schemas.microsoft.com/office/drawing/2014/main" id="{8DB23809-3F02-4397-A226-CA91558916A6}"/>
                </a:ext>
              </a:extLst>
            </p:cNvPr>
            <p:cNvPicPr>
              <a:picLocks noChangeAspect="1"/>
            </p:cNvPicPr>
            <p:nvPr/>
          </p:nvPicPr>
          <p:blipFill>
            <a:blip r:embed="rId8"/>
            <a:stretch>
              <a:fillRect/>
            </a:stretch>
          </p:blipFill>
          <p:spPr>
            <a:xfrm>
              <a:off x="1101057" y="1467601"/>
              <a:ext cx="1691366" cy="1629208"/>
            </a:xfrm>
            <a:prstGeom prst="rect">
              <a:avLst/>
            </a:prstGeom>
          </p:spPr>
        </p:pic>
        <p:pic>
          <p:nvPicPr>
            <p:cNvPr id="90" name="Picture 89">
              <a:extLst>
                <a:ext uri="{FF2B5EF4-FFF2-40B4-BE49-F238E27FC236}">
                  <a16:creationId xmlns:a16="http://schemas.microsoft.com/office/drawing/2014/main" id="{C3FB2450-421E-4AC2-9A5C-A2E71A11BCF4}"/>
                </a:ext>
              </a:extLst>
            </p:cNvPr>
            <p:cNvPicPr>
              <a:picLocks noChangeAspect="1"/>
            </p:cNvPicPr>
            <p:nvPr/>
          </p:nvPicPr>
          <p:blipFill>
            <a:blip r:embed="rId9"/>
            <a:stretch>
              <a:fillRect/>
            </a:stretch>
          </p:blipFill>
          <p:spPr>
            <a:xfrm>
              <a:off x="704534" y="4273447"/>
              <a:ext cx="751106" cy="679824"/>
            </a:xfrm>
            <a:prstGeom prst="rect">
              <a:avLst/>
            </a:prstGeom>
          </p:spPr>
        </p:pic>
        <p:pic>
          <p:nvPicPr>
            <p:cNvPr id="91" name="Picture 90">
              <a:extLst>
                <a:ext uri="{FF2B5EF4-FFF2-40B4-BE49-F238E27FC236}">
                  <a16:creationId xmlns:a16="http://schemas.microsoft.com/office/drawing/2014/main" id="{CBF02CB7-06C4-45F9-BDC0-680FCEB573F5}"/>
                </a:ext>
              </a:extLst>
            </p:cNvPr>
            <p:cNvPicPr>
              <a:picLocks noChangeAspect="1"/>
            </p:cNvPicPr>
            <p:nvPr/>
          </p:nvPicPr>
          <p:blipFill>
            <a:blip r:embed="rId9"/>
            <a:stretch>
              <a:fillRect/>
            </a:stretch>
          </p:blipFill>
          <p:spPr>
            <a:xfrm>
              <a:off x="1462938" y="4273446"/>
              <a:ext cx="751106" cy="679824"/>
            </a:xfrm>
            <a:prstGeom prst="rect">
              <a:avLst/>
            </a:prstGeom>
          </p:spPr>
        </p:pic>
        <p:pic>
          <p:nvPicPr>
            <p:cNvPr id="92" name="Picture 91">
              <a:extLst>
                <a:ext uri="{FF2B5EF4-FFF2-40B4-BE49-F238E27FC236}">
                  <a16:creationId xmlns:a16="http://schemas.microsoft.com/office/drawing/2014/main" id="{4E7EC6FE-85ED-4415-8AF4-D35E5127C0DA}"/>
                </a:ext>
              </a:extLst>
            </p:cNvPr>
            <p:cNvPicPr>
              <a:picLocks noChangeAspect="1"/>
            </p:cNvPicPr>
            <p:nvPr/>
          </p:nvPicPr>
          <p:blipFill>
            <a:blip r:embed="rId9"/>
            <a:stretch>
              <a:fillRect/>
            </a:stretch>
          </p:blipFill>
          <p:spPr>
            <a:xfrm>
              <a:off x="2221332" y="4273445"/>
              <a:ext cx="751106" cy="679824"/>
            </a:xfrm>
            <a:prstGeom prst="rect">
              <a:avLst/>
            </a:prstGeom>
          </p:spPr>
        </p:pic>
        <p:sp>
          <p:nvSpPr>
            <p:cNvPr id="93" name="TextBox 92">
              <a:extLst>
                <a:ext uri="{FF2B5EF4-FFF2-40B4-BE49-F238E27FC236}">
                  <a16:creationId xmlns:a16="http://schemas.microsoft.com/office/drawing/2014/main" id="{7E9049B8-4945-4ADC-8C15-FBDC5D368D4E}"/>
                </a:ext>
              </a:extLst>
            </p:cNvPr>
            <p:cNvSpPr txBox="1"/>
            <p:nvPr/>
          </p:nvSpPr>
          <p:spPr>
            <a:xfrm>
              <a:off x="1019328" y="3013535"/>
              <a:ext cx="148091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SERVICE DESK</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4" name="TextBox 93">
              <a:extLst>
                <a:ext uri="{FF2B5EF4-FFF2-40B4-BE49-F238E27FC236}">
                  <a16:creationId xmlns:a16="http://schemas.microsoft.com/office/drawing/2014/main" id="{79295A03-68A1-4F1A-A1E1-BAE365169DDC}"/>
                </a:ext>
              </a:extLst>
            </p:cNvPr>
            <p:cNvSpPr txBox="1"/>
            <p:nvPr/>
          </p:nvSpPr>
          <p:spPr>
            <a:xfrm>
              <a:off x="991369" y="5015295"/>
              <a:ext cx="1694244"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NETWORK OPERATIONS CENTER</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1621543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88"/>
                                        </p:tgtEl>
                                      </p:cBhvr>
                                    </p:animEffect>
                                    <p:set>
                                      <p:cBhvr>
                                        <p:cTn id="7" dur="1" fill="hold">
                                          <p:stCondLst>
                                            <p:cond delay="499"/>
                                          </p:stCondLst>
                                        </p:cTn>
                                        <p:tgtEl>
                                          <p:spTgt spid="88"/>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oT platforms</a:t>
            </a:r>
          </a:p>
        </p:txBody>
      </p:sp>
      <p:grpSp>
        <p:nvGrpSpPr>
          <p:cNvPr id="10" name="Group 9"/>
          <p:cNvGrpSpPr/>
          <p:nvPr/>
        </p:nvGrpSpPr>
        <p:grpSpPr>
          <a:xfrm>
            <a:off x="4110813" y="2916611"/>
            <a:ext cx="1941718" cy="2155768"/>
            <a:chOff x="4110813" y="2916611"/>
            <a:chExt cx="1941718" cy="2155768"/>
          </a:xfrm>
        </p:grpSpPr>
        <p:sp>
          <p:nvSpPr>
            <p:cNvPr id="35" name="Rektangel 13"/>
            <p:cNvSpPr/>
            <p:nvPr/>
          </p:nvSpPr>
          <p:spPr bwMode="auto">
            <a:xfrm>
              <a:off x="4110813" y="2916611"/>
              <a:ext cx="1941718" cy="2155768"/>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Transport</a:t>
              </a: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37" name="Likbent triangel 10"/>
            <p:cNvSpPr/>
            <p:nvPr/>
          </p:nvSpPr>
          <p:spPr bwMode="auto">
            <a:xfrm rot="5400000">
              <a:off x="4042234" y="3932978"/>
              <a:ext cx="399011" cy="261852"/>
            </a:xfrm>
            <a:prstGeom prst="triangle">
              <a:avLst/>
            </a:prstGeom>
            <a:solidFill>
              <a:schemeClr val="accent1">
                <a:lumMod val="75000"/>
              </a:scheme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nvGrpSpPr>
          <p:cNvPr id="15" name="Group 14"/>
          <p:cNvGrpSpPr/>
          <p:nvPr/>
        </p:nvGrpSpPr>
        <p:grpSpPr>
          <a:xfrm>
            <a:off x="10006619" y="2917302"/>
            <a:ext cx="2012374" cy="2149269"/>
            <a:chOff x="10006619" y="2917302"/>
            <a:chExt cx="2012374" cy="2149269"/>
          </a:xfrm>
        </p:grpSpPr>
        <p:sp>
          <p:nvSpPr>
            <p:cNvPr id="40" name="Rektangel 23"/>
            <p:cNvSpPr/>
            <p:nvPr/>
          </p:nvSpPr>
          <p:spPr bwMode="auto">
            <a:xfrm>
              <a:off x="10006621" y="2917302"/>
              <a:ext cx="2012372" cy="720000"/>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REPORTS</a:t>
              </a:r>
            </a:p>
          </p:txBody>
        </p:sp>
        <p:sp>
          <p:nvSpPr>
            <p:cNvPr id="41" name="Rektangel 26"/>
            <p:cNvSpPr/>
            <p:nvPr/>
          </p:nvSpPr>
          <p:spPr bwMode="auto">
            <a:xfrm>
              <a:off x="10006621" y="3637912"/>
              <a:ext cx="2012372" cy="720000"/>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QL</a:t>
              </a:r>
              <a:r>
                <a:rPr lang="en-US" sz="2000" kern="0" dirty="0">
                  <a:gradFill>
                    <a:gsLst>
                      <a:gs pos="0">
                        <a:srgbClr val="FFFFFF"/>
                      </a:gs>
                      <a:gs pos="100000">
                        <a:srgbClr val="FFFFFF"/>
                      </a:gs>
                    </a:gsLst>
                    <a:lin ang="5400000" scaled="0"/>
                  </a:gradFill>
                  <a:latin typeface="Segoe UI Light"/>
                  <a:ea typeface="Segoe UI" pitchFamily="34" charset="0"/>
                  <a:cs typeface="Segoe UI" pitchFamily="34" charset="0"/>
                </a:rPr>
                <a:t> / NOSQL</a:t>
              </a: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42" name="Rektangel 27"/>
            <p:cNvSpPr/>
            <p:nvPr/>
          </p:nvSpPr>
          <p:spPr bwMode="auto">
            <a:xfrm>
              <a:off x="10006621" y="4346571"/>
              <a:ext cx="2012372" cy="720000"/>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ERP / LOB</a:t>
              </a:r>
            </a:p>
          </p:txBody>
        </p:sp>
        <p:sp>
          <p:nvSpPr>
            <p:cNvPr id="43" name="Likbent triangel 28"/>
            <p:cNvSpPr/>
            <p:nvPr/>
          </p:nvSpPr>
          <p:spPr bwMode="auto">
            <a:xfrm rot="5400000">
              <a:off x="9938041" y="3183955"/>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Likbent triangel 29"/>
            <p:cNvSpPr/>
            <p:nvPr/>
          </p:nvSpPr>
          <p:spPr bwMode="auto">
            <a:xfrm rot="5400000">
              <a:off x="9938040" y="3866986"/>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Likbent triangel 30"/>
            <p:cNvSpPr/>
            <p:nvPr/>
          </p:nvSpPr>
          <p:spPr bwMode="auto">
            <a:xfrm rot="5400000">
              <a:off x="9938039" y="4550017"/>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6" name="Rektangel 9"/>
          <p:cNvSpPr/>
          <p:nvPr/>
        </p:nvSpPr>
        <p:spPr bwMode="auto">
          <a:xfrm>
            <a:off x="1750119" y="2914706"/>
            <a:ext cx="2360696" cy="2157673"/>
          </a:xfrm>
          <a:prstGeom prst="rect">
            <a:avLst/>
          </a:prstGeom>
          <a:solidFill>
            <a:schemeClr val="accent1">
              <a:lumMod val="75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GATEWAY/ DEVICE</a:t>
            </a:r>
          </a:p>
        </p:txBody>
      </p:sp>
      <p:sp>
        <p:nvSpPr>
          <p:cNvPr id="52" name="Rektangel 34"/>
          <p:cNvSpPr/>
          <p:nvPr/>
        </p:nvSpPr>
        <p:spPr bwMode="auto">
          <a:xfrm>
            <a:off x="86072" y="2914707"/>
            <a:ext cx="1664046" cy="2159392"/>
          </a:xfrm>
          <a:prstGeom prst="rect">
            <a:avLst/>
          </a:prstGeom>
          <a:solidFill>
            <a:schemeClr val="accent1">
              <a:lumMod val="60000"/>
              <a:lumOff val="4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ensor</a:t>
            </a:r>
          </a:p>
          <a:p>
            <a:pPr marL="0" marR="0" lvl="0" indent="0" algn="ctr" defTabSz="932406" eaLnBrk="1" fontAlgn="auto" latinLnBrk="0" hangingPunct="1">
              <a:lnSpc>
                <a:spcPct val="100000"/>
              </a:lnSpc>
              <a:spcBef>
                <a:spcPts val="0"/>
              </a:spcBef>
              <a:spcAft>
                <a:spcPts val="0"/>
              </a:spcAft>
              <a:buClrTx/>
              <a:buSzTx/>
              <a:buFontTx/>
              <a:buNone/>
              <a:tabLst/>
              <a:defRPr/>
            </a:pPr>
            <a:r>
              <a:rPr lang="en-US" sz="2400" kern="0" dirty="0">
                <a:gradFill>
                  <a:gsLst>
                    <a:gs pos="0">
                      <a:srgbClr val="FFFFFF"/>
                    </a:gs>
                    <a:gs pos="100000">
                      <a:srgbClr val="FFFFFF"/>
                    </a:gs>
                  </a:gsLst>
                  <a:lin ang="5400000" scaled="0"/>
                </a:gradFill>
                <a:latin typeface="Segoe UI Light"/>
                <a:ea typeface="Segoe UI" pitchFamily="34" charset="0"/>
                <a:cs typeface="Segoe UI" pitchFamily="34" charset="0"/>
              </a:rPr>
              <a:t>Data</a:t>
            </a:r>
            <a:endParaRPr kumimoji="0" lang="en-US" sz="8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14" name="Group 13"/>
          <p:cNvGrpSpPr/>
          <p:nvPr/>
        </p:nvGrpSpPr>
        <p:grpSpPr>
          <a:xfrm>
            <a:off x="8064895" y="2918331"/>
            <a:ext cx="1941721" cy="2155768"/>
            <a:chOff x="8064900" y="2914706"/>
            <a:chExt cx="1941721" cy="2155768"/>
          </a:xfrm>
        </p:grpSpPr>
        <p:sp>
          <p:nvSpPr>
            <p:cNvPr id="30" name="Rektangel 22"/>
            <p:cNvSpPr/>
            <p:nvPr/>
          </p:nvSpPr>
          <p:spPr bwMode="auto">
            <a:xfrm>
              <a:off x="8064903" y="2914706"/>
              <a:ext cx="1941718" cy="2155768"/>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lvl="0" algn="ctr" defTabSz="932406">
                <a:defRPr/>
              </a:pPr>
              <a:r>
                <a:rPr lang="en-US" sz="2400" kern="0" dirty="0">
                  <a:gradFill>
                    <a:gsLst>
                      <a:gs pos="0">
                        <a:srgbClr val="FFFFFF"/>
                      </a:gs>
                      <a:gs pos="100000">
                        <a:srgbClr val="FFFFFF"/>
                      </a:gs>
                    </a:gsLst>
                    <a:lin ang="5400000" scaled="0"/>
                  </a:gradFill>
                  <a:latin typeface="Segoe UI Light"/>
                  <a:ea typeface="Segoe UI" pitchFamily="34" charset="0"/>
                  <a:cs typeface="Segoe UI" pitchFamily="34" charset="0"/>
                </a:rPr>
                <a:t>RULES &amp; ROUTING</a:t>
              </a:r>
              <a:endParaRPr lang="en-US" sz="800"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4" name="Likbent triangel 18"/>
            <p:cNvSpPr/>
            <p:nvPr/>
          </p:nvSpPr>
          <p:spPr bwMode="auto">
            <a:xfrm rot="5400000">
              <a:off x="7996322" y="3326532"/>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67" name="Likbent triangel 20"/>
            <p:cNvSpPr/>
            <p:nvPr/>
          </p:nvSpPr>
          <p:spPr bwMode="auto">
            <a:xfrm rot="5400000">
              <a:off x="7996320" y="4396796"/>
              <a:ext cx="399011" cy="261852"/>
            </a:xfrm>
            <a:prstGeom prst="triangle">
              <a:avLst/>
            </a:prstGeom>
            <a:solidFill>
              <a:schemeClr val="accent1">
                <a:lumMod val="50000"/>
              </a:scheme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nvGrpSpPr>
          <p:cNvPr id="11" name="Group 10"/>
          <p:cNvGrpSpPr/>
          <p:nvPr/>
        </p:nvGrpSpPr>
        <p:grpSpPr>
          <a:xfrm>
            <a:off x="6052527" y="2918841"/>
            <a:ext cx="2012372" cy="1085505"/>
            <a:chOff x="6052531" y="2916610"/>
            <a:chExt cx="2012372" cy="1085505"/>
          </a:xfrm>
        </p:grpSpPr>
        <p:sp>
          <p:nvSpPr>
            <p:cNvPr id="60" name="Rektangel 17"/>
            <p:cNvSpPr/>
            <p:nvPr/>
          </p:nvSpPr>
          <p:spPr bwMode="auto">
            <a:xfrm>
              <a:off x="6052531" y="2916610"/>
              <a:ext cx="2012372" cy="1085505"/>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ECURITY</a:t>
              </a:r>
            </a:p>
          </p:txBody>
        </p:sp>
        <p:sp>
          <p:nvSpPr>
            <p:cNvPr id="68" name="Likbent triangel 14"/>
            <p:cNvSpPr/>
            <p:nvPr/>
          </p:nvSpPr>
          <p:spPr bwMode="auto">
            <a:xfrm rot="5400000">
              <a:off x="5983951" y="3387319"/>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 name="Group 12"/>
          <p:cNvGrpSpPr/>
          <p:nvPr/>
        </p:nvGrpSpPr>
        <p:grpSpPr>
          <a:xfrm>
            <a:off x="6052929" y="4002425"/>
            <a:ext cx="2012372" cy="1070264"/>
            <a:chOff x="6233504" y="5927004"/>
            <a:chExt cx="2012372" cy="1070264"/>
          </a:xfrm>
        </p:grpSpPr>
        <p:sp>
          <p:nvSpPr>
            <p:cNvPr id="59" name="Rektangel 19"/>
            <p:cNvSpPr/>
            <p:nvPr/>
          </p:nvSpPr>
          <p:spPr bwMode="auto">
            <a:xfrm>
              <a:off x="6233504" y="5927004"/>
              <a:ext cx="2012372" cy="1070264"/>
            </a:xfrm>
            <a:prstGeom prst="rect">
              <a:avLst/>
            </a:prstGeom>
            <a:solidFill>
              <a:schemeClr val="accent1">
                <a:lumMod val="5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DEVICE MGMT</a:t>
              </a:r>
            </a:p>
          </p:txBody>
        </p:sp>
        <p:sp>
          <p:nvSpPr>
            <p:cNvPr id="69" name="Likbent triangel 21"/>
            <p:cNvSpPr/>
            <p:nvPr/>
          </p:nvSpPr>
          <p:spPr bwMode="auto">
            <a:xfrm rot="5400000">
              <a:off x="6164926" y="6331210"/>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8" name="Group 17"/>
          <p:cNvGrpSpPr/>
          <p:nvPr/>
        </p:nvGrpSpPr>
        <p:grpSpPr>
          <a:xfrm>
            <a:off x="1757361" y="4513500"/>
            <a:ext cx="839802" cy="544765"/>
            <a:chOff x="1757361" y="4513500"/>
            <a:chExt cx="839802" cy="544765"/>
          </a:xfrm>
        </p:grpSpPr>
        <p:sp>
          <p:nvSpPr>
            <p:cNvPr id="57" name="Rektangel 36"/>
            <p:cNvSpPr/>
            <p:nvPr/>
          </p:nvSpPr>
          <p:spPr bwMode="auto">
            <a:xfrm>
              <a:off x="1757362" y="4573523"/>
              <a:ext cx="813609" cy="409922"/>
            </a:xfrm>
            <a:prstGeom prst="rect">
              <a:avLst/>
            </a:prstGeom>
            <a:solidFill>
              <a:schemeClr val="accent1">
                <a:lumMod val="60000"/>
                <a:lumOff val="4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algn="ctr" defTabSz="932406"/>
              <a:endParaRPr lang="en-US" sz="2400" kern="0" dirty="0">
                <a:gradFill>
                  <a:gsLst>
                    <a:gs pos="0">
                      <a:srgbClr val="FFFFFF"/>
                    </a:gs>
                    <a:gs pos="100000">
                      <a:srgbClr val="FFFFFF"/>
                    </a:gs>
                  </a:gsLst>
                  <a:lin ang="5400000" scaled="0"/>
                </a:gradFill>
                <a:latin typeface="Segoe UI Light"/>
                <a:cs typeface="Segoe UI" pitchFamily="34" charset="0"/>
              </a:endParaRPr>
            </a:p>
          </p:txBody>
        </p:sp>
        <p:sp>
          <p:nvSpPr>
            <p:cNvPr id="58" name="textruta 37"/>
            <p:cNvSpPr txBox="1"/>
            <p:nvPr/>
          </p:nvSpPr>
          <p:spPr>
            <a:xfrm>
              <a:off x="1757361" y="4513500"/>
              <a:ext cx="839802" cy="5447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rPr>
                <a:t>API</a:t>
              </a:r>
            </a:p>
          </p:txBody>
        </p:sp>
      </p:grpSp>
      <p:grpSp>
        <p:nvGrpSpPr>
          <p:cNvPr id="19" name="Group 18"/>
          <p:cNvGrpSpPr/>
          <p:nvPr/>
        </p:nvGrpSpPr>
        <p:grpSpPr>
          <a:xfrm>
            <a:off x="3297201" y="4499349"/>
            <a:ext cx="813611" cy="544765"/>
            <a:chOff x="3297201" y="4499349"/>
            <a:chExt cx="813611" cy="544765"/>
          </a:xfrm>
        </p:grpSpPr>
        <p:sp>
          <p:nvSpPr>
            <p:cNvPr id="49" name="Rektangel 36"/>
            <p:cNvSpPr/>
            <p:nvPr/>
          </p:nvSpPr>
          <p:spPr bwMode="auto">
            <a:xfrm>
              <a:off x="3297203" y="4559372"/>
              <a:ext cx="813609" cy="409922"/>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algn="ctr" defTabSz="932406"/>
              <a:endParaRPr lang="en-US" sz="2400" kern="0" dirty="0">
                <a:gradFill>
                  <a:gsLst>
                    <a:gs pos="0">
                      <a:srgbClr val="FFFFFF"/>
                    </a:gs>
                    <a:gs pos="100000">
                      <a:srgbClr val="FFFFFF"/>
                    </a:gs>
                  </a:gsLst>
                  <a:lin ang="5400000" scaled="0"/>
                </a:gradFill>
                <a:latin typeface="Segoe UI Light"/>
                <a:cs typeface="Segoe UI" pitchFamily="34" charset="0"/>
              </a:endParaRPr>
            </a:p>
          </p:txBody>
        </p:sp>
        <p:sp>
          <p:nvSpPr>
            <p:cNvPr id="50" name="textruta 37"/>
            <p:cNvSpPr txBox="1"/>
            <p:nvPr/>
          </p:nvSpPr>
          <p:spPr>
            <a:xfrm>
              <a:off x="3297201" y="4499349"/>
              <a:ext cx="813607" cy="5447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rPr>
                <a:t>API</a:t>
              </a:r>
            </a:p>
          </p:txBody>
        </p:sp>
      </p:grpSp>
      <p:sp>
        <p:nvSpPr>
          <p:cNvPr id="70" name="Likbent triangel 10"/>
          <p:cNvSpPr/>
          <p:nvPr/>
        </p:nvSpPr>
        <p:spPr bwMode="auto">
          <a:xfrm rot="5400000">
            <a:off x="1685524" y="3895988"/>
            <a:ext cx="399011" cy="261852"/>
          </a:xfrm>
          <a:prstGeom prst="triangle">
            <a:avLst/>
          </a:prstGeom>
          <a:solidFill>
            <a:schemeClr val="accent1">
              <a:lumMod val="60000"/>
              <a:lumOff val="4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algn="ctr" defTabSz="932406"/>
            <a:endParaRPr lang="en-US" sz="2400" kern="0" dirty="0">
              <a:gradFill>
                <a:gsLst>
                  <a:gs pos="0">
                    <a:srgbClr val="FFFFFF"/>
                  </a:gs>
                  <a:gs pos="100000">
                    <a:srgbClr val="FFFFFF"/>
                  </a:gs>
                </a:gsLst>
                <a:lin ang="5400000" scaled="0"/>
              </a:gradFill>
              <a:latin typeface="Segoe UI Light"/>
              <a:cs typeface="Segoe UI" pitchFamily="34" charset="0"/>
            </a:endParaRPr>
          </a:p>
        </p:txBody>
      </p:sp>
      <p:sp>
        <p:nvSpPr>
          <p:cNvPr id="9" name="TextBox 8"/>
          <p:cNvSpPr txBox="1"/>
          <p:nvPr/>
        </p:nvSpPr>
        <p:spPr>
          <a:xfrm>
            <a:off x="1786532" y="5250937"/>
            <a:ext cx="1524776" cy="1477328"/>
          </a:xfrm>
          <a:prstGeom prst="rect">
            <a:avLst/>
          </a:prstGeom>
          <a:noFill/>
        </p:spPr>
        <p:txBody>
          <a:bodyPr wrap="none" rtlCol="0">
            <a:spAutoFit/>
          </a:bodyPr>
          <a:lstStyle/>
          <a:p>
            <a:pPr marL="285750" indent="-285750">
              <a:buFont typeface="Arial" panose="020B0604020202020204" pitchFamily="34" charset="0"/>
              <a:buChar char="•"/>
            </a:pPr>
            <a:r>
              <a:rPr lang="en-US" dirty="0"/>
              <a:t>Node.js</a:t>
            </a:r>
          </a:p>
          <a:p>
            <a:pPr marL="285750" indent="-285750">
              <a:buFont typeface="Arial" panose="020B0604020202020204" pitchFamily="34" charset="0"/>
              <a:buChar char="•"/>
            </a:pPr>
            <a:r>
              <a:rPr lang="en-US" dirty="0"/>
              <a:t>ARM </a:t>
            </a:r>
            <a:r>
              <a:rPr lang="en-US" dirty="0" err="1"/>
              <a:t>mbed</a:t>
            </a:r>
            <a:endParaRPr lang="en-US" dirty="0"/>
          </a:p>
          <a:p>
            <a:pPr marL="285750" indent="-285750">
              <a:buFont typeface="Arial" panose="020B0604020202020204" pitchFamily="34" charset="0"/>
              <a:buChar char="•"/>
            </a:pPr>
            <a:r>
              <a:rPr lang="en-US" dirty="0">
                <a:solidFill>
                  <a:schemeClr val="tx1">
                    <a:lumMod val="75000"/>
                  </a:schemeClr>
                </a:solidFill>
              </a:rPr>
              <a:t>Java</a:t>
            </a:r>
          </a:p>
          <a:p>
            <a:pPr marL="285750" indent="-285750">
              <a:buFont typeface="Arial" panose="020B0604020202020204" pitchFamily="34" charset="0"/>
              <a:buChar char="•"/>
            </a:pPr>
            <a:r>
              <a:rPr lang="en-US" dirty="0" err="1">
                <a:solidFill>
                  <a:schemeClr val="tx1">
                    <a:lumMod val="75000"/>
                  </a:schemeClr>
                </a:solidFill>
              </a:rPr>
              <a:t>.Net</a:t>
            </a:r>
            <a:endParaRPr lang="en-US" dirty="0">
              <a:solidFill>
                <a:schemeClr val="tx1">
                  <a:lumMod val="75000"/>
                </a:schemeClr>
              </a:solidFill>
            </a:endParaRPr>
          </a:p>
          <a:p>
            <a:pPr marL="285750" indent="-285750">
              <a:buFont typeface="Arial" panose="020B0604020202020204" pitchFamily="34" charset="0"/>
              <a:buChar char="•"/>
            </a:pPr>
            <a:r>
              <a:rPr lang="en-US" dirty="0">
                <a:solidFill>
                  <a:schemeClr val="tx1">
                    <a:lumMod val="75000"/>
                  </a:schemeClr>
                </a:solidFill>
              </a:rPr>
              <a:t>Python</a:t>
            </a:r>
          </a:p>
        </p:txBody>
      </p:sp>
      <p:sp>
        <p:nvSpPr>
          <p:cNvPr id="71" name="TextBox 70"/>
          <p:cNvSpPr txBox="1"/>
          <p:nvPr/>
        </p:nvSpPr>
        <p:spPr>
          <a:xfrm>
            <a:off x="4110808" y="5261807"/>
            <a:ext cx="1610249" cy="1200329"/>
          </a:xfrm>
          <a:prstGeom prst="rect">
            <a:avLst/>
          </a:prstGeom>
          <a:noFill/>
        </p:spPr>
        <p:txBody>
          <a:bodyPr wrap="none" rtlCol="0">
            <a:spAutoFit/>
          </a:bodyPr>
          <a:lstStyle/>
          <a:p>
            <a:pPr marL="285750" indent="-285750">
              <a:buFont typeface="Arial" panose="020B0604020202020204" pitchFamily="34" charset="0"/>
              <a:buChar char="•"/>
            </a:pPr>
            <a:r>
              <a:rPr lang="en-US" dirty="0"/>
              <a:t>MQTT</a:t>
            </a:r>
          </a:p>
          <a:p>
            <a:pPr marL="285750" indent="-285750">
              <a:buFont typeface="Arial" panose="020B0604020202020204" pitchFamily="34" charset="0"/>
              <a:buChar char="•"/>
            </a:pPr>
            <a:r>
              <a:rPr lang="en-US" dirty="0"/>
              <a:t>AMQP</a:t>
            </a:r>
          </a:p>
          <a:p>
            <a:pPr marL="285750" indent="-285750">
              <a:buFont typeface="Arial" panose="020B0604020202020204" pitchFamily="34" charset="0"/>
              <a:buChar char="•"/>
            </a:pPr>
            <a:r>
              <a:rPr lang="en-US" dirty="0" err="1"/>
              <a:t>WebSockets</a:t>
            </a:r>
            <a:endParaRPr lang="en-US" dirty="0"/>
          </a:p>
          <a:p>
            <a:pPr marL="285750" indent="-285750">
              <a:buFont typeface="Arial" panose="020B0604020202020204" pitchFamily="34" charset="0"/>
              <a:buChar char="•"/>
            </a:pPr>
            <a:r>
              <a:rPr lang="en-US" dirty="0"/>
              <a:t>HTTP</a:t>
            </a:r>
          </a:p>
        </p:txBody>
      </p:sp>
      <p:sp>
        <p:nvSpPr>
          <p:cNvPr id="72" name="TextBox 71"/>
          <p:cNvSpPr txBox="1"/>
          <p:nvPr/>
        </p:nvSpPr>
        <p:spPr>
          <a:xfrm>
            <a:off x="6096000" y="1933589"/>
            <a:ext cx="1529458" cy="923330"/>
          </a:xfrm>
          <a:prstGeom prst="rect">
            <a:avLst/>
          </a:prstGeom>
          <a:noFill/>
        </p:spPr>
        <p:txBody>
          <a:bodyPr wrap="none" rtlCol="0">
            <a:spAutoFit/>
          </a:bodyPr>
          <a:lstStyle/>
          <a:p>
            <a:pPr marL="285750" indent="-285750">
              <a:buFont typeface="Arial" panose="020B0604020202020204" pitchFamily="34" charset="0"/>
              <a:buChar char="•"/>
            </a:pPr>
            <a:r>
              <a:rPr lang="en-US" dirty="0"/>
              <a:t>Certificates</a:t>
            </a:r>
          </a:p>
          <a:p>
            <a:pPr marL="285750" indent="-285750">
              <a:buFont typeface="Arial" panose="020B0604020202020204" pitchFamily="34" charset="0"/>
              <a:buChar char="•"/>
            </a:pPr>
            <a:r>
              <a:rPr lang="en-US" dirty="0"/>
              <a:t>SAS</a:t>
            </a:r>
          </a:p>
          <a:p>
            <a:pPr marL="285750" indent="-285750">
              <a:buFont typeface="Arial" panose="020B0604020202020204" pitchFamily="34" charset="0"/>
              <a:buChar char="•"/>
            </a:pPr>
            <a:r>
              <a:rPr lang="sv-SE" dirty="0"/>
              <a:t>R</a:t>
            </a:r>
            <a:r>
              <a:rPr lang="en-US" dirty="0"/>
              <a:t>evoke</a:t>
            </a:r>
          </a:p>
        </p:txBody>
      </p:sp>
      <p:sp>
        <p:nvSpPr>
          <p:cNvPr id="73" name="TextBox 72"/>
          <p:cNvSpPr txBox="1"/>
          <p:nvPr/>
        </p:nvSpPr>
        <p:spPr>
          <a:xfrm>
            <a:off x="6096000" y="5261806"/>
            <a:ext cx="1883849" cy="1200329"/>
          </a:xfrm>
          <a:prstGeom prst="rect">
            <a:avLst/>
          </a:prstGeom>
          <a:noFill/>
        </p:spPr>
        <p:txBody>
          <a:bodyPr wrap="none" rtlCol="0">
            <a:spAutoFit/>
          </a:bodyPr>
          <a:lstStyle/>
          <a:p>
            <a:pPr marL="285750" indent="-285750">
              <a:buFont typeface="Arial" panose="020B0604020202020204" pitchFamily="34" charset="0"/>
              <a:buChar char="•"/>
            </a:pPr>
            <a:r>
              <a:rPr lang="en-US" dirty="0"/>
              <a:t>Add/Remove</a:t>
            </a:r>
          </a:p>
          <a:p>
            <a:pPr marL="285750" indent="-285750">
              <a:buFont typeface="Arial" panose="020B0604020202020204" pitchFamily="34" charset="0"/>
              <a:buChar char="•"/>
            </a:pPr>
            <a:r>
              <a:rPr lang="sv-SE" dirty="0"/>
              <a:t>E</a:t>
            </a:r>
            <a:r>
              <a:rPr lang="en-US" dirty="0" err="1"/>
              <a:t>nable</a:t>
            </a:r>
            <a:r>
              <a:rPr lang="en-US" dirty="0"/>
              <a:t>/Disable</a:t>
            </a:r>
          </a:p>
          <a:p>
            <a:pPr marL="285750" indent="-285750">
              <a:buFont typeface="Arial" panose="020B0604020202020204" pitchFamily="34" charset="0"/>
              <a:buChar char="•"/>
            </a:pPr>
            <a:r>
              <a:rPr lang="sv-SE" dirty="0"/>
              <a:t>M</a:t>
            </a:r>
            <a:r>
              <a:rPr lang="en-US" dirty="0" err="1"/>
              <a:t>etadata</a:t>
            </a:r>
            <a:endParaRPr lang="en-US" dirty="0"/>
          </a:p>
          <a:p>
            <a:pPr marL="285750" indent="-285750">
              <a:buFont typeface="Arial" panose="020B0604020202020204" pitchFamily="34" charset="0"/>
              <a:buChar char="•"/>
            </a:pPr>
            <a:r>
              <a:rPr lang="sv-SE" dirty="0"/>
              <a:t>S</a:t>
            </a:r>
            <a:r>
              <a:rPr lang="en-US" dirty="0" err="1"/>
              <a:t>tate</a:t>
            </a:r>
            <a:endParaRPr lang="en-US" dirty="0"/>
          </a:p>
        </p:txBody>
      </p:sp>
      <p:grpSp>
        <p:nvGrpSpPr>
          <p:cNvPr id="17" name="Group 16"/>
          <p:cNvGrpSpPr/>
          <p:nvPr/>
        </p:nvGrpSpPr>
        <p:grpSpPr>
          <a:xfrm>
            <a:off x="-5949" y="2856919"/>
            <a:ext cx="12024942" cy="2315123"/>
            <a:chOff x="-5949" y="2886798"/>
            <a:chExt cx="12024942" cy="2315123"/>
          </a:xfrm>
        </p:grpSpPr>
        <p:sp>
          <p:nvSpPr>
            <p:cNvPr id="16" name="Rectangle 15"/>
            <p:cNvSpPr/>
            <p:nvPr/>
          </p:nvSpPr>
          <p:spPr>
            <a:xfrm>
              <a:off x="8064503" y="2921690"/>
              <a:ext cx="3954490" cy="2280231"/>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ectangle 76"/>
            <p:cNvSpPr/>
            <p:nvPr/>
          </p:nvSpPr>
          <p:spPr>
            <a:xfrm>
              <a:off x="-5949" y="2886798"/>
              <a:ext cx="1759037" cy="2280231"/>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50966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up)">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750"/>
                                        <p:tgtEl>
                                          <p:spTgt spid="1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par>
                          <p:cTn id="18" fill="hold">
                            <p:stCondLst>
                              <p:cond delay="500"/>
                            </p:stCondLst>
                            <p:childTnLst>
                              <p:par>
                                <p:cTn id="19" presetID="10" presetClass="entr" presetSubtype="0" fill="hold" nodeType="after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500"/>
                                        <p:tgtEl>
                                          <p:spTgt spid="19"/>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1" fill="hold" grpId="0" nodeType="clickEffect">
                                  <p:stCondLst>
                                    <p:cond delay="0"/>
                                  </p:stCondLst>
                                  <p:childTnLst>
                                    <p:set>
                                      <p:cBhvr>
                                        <p:cTn id="25" dur="1" fill="hold">
                                          <p:stCondLst>
                                            <p:cond delay="0"/>
                                          </p:stCondLst>
                                        </p:cTn>
                                        <p:tgtEl>
                                          <p:spTgt spid="71"/>
                                        </p:tgtEl>
                                        <p:attrNameLst>
                                          <p:attrName>style.visibility</p:attrName>
                                        </p:attrNameLst>
                                      </p:cBhvr>
                                      <p:to>
                                        <p:strVal val="visible"/>
                                      </p:to>
                                    </p:set>
                                    <p:animEffect transition="in" filter="wipe(up)">
                                      <p:cBhvr>
                                        <p:cTn id="26" dur="500"/>
                                        <p:tgtEl>
                                          <p:spTgt spid="7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500"/>
                                        <p:tgtEl>
                                          <p:spTgt spid="13"/>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1" fill="hold" grpId="0" nodeType="clickEffect">
                                  <p:stCondLst>
                                    <p:cond delay="0"/>
                                  </p:stCondLst>
                                  <p:childTnLst>
                                    <p:set>
                                      <p:cBhvr>
                                        <p:cTn id="35" dur="1" fill="hold">
                                          <p:stCondLst>
                                            <p:cond delay="0"/>
                                          </p:stCondLst>
                                        </p:cTn>
                                        <p:tgtEl>
                                          <p:spTgt spid="73"/>
                                        </p:tgtEl>
                                        <p:attrNameLst>
                                          <p:attrName>style.visibility</p:attrName>
                                        </p:attrNameLst>
                                      </p:cBhvr>
                                      <p:to>
                                        <p:strVal val="visible"/>
                                      </p:to>
                                    </p:set>
                                    <p:animEffect transition="in" filter="wipe(up)">
                                      <p:cBhvr>
                                        <p:cTn id="36" dur="500"/>
                                        <p:tgtEl>
                                          <p:spTgt spid="73"/>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fade">
                                      <p:cBhvr>
                                        <p:cTn id="41" dur="500"/>
                                        <p:tgtEl>
                                          <p:spTgt spid="11"/>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4" fill="hold" grpId="0" nodeType="clickEffect">
                                  <p:stCondLst>
                                    <p:cond delay="0"/>
                                  </p:stCondLst>
                                  <p:childTnLst>
                                    <p:set>
                                      <p:cBhvr>
                                        <p:cTn id="45" dur="1" fill="hold">
                                          <p:stCondLst>
                                            <p:cond delay="0"/>
                                          </p:stCondLst>
                                        </p:cTn>
                                        <p:tgtEl>
                                          <p:spTgt spid="72"/>
                                        </p:tgtEl>
                                        <p:attrNameLst>
                                          <p:attrName>style.visibility</p:attrName>
                                        </p:attrNameLst>
                                      </p:cBhvr>
                                      <p:to>
                                        <p:strVal val="visible"/>
                                      </p:to>
                                    </p:set>
                                    <p:animEffect transition="in" filter="wipe(down)">
                                      <p:cBhvr>
                                        <p:cTn id="46" dur="500"/>
                                        <p:tgtEl>
                                          <p:spTgt spid="72"/>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14"/>
                                        </p:tgtEl>
                                        <p:attrNameLst>
                                          <p:attrName>style.visibility</p:attrName>
                                        </p:attrNameLst>
                                      </p:cBhvr>
                                      <p:to>
                                        <p:strVal val="visible"/>
                                      </p:to>
                                    </p:set>
                                    <p:animEffect transition="in" filter="fade">
                                      <p:cBhvr>
                                        <p:cTn id="51" dur="500"/>
                                        <p:tgtEl>
                                          <p:spTgt spid="14"/>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15"/>
                                        </p:tgtEl>
                                        <p:attrNameLst>
                                          <p:attrName>style.visibility</p:attrName>
                                        </p:attrNameLst>
                                      </p:cBhvr>
                                      <p:to>
                                        <p:strVal val="visible"/>
                                      </p:to>
                                    </p:set>
                                    <p:animEffect transition="in" filter="fade">
                                      <p:cBhvr>
                                        <p:cTn id="56" dur="500"/>
                                        <p:tgtEl>
                                          <p:spTgt spid="15"/>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nodeType="clickEffect">
                                  <p:stCondLst>
                                    <p:cond delay="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71" grpId="0"/>
      <p:bldP spid="72" grpId="0"/>
      <p:bldP spid="73"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General Device Architecture</a:t>
            </a:r>
            <a:endParaRPr lang="sv-SE" dirty="0"/>
          </a:p>
        </p:txBody>
      </p:sp>
      <p:sp>
        <p:nvSpPr>
          <p:cNvPr id="44" name="Field gateway">
            <a:extLst>
              <a:ext uri="{FF2B5EF4-FFF2-40B4-BE49-F238E27FC236}">
                <a16:creationId xmlns:a16="http://schemas.microsoft.com/office/drawing/2014/main" id="{EB90192F-E37F-4499-B764-8A14B80208BC}"/>
              </a:ext>
            </a:extLst>
          </p:cNvPr>
          <p:cNvSpPr/>
          <p:nvPr/>
        </p:nvSpPr>
        <p:spPr>
          <a:xfrm>
            <a:off x="1540525" y="1414379"/>
            <a:ext cx="4533900" cy="4933950"/>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45" name="Picture 44">
            <a:extLst>
              <a:ext uri="{FF2B5EF4-FFF2-40B4-BE49-F238E27FC236}">
                <a16:creationId xmlns:a16="http://schemas.microsoft.com/office/drawing/2014/main" id="{392A5AE6-8CEF-4832-A6C2-5CB3813E6424}"/>
              </a:ext>
            </a:extLst>
          </p:cNvPr>
          <p:cNvPicPr>
            <a:picLocks noChangeAspect="1"/>
          </p:cNvPicPr>
          <p:nvPr/>
        </p:nvPicPr>
        <p:blipFill>
          <a:blip r:embed="rId2"/>
          <a:stretch>
            <a:fillRect/>
          </a:stretch>
        </p:blipFill>
        <p:spPr>
          <a:xfrm>
            <a:off x="5209272" y="1596146"/>
            <a:ext cx="707143" cy="507536"/>
          </a:xfrm>
          <a:prstGeom prst="rect">
            <a:avLst/>
          </a:prstGeom>
        </p:spPr>
      </p:pic>
      <p:sp>
        <p:nvSpPr>
          <p:cNvPr id="46" name="Field gateway">
            <a:extLst>
              <a:ext uri="{FF2B5EF4-FFF2-40B4-BE49-F238E27FC236}">
                <a16:creationId xmlns:a16="http://schemas.microsoft.com/office/drawing/2014/main" id="{4CCE312E-FAE6-460C-867A-8F73C6F93D1A}"/>
              </a:ext>
            </a:extLst>
          </p:cNvPr>
          <p:cNvSpPr/>
          <p:nvPr/>
        </p:nvSpPr>
        <p:spPr>
          <a:xfrm>
            <a:off x="1692925" y="4997471"/>
            <a:ext cx="4223493" cy="892872"/>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7" name="Field gateway">
            <a:extLst>
              <a:ext uri="{FF2B5EF4-FFF2-40B4-BE49-F238E27FC236}">
                <a16:creationId xmlns:a16="http://schemas.microsoft.com/office/drawing/2014/main" id="{1707BF4A-5AD2-46AA-9A33-5B5DAB0D0957}"/>
              </a:ext>
            </a:extLst>
          </p:cNvPr>
          <p:cNvSpPr/>
          <p:nvPr/>
        </p:nvSpPr>
        <p:spPr>
          <a:xfrm>
            <a:off x="1692924" y="3997347"/>
            <a:ext cx="4223493" cy="894713"/>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8" name="Field gateway">
            <a:extLst>
              <a:ext uri="{FF2B5EF4-FFF2-40B4-BE49-F238E27FC236}">
                <a16:creationId xmlns:a16="http://schemas.microsoft.com/office/drawing/2014/main" id="{6907133F-0BE3-4B2D-BC56-FB0E33FE992F}"/>
              </a:ext>
            </a:extLst>
          </p:cNvPr>
          <p:cNvSpPr/>
          <p:nvPr/>
        </p:nvSpPr>
        <p:spPr>
          <a:xfrm>
            <a:off x="1692923" y="2997223"/>
            <a:ext cx="4223493" cy="894713"/>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9" name="Field gateway">
            <a:extLst>
              <a:ext uri="{FF2B5EF4-FFF2-40B4-BE49-F238E27FC236}">
                <a16:creationId xmlns:a16="http://schemas.microsoft.com/office/drawing/2014/main" id="{6750EFBE-EDB2-44FD-926D-C4B1BC177089}"/>
              </a:ext>
            </a:extLst>
          </p:cNvPr>
          <p:cNvSpPr/>
          <p:nvPr/>
        </p:nvSpPr>
        <p:spPr>
          <a:xfrm>
            <a:off x="1692922" y="2301407"/>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0" name="Field gateway">
            <a:extLst>
              <a:ext uri="{FF2B5EF4-FFF2-40B4-BE49-F238E27FC236}">
                <a16:creationId xmlns:a16="http://schemas.microsoft.com/office/drawing/2014/main" id="{CED4D467-9598-4B17-8D74-6C7A6E71B798}"/>
              </a:ext>
            </a:extLst>
          </p:cNvPr>
          <p:cNvSpPr/>
          <p:nvPr/>
        </p:nvSpPr>
        <p:spPr>
          <a:xfrm>
            <a:off x="3126434" y="2293428"/>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1" name="Field gateway">
            <a:extLst>
              <a:ext uri="{FF2B5EF4-FFF2-40B4-BE49-F238E27FC236}">
                <a16:creationId xmlns:a16="http://schemas.microsoft.com/office/drawing/2014/main" id="{91A1BC6C-67A2-45BD-8F94-BA00D826D1C7}"/>
              </a:ext>
            </a:extLst>
          </p:cNvPr>
          <p:cNvSpPr/>
          <p:nvPr/>
        </p:nvSpPr>
        <p:spPr>
          <a:xfrm>
            <a:off x="4550421" y="2285449"/>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52" name="Group 51">
            <a:extLst>
              <a:ext uri="{FF2B5EF4-FFF2-40B4-BE49-F238E27FC236}">
                <a16:creationId xmlns:a16="http://schemas.microsoft.com/office/drawing/2014/main" id="{EA72C5B9-3397-4F89-B7D4-327A6385D0D9}"/>
              </a:ext>
            </a:extLst>
          </p:cNvPr>
          <p:cNvGrpSpPr/>
          <p:nvPr/>
        </p:nvGrpSpPr>
        <p:grpSpPr>
          <a:xfrm>
            <a:off x="1691279" y="5001631"/>
            <a:ext cx="4223494" cy="892872"/>
            <a:chOff x="3952874" y="5097567"/>
            <a:chExt cx="4223494" cy="892872"/>
          </a:xfrm>
        </p:grpSpPr>
        <p:sp>
          <p:nvSpPr>
            <p:cNvPr id="53" name="Field gateway">
              <a:extLst>
                <a:ext uri="{FF2B5EF4-FFF2-40B4-BE49-F238E27FC236}">
                  <a16:creationId xmlns:a16="http://schemas.microsoft.com/office/drawing/2014/main" id="{8427E38C-0598-4C11-A85F-3E427A94BD26}"/>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54" name="TextBox 53">
              <a:extLst>
                <a:ext uri="{FF2B5EF4-FFF2-40B4-BE49-F238E27FC236}">
                  <a16:creationId xmlns:a16="http://schemas.microsoft.com/office/drawing/2014/main" id="{B936DE14-3482-4AC7-A33E-B40FAAC99F7E}"/>
                </a:ext>
              </a:extLst>
            </p:cNvPr>
            <p:cNvSpPr txBox="1"/>
            <p:nvPr/>
          </p:nvSpPr>
          <p:spPr>
            <a:xfrm>
              <a:off x="3952874" y="5199865"/>
              <a:ext cx="4223493" cy="5447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inux | Windows | RTOS</a:t>
              </a:r>
            </a:p>
          </p:txBody>
        </p:sp>
      </p:grpSp>
      <p:grpSp>
        <p:nvGrpSpPr>
          <p:cNvPr id="55" name="Group 54">
            <a:extLst>
              <a:ext uri="{FF2B5EF4-FFF2-40B4-BE49-F238E27FC236}">
                <a16:creationId xmlns:a16="http://schemas.microsoft.com/office/drawing/2014/main" id="{FBF61404-7B6B-4655-8B41-EE2DAED4AEEC}"/>
              </a:ext>
            </a:extLst>
          </p:cNvPr>
          <p:cNvGrpSpPr/>
          <p:nvPr/>
        </p:nvGrpSpPr>
        <p:grpSpPr>
          <a:xfrm>
            <a:off x="1691278" y="4001507"/>
            <a:ext cx="4223494" cy="894713"/>
            <a:chOff x="3952873" y="4097443"/>
            <a:chExt cx="4223494" cy="894713"/>
          </a:xfrm>
        </p:grpSpPr>
        <p:sp>
          <p:nvSpPr>
            <p:cNvPr id="56" name="Field gateway">
              <a:extLst>
                <a:ext uri="{FF2B5EF4-FFF2-40B4-BE49-F238E27FC236}">
                  <a16:creationId xmlns:a16="http://schemas.microsoft.com/office/drawing/2014/main" id="{164D67F3-DEA0-4265-8231-625FA27188F0}"/>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57" name="TextBox 56">
              <a:extLst>
                <a:ext uri="{FF2B5EF4-FFF2-40B4-BE49-F238E27FC236}">
                  <a16:creationId xmlns:a16="http://schemas.microsoft.com/office/drawing/2014/main" id="{4736028D-75AA-4A2E-BDC8-5F5F59B0AF38}"/>
                </a:ext>
              </a:extLst>
            </p:cNvPr>
            <p:cNvSpPr txBox="1"/>
            <p:nvPr/>
          </p:nvSpPr>
          <p:spPr>
            <a:xfrm>
              <a:off x="3952873" y="4201582"/>
              <a:ext cx="4223493" cy="5447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mBed</a:t>
              </a: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 | Node.js | </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Python</a:t>
              </a: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 | Java | .Net </a:t>
              </a:r>
            </a:p>
          </p:txBody>
        </p:sp>
      </p:grpSp>
      <p:grpSp>
        <p:nvGrpSpPr>
          <p:cNvPr id="58" name="Group 57">
            <a:extLst>
              <a:ext uri="{FF2B5EF4-FFF2-40B4-BE49-F238E27FC236}">
                <a16:creationId xmlns:a16="http://schemas.microsoft.com/office/drawing/2014/main" id="{E26284AE-2A6A-4C2E-9645-1E50ADA82A7E}"/>
              </a:ext>
            </a:extLst>
          </p:cNvPr>
          <p:cNvGrpSpPr/>
          <p:nvPr/>
        </p:nvGrpSpPr>
        <p:grpSpPr>
          <a:xfrm>
            <a:off x="1691277" y="3001383"/>
            <a:ext cx="4223494" cy="894713"/>
            <a:chOff x="3952872" y="3097319"/>
            <a:chExt cx="4223494" cy="894713"/>
          </a:xfrm>
        </p:grpSpPr>
        <p:sp>
          <p:nvSpPr>
            <p:cNvPr id="59" name="Field gateway">
              <a:extLst>
                <a:ext uri="{FF2B5EF4-FFF2-40B4-BE49-F238E27FC236}">
                  <a16:creationId xmlns:a16="http://schemas.microsoft.com/office/drawing/2014/main" id="{482EDFF9-DD0D-4491-B175-2EC6A60EC332}"/>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60" name="TextBox 59">
              <a:extLst>
                <a:ext uri="{FF2B5EF4-FFF2-40B4-BE49-F238E27FC236}">
                  <a16:creationId xmlns:a16="http://schemas.microsoft.com/office/drawing/2014/main" id="{165A4525-CC6E-4D85-8E3C-FE1B0E69BDF2}"/>
                </a:ext>
              </a:extLst>
            </p:cNvPr>
            <p:cNvSpPr txBox="1"/>
            <p:nvPr/>
          </p:nvSpPr>
          <p:spPr>
            <a:xfrm>
              <a:off x="3952872" y="3251153"/>
              <a:ext cx="4223493" cy="5447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t;CODE&gt;</a:t>
              </a:r>
            </a:p>
          </p:txBody>
        </p:sp>
      </p:grpSp>
      <p:sp>
        <p:nvSpPr>
          <p:cNvPr id="61" name="Field gateway">
            <a:extLst>
              <a:ext uri="{FF2B5EF4-FFF2-40B4-BE49-F238E27FC236}">
                <a16:creationId xmlns:a16="http://schemas.microsoft.com/office/drawing/2014/main" id="{CF208683-6239-46AC-9F4D-B101F1D713D2}"/>
              </a:ext>
            </a:extLst>
          </p:cNvPr>
          <p:cNvSpPr/>
          <p:nvPr/>
        </p:nvSpPr>
        <p:spPr>
          <a:xfrm>
            <a:off x="1691277" y="2305567"/>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nsor API</a:t>
            </a:r>
          </a:p>
        </p:txBody>
      </p:sp>
      <p:sp>
        <p:nvSpPr>
          <p:cNvPr id="62" name="Field gateway">
            <a:extLst>
              <a:ext uri="{FF2B5EF4-FFF2-40B4-BE49-F238E27FC236}">
                <a16:creationId xmlns:a16="http://schemas.microsoft.com/office/drawing/2014/main" id="{485D8DD9-F5D3-4C91-81AC-ACDBCF7143B2}"/>
              </a:ext>
            </a:extLst>
          </p:cNvPr>
          <p:cNvSpPr/>
          <p:nvPr/>
        </p:nvSpPr>
        <p:spPr>
          <a:xfrm>
            <a:off x="3124789" y="2297588"/>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COM SDK</a:t>
            </a:r>
          </a:p>
        </p:txBody>
      </p:sp>
      <p:sp>
        <p:nvSpPr>
          <p:cNvPr id="63" name="Field gateway">
            <a:extLst>
              <a:ext uri="{FF2B5EF4-FFF2-40B4-BE49-F238E27FC236}">
                <a16:creationId xmlns:a16="http://schemas.microsoft.com/office/drawing/2014/main" id="{27AA2FE7-DED7-4192-9BA1-81C9D87713A9}"/>
              </a:ext>
            </a:extLst>
          </p:cNvPr>
          <p:cNvSpPr/>
          <p:nvPr/>
        </p:nvSpPr>
        <p:spPr>
          <a:xfrm>
            <a:off x="4548776" y="2289609"/>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curity</a:t>
            </a:r>
          </a:p>
        </p:txBody>
      </p:sp>
      <p:sp>
        <p:nvSpPr>
          <p:cNvPr id="64" name="Title 2">
            <a:extLst>
              <a:ext uri="{FF2B5EF4-FFF2-40B4-BE49-F238E27FC236}">
                <a16:creationId xmlns:a16="http://schemas.microsoft.com/office/drawing/2014/main" id="{2EA81ABE-0C1E-489B-916F-30CD2AB79D3C}"/>
              </a:ext>
            </a:extLst>
          </p:cNvPr>
          <p:cNvSpPr txBox="1">
            <a:spLocks/>
          </p:cNvSpPr>
          <p:nvPr/>
        </p:nvSpPr>
        <p:spPr>
          <a:xfrm>
            <a:off x="6527800" y="2527445"/>
            <a:ext cx="5703306" cy="1831975"/>
          </a:xfrm>
          <a:prstGeom prst="rect">
            <a:avLst/>
          </a:prstGeom>
        </p:spPr>
        <p:txBody>
          <a:bodyPr/>
          <a:lstStyle>
            <a:lvl1pPr algn="l" defTabSz="914400" rtl="0" eaLnBrk="1" latinLnBrk="0" hangingPunct="1">
              <a:lnSpc>
                <a:spcPct val="90000"/>
              </a:lnSpc>
              <a:spcBef>
                <a:spcPct val="0"/>
              </a:spcBef>
              <a:buNone/>
              <a:defRPr sz="4400" kern="120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mj-cs"/>
              </a:rPr>
              <a:t>Plan for change</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mj-cs"/>
              </a:rPr>
              <a:t>On-boarding strategy</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mj-cs"/>
            </a:endParaRPr>
          </a:p>
        </p:txBody>
      </p:sp>
    </p:spTree>
    <p:extLst>
      <p:ext uri="{BB962C8B-B14F-4D97-AF65-F5344CB8AC3E}">
        <p14:creationId xmlns:p14="http://schemas.microsoft.com/office/powerpoint/2010/main" val="14422852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5"/>
                                        </p:tgtEl>
                                        <p:attrNameLst>
                                          <p:attrName>style.visibility</p:attrName>
                                        </p:attrNameLst>
                                      </p:cBhvr>
                                      <p:to>
                                        <p:strVal val="visible"/>
                                      </p:to>
                                    </p:set>
                                    <p:animEffect transition="in" filter="fade">
                                      <p:cBhvr>
                                        <p:cTn id="12" dur="500"/>
                                        <p:tgtEl>
                                          <p:spTgt spid="5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8"/>
                                        </p:tgtEl>
                                        <p:attrNameLst>
                                          <p:attrName>style.visibility</p:attrName>
                                        </p:attrNameLst>
                                      </p:cBhvr>
                                      <p:to>
                                        <p:strVal val="visible"/>
                                      </p:to>
                                    </p:set>
                                    <p:animEffect transition="in" filter="fade">
                                      <p:cBhvr>
                                        <p:cTn id="17" dur="500"/>
                                        <p:tgtEl>
                                          <p:spTgt spid="5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61"/>
                                        </p:tgtEl>
                                        <p:attrNameLst>
                                          <p:attrName>style.visibility</p:attrName>
                                        </p:attrNameLst>
                                      </p:cBhvr>
                                      <p:to>
                                        <p:strVal val="visible"/>
                                      </p:to>
                                    </p:set>
                                    <p:animEffect transition="in" filter="fade">
                                      <p:cBhvr>
                                        <p:cTn id="22" dur="500"/>
                                        <p:tgtEl>
                                          <p:spTgt spid="6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62"/>
                                        </p:tgtEl>
                                        <p:attrNameLst>
                                          <p:attrName>style.visibility</p:attrName>
                                        </p:attrNameLst>
                                      </p:cBhvr>
                                      <p:to>
                                        <p:strVal val="visible"/>
                                      </p:to>
                                    </p:set>
                                    <p:animEffect transition="in" filter="fade">
                                      <p:cBhvr>
                                        <p:cTn id="27" dur="500"/>
                                        <p:tgtEl>
                                          <p:spTgt spid="62"/>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63"/>
                                        </p:tgtEl>
                                        <p:attrNameLst>
                                          <p:attrName>style.visibility</p:attrName>
                                        </p:attrNameLst>
                                      </p:cBhvr>
                                      <p:to>
                                        <p:strVal val="visible"/>
                                      </p:to>
                                    </p:set>
                                    <p:animEffect transition="in" filter="fade">
                                      <p:cBhvr>
                                        <p:cTn id="32" dur="500"/>
                                        <p:tgtEl>
                                          <p:spTgt spid="63"/>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64">
                                            <p:txEl>
                                              <p:pRg st="0" end="0"/>
                                            </p:txEl>
                                          </p:spTgt>
                                        </p:tgtEl>
                                        <p:attrNameLst>
                                          <p:attrName>style.visibility</p:attrName>
                                        </p:attrNameLst>
                                      </p:cBhvr>
                                      <p:to>
                                        <p:strVal val="visible"/>
                                      </p:to>
                                    </p:set>
                                    <p:animEffect transition="in" filter="fade">
                                      <p:cBhvr>
                                        <p:cTn id="37" dur="500"/>
                                        <p:tgtEl>
                                          <p:spTgt spid="64">
                                            <p:txEl>
                                              <p:pRg st="0" end="0"/>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64">
                                            <p:txEl>
                                              <p:pRg st="2" end="2"/>
                                            </p:txEl>
                                          </p:spTgt>
                                        </p:tgtEl>
                                        <p:attrNameLst>
                                          <p:attrName>style.visibility</p:attrName>
                                        </p:attrNameLst>
                                      </p:cBhvr>
                                      <p:to>
                                        <p:strVal val="visible"/>
                                      </p:to>
                                    </p:set>
                                    <p:animEffect transition="in" filter="fade">
                                      <p:cBhvr>
                                        <p:cTn id="42" dur="500"/>
                                        <p:tgtEl>
                                          <p:spTgt spid="6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2" grpId="0" animBg="1"/>
      <p:bldP spid="63"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microServiceBus Architecture (node.js)</a:t>
            </a:r>
            <a:endParaRPr lang="sv-SE" dirty="0"/>
          </a:p>
        </p:txBody>
      </p:sp>
      <p:sp>
        <p:nvSpPr>
          <p:cNvPr id="44" name="Field gateway">
            <a:extLst>
              <a:ext uri="{FF2B5EF4-FFF2-40B4-BE49-F238E27FC236}">
                <a16:creationId xmlns:a16="http://schemas.microsoft.com/office/drawing/2014/main" id="{EB90192F-E37F-4499-B764-8A14B80208BC}"/>
              </a:ext>
            </a:extLst>
          </p:cNvPr>
          <p:cNvSpPr/>
          <p:nvPr/>
        </p:nvSpPr>
        <p:spPr>
          <a:xfrm>
            <a:off x="5607700" y="1218966"/>
            <a:ext cx="4533900" cy="5273909"/>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45" name="Picture 44">
            <a:extLst>
              <a:ext uri="{FF2B5EF4-FFF2-40B4-BE49-F238E27FC236}">
                <a16:creationId xmlns:a16="http://schemas.microsoft.com/office/drawing/2014/main" id="{392A5AE6-8CEF-4832-A6C2-5CB3813E6424}"/>
              </a:ext>
            </a:extLst>
          </p:cNvPr>
          <p:cNvPicPr>
            <a:picLocks noChangeAspect="1"/>
          </p:cNvPicPr>
          <p:nvPr/>
        </p:nvPicPr>
        <p:blipFill>
          <a:blip r:embed="rId2"/>
          <a:stretch>
            <a:fillRect/>
          </a:stretch>
        </p:blipFill>
        <p:spPr>
          <a:xfrm>
            <a:off x="9292228" y="1374057"/>
            <a:ext cx="707143" cy="507536"/>
          </a:xfrm>
          <a:prstGeom prst="rect">
            <a:avLst/>
          </a:prstGeom>
        </p:spPr>
      </p:pic>
      <p:sp>
        <p:nvSpPr>
          <p:cNvPr id="46" name="Field gateway">
            <a:extLst>
              <a:ext uri="{FF2B5EF4-FFF2-40B4-BE49-F238E27FC236}">
                <a16:creationId xmlns:a16="http://schemas.microsoft.com/office/drawing/2014/main" id="{4CCE312E-FAE6-460C-867A-8F73C6F93D1A}"/>
              </a:ext>
            </a:extLst>
          </p:cNvPr>
          <p:cNvSpPr/>
          <p:nvPr/>
        </p:nvSpPr>
        <p:spPr>
          <a:xfrm>
            <a:off x="5760100" y="5317431"/>
            <a:ext cx="4223493" cy="717457"/>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7" name="Field gateway">
            <a:extLst>
              <a:ext uri="{FF2B5EF4-FFF2-40B4-BE49-F238E27FC236}">
                <a16:creationId xmlns:a16="http://schemas.microsoft.com/office/drawing/2014/main" id="{1707BF4A-5AD2-46AA-9A33-5B5DAB0D0957}"/>
              </a:ext>
            </a:extLst>
          </p:cNvPr>
          <p:cNvSpPr/>
          <p:nvPr/>
        </p:nvSpPr>
        <p:spPr>
          <a:xfrm>
            <a:off x="5760099" y="4531030"/>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8" name="Field gateway">
            <a:extLst>
              <a:ext uri="{FF2B5EF4-FFF2-40B4-BE49-F238E27FC236}">
                <a16:creationId xmlns:a16="http://schemas.microsoft.com/office/drawing/2014/main" id="{6907133F-0BE3-4B2D-BC56-FB0E33FE992F}"/>
              </a:ext>
            </a:extLst>
          </p:cNvPr>
          <p:cNvSpPr/>
          <p:nvPr/>
        </p:nvSpPr>
        <p:spPr>
          <a:xfrm>
            <a:off x="5760098" y="3744266"/>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9" name="Field gateway">
            <a:extLst>
              <a:ext uri="{FF2B5EF4-FFF2-40B4-BE49-F238E27FC236}">
                <a16:creationId xmlns:a16="http://schemas.microsoft.com/office/drawing/2014/main" id="{6750EFBE-EDB2-44FD-926D-C4B1BC177089}"/>
              </a:ext>
            </a:extLst>
          </p:cNvPr>
          <p:cNvSpPr/>
          <p:nvPr/>
        </p:nvSpPr>
        <p:spPr>
          <a:xfrm>
            <a:off x="5760097" y="2278313"/>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0" name="Field gateway">
            <a:extLst>
              <a:ext uri="{FF2B5EF4-FFF2-40B4-BE49-F238E27FC236}">
                <a16:creationId xmlns:a16="http://schemas.microsoft.com/office/drawing/2014/main" id="{CED4D467-9598-4B17-8D74-6C7A6E71B798}"/>
              </a:ext>
            </a:extLst>
          </p:cNvPr>
          <p:cNvSpPr/>
          <p:nvPr/>
        </p:nvSpPr>
        <p:spPr>
          <a:xfrm>
            <a:off x="7193609" y="2270334"/>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1" name="Field gateway">
            <a:extLst>
              <a:ext uri="{FF2B5EF4-FFF2-40B4-BE49-F238E27FC236}">
                <a16:creationId xmlns:a16="http://schemas.microsoft.com/office/drawing/2014/main" id="{91A1BC6C-67A2-45BD-8F94-BA00D826D1C7}"/>
              </a:ext>
            </a:extLst>
          </p:cNvPr>
          <p:cNvSpPr/>
          <p:nvPr/>
        </p:nvSpPr>
        <p:spPr>
          <a:xfrm>
            <a:off x="8617596" y="2262355"/>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52" name="Group 51">
            <a:extLst>
              <a:ext uri="{FF2B5EF4-FFF2-40B4-BE49-F238E27FC236}">
                <a16:creationId xmlns:a16="http://schemas.microsoft.com/office/drawing/2014/main" id="{EA72C5B9-3397-4F89-B7D4-327A6385D0D9}"/>
              </a:ext>
            </a:extLst>
          </p:cNvPr>
          <p:cNvGrpSpPr/>
          <p:nvPr/>
        </p:nvGrpSpPr>
        <p:grpSpPr>
          <a:xfrm>
            <a:off x="5758454" y="5321591"/>
            <a:ext cx="4223494" cy="717457"/>
            <a:chOff x="3952874" y="5097567"/>
            <a:chExt cx="4223494" cy="892872"/>
          </a:xfrm>
        </p:grpSpPr>
        <p:sp>
          <p:nvSpPr>
            <p:cNvPr id="53" name="Field gateway">
              <a:extLst>
                <a:ext uri="{FF2B5EF4-FFF2-40B4-BE49-F238E27FC236}">
                  <a16:creationId xmlns:a16="http://schemas.microsoft.com/office/drawing/2014/main" id="{8427E38C-0598-4C11-A85F-3E427A94BD26}"/>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54" name="TextBox 53">
              <a:extLst>
                <a:ext uri="{FF2B5EF4-FFF2-40B4-BE49-F238E27FC236}">
                  <a16:creationId xmlns:a16="http://schemas.microsoft.com/office/drawing/2014/main" id="{B936DE14-3482-4AC7-A33E-B40FAAC99F7E}"/>
                </a:ext>
              </a:extLst>
            </p:cNvPr>
            <p:cNvSpPr txBox="1"/>
            <p:nvPr/>
          </p:nvSpPr>
          <p:spPr>
            <a:xfrm>
              <a:off x="3952874" y="5199865"/>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inux</a:t>
              </a:r>
            </a:p>
          </p:txBody>
        </p:sp>
      </p:grpSp>
      <p:grpSp>
        <p:nvGrpSpPr>
          <p:cNvPr id="55" name="Group 54">
            <a:extLst>
              <a:ext uri="{FF2B5EF4-FFF2-40B4-BE49-F238E27FC236}">
                <a16:creationId xmlns:a16="http://schemas.microsoft.com/office/drawing/2014/main" id="{FBF61404-7B6B-4655-8B41-EE2DAED4AEEC}"/>
              </a:ext>
            </a:extLst>
          </p:cNvPr>
          <p:cNvGrpSpPr/>
          <p:nvPr/>
        </p:nvGrpSpPr>
        <p:grpSpPr>
          <a:xfrm>
            <a:off x="5758453" y="4535190"/>
            <a:ext cx="4223494" cy="718936"/>
            <a:chOff x="3952873" y="4097443"/>
            <a:chExt cx="4223494" cy="894713"/>
          </a:xfrm>
        </p:grpSpPr>
        <p:sp>
          <p:nvSpPr>
            <p:cNvPr id="56" name="Field gateway">
              <a:extLst>
                <a:ext uri="{FF2B5EF4-FFF2-40B4-BE49-F238E27FC236}">
                  <a16:creationId xmlns:a16="http://schemas.microsoft.com/office/drawing/2014/main" id="{164D67F3-DEA0-4265-8231-625FA27188F0}"/>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57" name="TextBox 56">
              <a:extLst>
                <a:ext uri="{FF2B5EF4-FFF2-40B4-BE49-F238E27FC236}">
                  <a16:creationId xmlns:a16="http://schemas.microsoft.com/office/drawing/2014/main" id="{4736028D-75AA-4A2E-BDC8-5F5F59B0AF38}"/>
                </a:ext>
              </a:extLst>
            </p:cNvPr>
            <p:cNvSpPr txBox="1"/>
            <p:nvPr/>
          </p:nvSpPr>
          <p:spPr>
            <a:xfrm>
              <a:off x="3952873" y="420158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Node.js</a:t>
              </a:r>
            </a:p>
          </p:txBody>
        </p:sp>
      </p:grpSp>
      <p:grpSp>
        <p:nvGrpSpPr>
          <p:cNvPr id="58" name="Group 57">
            <a:extLst>
              <a:ext uri="{FF2B5EF4-FFF2-40B4-BE49-F238E27FC236}">
                <a16:creationId xmlns:a16="http://schemas.microsoft.com/office/drawing/2014/main" id="{E26284AE-2A6A-4C2E-9645-1E50ADA82A7E}"/>
              </a:ext>
            </a:extLst>
          </p:cNvPr>
          <p:cNvGrpSpPr/>
          <p:nvPr/>
        </p:nvGrpSpPr>
        <p:grpSpPr>
          <a:xfrm>
            <a:off x="5758452" y="3748426"/>
            <a:ext cx="4223494" cy="718936"/>
            <a:chOff x="3952872" y="3097319"/>
            <a:chExt cx="4223494" cy="894713"/>
          </a:xfrm>
        </p:grpSpPr>
        <p:sp>
          <p:nvSpPr>
            <p:cNvPr id="59" name="Field gateway">
              <a:extLst>
                <a:ext uri="{FF2B5EF4-FFF2-40B4-BE49-F238E27FC236}">
                  <a16:creationId xmlns:a16="http://schemas.microsoft.com/office/drawing/2014/main" id="{482EDFF9-DD0D-4491-B175-2EC6A60EC332}"/>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60" name="TextBox 59">
              <a:extLst>
                <a:ext uri="{FF2B5EF4-FFF2-40B4-BE49-F238E27FC236}">
                  <a16:creationId xmlns:a16="http://schemas.microsoft.com/office/drawing/2014/main" id="{165A4525-CC6E-4D85-8E3C-FE1B0E69BDF2}"/>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nod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endParaRPr>
            </a:p>
          </p:txBody>
        </p:sp>
      </p:grpSp>
      <p:sp>
        <p:nvSpPr>
          <p:cNvPr id="61" name="Field gateway">
            <a:extLst>
              <a:ext uri="{FF2B5EF4-FFF2-40B4-BE49-F238E27FC236}">
                <a16:creationId xmlns:a16="http://schemas.microsoft.com/office/drawing/2014/main" id="{CF208683-6239-46AC-9F4D-B101F1D713D2}"/>
              </a:ext>
            </a:extLst>
          </p:cNvPr>
          <p:cNvSpPr/>
          <p:nvPr/>
        </p:nvSpPr>
        <p:spPr>
          <a:xfrm>
            <a:off x="5758452" y="2282473"/>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rvice</a:t>
            </a:r>
          </a:p>
        </p:txBody>
      </p:sp>
      <p:sp>
        <p:nvSpPr>
          <p:cNvPr id="62" name="Field gateway">
            <a:extLst>
              <a:ext uri="{FF2B5EF4-FFF2-40B4-BE49-F238E27FC236}">
                <a16:creationId xmlns:a16="http://schemas.microsoft.com/office/drawing/2014/main" id="{485D8DD9-F5D3-4C91-81AC-ACDBCF7143B2}"/>
              </a:ext>
            </a:extLst>
          </p:cNvPr>
          <p:cNvSpPr/>
          <p:nvPr/>
        </p:nvSpPr>
        <p:spPr>
          <a:xfrm>
            <a:off x="7191964" y="2274494"/>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63" name="Field gateway">
            <a:extLst>
              <a:ext uri="{FF2B5EF4-FFF2-40B4-BE49-F238E27FC236}">
                <a16:creationId xmlns:a16="http://schemas.microsoft.com/office/drawing/2014/main" id="{27AA2FE7-DED7-4192-9BA1-81C9D87713A9}"/>
              </a:ext>
            </a:extLst>
          </p:cNvPr>
          <p:cNvSpPr/>
          <p:nvPr/>
        </p:nvSpPr>
        <p:spPr>
          <a:xfrm>
            <a:off x="8615951" y="2266515"/>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28" name="Field gateway">
            <a:extLst>
              <a:ext uri="{FF2B5EF4-FFF2-40B4-BE49-F238E27FC236}">
                <a16:creationId xmlns:a16="http://schemas.microsoft.com/office/drawing/2014/main" id="{12972ACF-C06F-4DF1-84F2-80CC4DA4F34F}"/>
              </a:ext>
            </a:extLst>
          </p:cNvPr>
          <p:cNvSpPr/>
          <p:nvPr/>
        </p:nvSpPr>
        <p:spPr>
          <a:xfrm>
            <a:off x="5758452" y="2957439"/>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29" name="Group 28">
            <a:extLst>
              <a:ext uri="{FF2B5EF4-FFF2-40B4-BE49-F238E27FC236}">
                <a16:creationId xmlns:a16="http://schemas.microsoft.com/office/drawing/2014/main" id="{69DCCDF6-67FB-4DAD-BFBA-E809604C9CD6}"/>
              </a:ext>
            </a:extLst>
          </p:cNvPr>
          <p:cNvGrpSpPr/>
          <p:nvPr/>
        </p:nvGrpSpPr>
        <p:grpSpPr>
          <a:xfrm>
            <a:off x="5756806" y="2961599"/>
            <a:ext cx="4223494" cy="718936"/>
            <a:chOff x="3952872" y="3097319"/>
            <a:chExt cx="4223494" cy="894713"/>
          </a:xfrm>
        </p:grpSpPr>
        <p:sp>
          <p:nvSpPr>
            <p:cNvPr id="30" name="Field gateway">
              <a:extLst>
                <a:ext uri="{FF2B5EF4-FFF2-40B4-BE49-F238E27FC236}">
                  <a16:creationId xmlns:a16="http://schemas.microsoft.com/office/drawing/2014/main" id="{6707631C-ADD7-4AFC-8D5F-49091366BF9F}"/>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31" name="TextBox 30">
              <a:extLst>
                <a:ext uri="{FF2B5EF4-FFF2-40B4-BE49-F238E27FC236}">
                  <a16:creationId xmlns:a16="http://schemas.microsoft.com/office/drawing/2014/main" id="{ABE185E2-6A6A-4937-B17A-D881D232E79E}"/>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lvl="0" algn="ctr">
                <a:lnSpc>
                  <a:spcPct val="90000"/>
                </a:lnSpc>
                <a:spcAft>
                  <a:spcPts val="600"/>
                </a:spcAft>
                <a:defRPr/>
              </a:pPr>
              <a:r>
                <a:rPr lang="sv-SE" kern="0" dirty="0">
                  <a:gradFill>
                    <a:gsLst>
                      <a:gs pos="2917">
                        <a:prstClr val="white"/>
                      </a:gs>
                      <a:gs pos="30000">
                        <a:prstClr val="white"/>
                      </a:gs>
                    </a:gsLst>
                    <a:lin ang="5400000" scaled="0"/>
                  </a:gradFill>
                  <a:latin typeface="Segoe UI"/>
                </a:rPr>
                <a:t>microServiceBus-</a:t>
              </a:r>
              <a:r>
                <a:rPr lang="sv-SE" kern="0" dirty="0" err="1">
                  <a:gradFill>
                    <a:gsLst>
                      <a:gs pos="2917">
                        <a:prstClr val="white"/>
                      </a:gs>
                      <a:gs pos="30000">
                        <a:prstClr val="white"/>
                      </a:gs>
                    </a:gsLst>
                    <a:lin ang="5400000" scaled="0"/>
                  </a:gradFill>
                  <a:latin typeface="Segoe UI"/>
                </a:rPr>
                <a:t>core</a:t>
              </a:r>
              <a:endParaRPr lang="sv-SE" kern="0" dirty="0">
                <a:gradFill>
                  <a:gsLst>
                    <a:gs pos="2917">
                      <a:prstClr val="white"/>
                    </a:gs>
                    <a:gs pos="30000">
                      <a:prstClr val="white"/>
                    </a:gs>
                  </a:gsLst>
                  <a:lin ang="5400000" scaled="0"/>
                </a:gradFill>
                <a:latin typeface="Segoe UI"/>
              </a:endParaRPr>
            </a:p>
          </p:txBody>
        </p:sp>
      </p:grpSp>
      <p:sp>
        <p:nvSpPr>
          <p:cNvPr id="3" name="TextBox 2">
            <a:extLst>
              <a:ext uri="{FF2B5EF4-FFF2-40B4-BE49-F238E27FC236}">
                <a16:creationId xmlns:a16="http://schemas.microsoft.com/office/drawing/2014/main" id="{B5F6362F-0508-45CB-B506-1F99032E8890}"/>
              </a:ext>
            </a:extLst>
          </p:cNvPr>
          <p:cNvSpPr txBox="1"/>
          <p:nvPr/>
        </p:nvSpPr>
        <p:spPr>
          <a:xfrm>
            <a:off x="314325" y="3780568"/>
            <a:ext cx="4647426"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a:t>
            </a:r>
            <a:r>
              <a:rPr lang="en-US" dirty="0">
                <a:solidFill>
                  <a:schemeClr val="bg1"/>
                </a:solidFill>
                <a:latin typeface="Segoe UI Light" panose="020B0502040204020203" pitchFamily="34" charset="0"/>
                <a:cs typeface="Segoe UI Light" panose="020B0502040204020203" pitchFamily="34" charset="0"/>
              </a:rPr>
              <a:t>communication with </a:t>
            </a:r>
            <a:r>
              <a:rPr lang="sv-SE" dirty="0">
                <a:solidFill>
                  <a:schemeClr val="bg1"/>
                </a:solidFill>
                <a:latin typeface="Segoe UI Light" panose="020B0502040204020203" pitchFamily="34" charset="0"/>
                <a:cs typeface="Segoe UI Light" panose="020B0502040204020203" pitchFamily="34" charset="0"/>
              </a:rPr>
              <a:t>mSB.com</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00B050"/>
                </a:solidFill>
                <a:latin typeface="Segoe UI Light" panose="020B0502040204020203" pitchFamily="34" charset="0"/>
                <a:cs typeface="Segoe UI Light" panose="020B0502040204020203" pitchFamily="34" charset="0"/>
              </a:rPr>
              <a:t>Rarely updates </a:t>
            </a:r>
            <a:r>
              <a:rPr lang="en-US" dirty="0">
                <a:solidFill>
                  <a:schemeClr val="bg1"/>
                </a:solidFill>
                <a:latin typeface="Segoe UI Light" panose="020B0502040204020203" pitchFamily="34" charset="0"/>
                <a:cs typeface="Segoe UI Light" panose="020B0502040204020203" pitchFamily="34" charset="0"/>
              </a:rPr>
              <a:t>(once or twice a year)</a:t>
            </a:r>
          </a:p>
        </p:txBody>
      </p:sp>
      <p:sp>
        <p:nvSpPr>
          <p:cNvPr id="34" name="TextBox 33">
            <a:extLst>
              <a:ext uri="{FF2B5EF4-FFF2-40B4-BE49-F238E27FC236}">
                <a16:creationId xmlns:a16="http://schemas.microsoft.com/office/drawing/2014/main" id="{4FDB1F98-D83E-4707-89B6-9A3CEF536A4C}"/>
              </a:ext>
            </a:extLst>
          </p:cNvPr>
          <p:cNvSpPr txBox="1"/>
          <p:nvPr/>
        </p:nvSpPr>
        <p:spPr>
          <a:xfrm>
            <a:off x="307817" y="2259071"/>
            <a:ext cx="4067780"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Interacting with </a:t>
            </a:r>
            <a:r>
              <a:rPr lang="sv-SE" dirty="0">
                <a:solidFill>
                  <a:schemeClr val="bg1"/>
                </a:solidFill>
                <a:latin typeface="Segoe UI Light" panose="020B0502040204020203" pitchFamily="34" charset="0"/>
                <a:cs typeface="Segoe UI Light" panose="020B0502040204020203" pitchFamily="34" charset="0"/>
              </a:rPr>
              <a:t>sensors &amp; business </a:t>
            </a:r>
            <a:r>
              <a:rPr lang="sv-SE" dirty="0" err="1">
                <a:solidFill>
                  <a:schemeClr val="bg1"/>
                </a:solidFill>
                <a:latin typeface="Segoe UI Light" panose="020B0502040204020203" pitchFamily="34" charset="0"/>
                <a:cs typeface="Segoe UI Light" panose="020B0502040204020203" pitchFamily="34" charset="0"/>
              </a:rPr>
              <a:t>logic</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FF0000"/>
                </a:solidFill>
                <a:latin typeface="Segoe UI Light" panose="020B0502040204020203" pitchFamily="34" charset="0"/>
                <a:cs typeface="Segoe UI Light" panose="020B0502040204020203" pitchFamily="34" charset="0"/>
              </a:rPr>
              <a:t>Frequently</a:t>
            </a:r>
            <a:r>
              <a:rPr lang="en-US" dirty="0">
                <a:solidFill>
                  <a:schemeClr val="bg1"/>
                </a:solidFill>
                <a:latin typeface="Segoe UI Light" panose="020B0502040204020203" pitchFamily="34" charset="0"/>
                <a:cs typeface="Segoe UI Light" panose="020B0502040204020203" pitchFamily="34" charset="0"/>
              </a:rPr>
              <a:t> </a:t>
            </a:r>
            <a:r>
              <a:rPr lang="en-US" dirty="0">
                <a:solidFill>
                  <a:srgbClr val="FF0000"/>
                </a:solidFill>
                <a:latin typeface="Segoe UI Light" panose="020B0502040204020203" pitchFamily="34" charset="0"/>
                <a:cs typeface="Segoe UI Light" panose="020B0502040204020203" pitchFamily="34" charset="0"/>
              </a:rPr>
              <a:t>updates</a:t>
            </a:r>
            <a:r>
              <a:rPr lang="en-US" dirty="0">
                <a:solidFill>
                  <a:schemeClr val="bg1"/>
                </a:solidFill>
                <a:latin typeface="Segoe UI Light" panose="020B0502040204020203" pitchFamily="34" charset="0"/>
                <a:cs typeface="Segoe UI Light" panose="020B0502040204020203" pitchFamily="34" charset="0"/>
              </a:rPr>
              <a:t> (weekly)</a:t>
            </a:r>
          </a:p>
        </p:txBody>
      </p:sp>
      <p:grpSp>
        <p:nvGrpSpPr>
          <p:cNvPr id="7" name="Group 6">
            <a:extLst>
              <a:ext uri="{FF2B5EF4-FFF2-40B4-BE49-F238E27FC236}">
                <a16:creationId xmlns:a16="http://schemas.microsoft.com/office/drawing/2014/main" id="{3922FF47-691D-4CA1-8D81-A9CA5C2C2325}"/>
              </a:ext>
            </a:extLst>
          </p:cNvPr>
          <p:cNvGrpSpPr/>
          <p:nvPr/>
        </p:nvGrpSpPr>
        <p:grpSpPr>
          <a:xfrm>
            <a:off x="307817" y="2942287"/>
            <a:ext cx="5133296" cy="785886"/>
            <a:chOff x="307817" y="2942287"/>
            <a:chExt cx="5133296" cy="785886"/>
          </a:xfrm>
        </p:grpSpPr>
        <p:sp>
          <p:nvSpPr>
            <p:cNvPr id="33" name="TextBox 32">
              <a:extLst>
                <a:ext uri="{FF2B5EF4-FFF2-40B4-BE49-F238E27FC236}">
                  <a16:creationId xmlns:a16="http://schemas.microsoft.com/office/drawing/2014/main" id="{BB791236-12DD-4802-8B3E-D7CE84EFDC33}"/>
                </a:ext>
              </a:extLst>
            </p:cNvPr>
            <p:cNvSpPr txBox="1"/>
            <p:nvPr/>
          </p:nvSpPr>
          <p:spPr>
            <a:xfrm>
              <a:off x="314325" y="3002694"/>
              <a:ext cx="5126788"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IoT </a:t>
              </a:r>
              <a:r>
                <a:rPr lang="sv-SE" dirty="0" err="1">
                  <a:solidFill>
                    <a:schemeClr val="bg1"/>
                  </a:solidFill>
                  <a:latin typeface="Segoe UI Light" panose="020B0502040204020203" pitchFamily="34" charset="0"/>
                  <a:cs typeface="Segoe UI Light" panose="020B0502040204020203" pitchFamily="34" charset="0"/>
                </a:rPr>
                <a:t>Hub</a:t>
              </a:r>
              <a:r>
                <a:rPr lang="sv-SE" dirty="0">
                  <a:solidFill>
                    <a:schemeClr val="bg1"/>
                  </a:solidFill>
                  <a:latin typeface="Segoe UI Light" panose="020B0502040204020203" pitchFamily="34" charset="0"/>
                  <a:cs typeface="Segoe UI Light" panose="020B0502040204020203" pitchFamily="34" charset="0"/>
                </a:rPr>
                <a:t> &amp; </a:t>
              </a:r>
              <a:r>
                <a:rPr lang="en-US" dirty="0">
                  <a:solidFill>
                    <a:schemeClr val="bg1"/>
                  </a:solidFill>
                  <a:latin typeface="Segoe UI Light" panose="020B0502040204020203" pitchFamily="34" charset="0"/>
                  <a:cs typeface="Segoe UI Light" panose="020B0502040204020203" pitchFamily="34" charset="0"/>
                </a:rPr>
                <a:t>orchestration</a:t>
              </a:r>
              <a:r>
                <a:rPr lang="sv-SE" dirty="0">
                  <a:solidFill>
                    <a:schemeClr val="bg1"/>
                  </a:solidFill>
                  <a:latin typeface="Segoe UI Light" panose="020B0502040204020203" pitchFamily="34" charset="0"/>
                  <a:cs typeface="Segoe UI Light" panose="020B0502040204020203" pitchFamily="34" charset="0"/>
                </a:rPr>
                <a:t> </a:t>
              </a:r>
              <a:r>
                <a:rPr lang="sv-SE" dirty="0" err="1">
                  <a:solidFill>
                    <a:schemeClr val="bg1"/>
                  </a:solidFill>
                  <a:latin typeface="Segoe UI Light" panose="020B0502040204020203" pitchFamily="34" charset="0"/>
                  <a:cs typeface="Segoe UI Light" panose="020B0502040204020203" pitchFamily="34" charset="0"/>
                </a:rPr>
                <a:t>of</a:t>
              </a:r>
              <a:r>
                <a:rPr lang="sv-SE" dirty="0">
                  <a:solidFill>
                    <a:schemeClr val="bg1"/>
                  </a:solidFill>
                  <a:latin typeface="Segoe UI Light" panose="020B0502040204020203" pitchFamily="34" charset="0"/>
                  <a:cs typeface="Segoe UI Light" panose="020B0502040204020203" pitchFamily="34" charset="0"/>
                </a:rPr>
                <a:t> services</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FFFF00"/>
                  </a:solidFill>
                  <a:latin typeface="Segoe UI Light" panose="020B0502040204020203" pitchFamily="34" charset="0"/>
                  <a:cs typeface="Segoe UI Light" panose="020B0502040204020203" pitchFamily="34" charset="0"/>
                </a:rPr>
                <a:t>Often updates </a:t>
              </a:r>
              <a:r>
                <a:rPr lang="en-US" dirty="0">
                  <a:solidFill>
                    <a:schemeClr val="bg1"/>
                  </a:solidFill>
                  <a:latin typeface="Segoe UI Light" panose="020B0502040204020203" pitchFamily="34" charset="0"/>
                  <a:cs typeface="Segoe UI Light" panose="020B0502040204020203" pitchFamily="34" charset="0"/>
                </a:rPr>
                <a:t>(once or twice a month)</a:t>
              </a:r>
            </a:p>
          </p:txBody>
        </p:sp>
        <p:cxnSp>
          <p:nvCxnSpPr>
            <p:cNvPr id="5" name="Straight Connector 4">
              <a:extLst>
                <a:ext uri="{FF2B5EF4-FFF2-40B4-BE49-F238E27FC236}">
                  <a16:creationId xmlns:a16="http://schemas.microsoft.com/office/drawing/2014/main" id="{472803F0-9D1C-4DAF-8BA8-1462350070E1}"/>
                </a:ext>
              </a:extLst>
            </p:cNvPr>
            <p:cNvCxnSpPr/>
            <p:nvPr/>
          </p:nvCxnSpPr>
          <p:spPr>
            <a:xfrm>
              <a:off x="314325" y="3728173"/>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123616A-C839-4950-A27F-CD874A2C41B2}"/>
                </a:ext>
              </a:extLst>
            </p:cNvPr>
            <p:cNvCxnSpPr/>
            <p:nvPr/>
          </p:nvCxnSpPr>
          <p:spPr>
            <a:xfrm>
              <a:off x="307817" y="2942287"/>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853114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5"/>
                                        </p:tgtEl>
                                        <p:attrNameLst>
                                          <p:attrName>style.visibility</p:attrName>
                                        </p:attrNameLst>
                                      </p:cBhvr>
                                      <p:to>
                                        <p:strVal val="visible"/>
                                      </p:to>
                                    </p:set>
                                    <p:animEffect transition="in" filter="fade">
                                      <p:cBhvr>
                                        <p:cTn id="12" dur="500"/>
                                        <p:tgtEl>
                                          <p:spTgt spid="5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8"/>
                                        </p:tgtEl>
                                        <p:attrNameLst>
                                          <p:attrName>style.visibility</p:attrName>
                                        </p:attrNameLst>
                                      </p:cBhvr>
                                      <p:to>
                                        <p:strVal val="visible"/>
                                      </p:to>
                                    </p:set>
                                    <p:animEffect transition="in" filter="fade">
                                      <p:cBhvr>
                                        <p:cTn id="17" dur="500"/>
                                        <p:tgtEl>
                                          <p:spTgt spid="5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61"/>
                                        </p:tgtEl>
                                        <p:attrNameLst>
                                          <p:attrName>style.visibility</p:attrName>
                                        </p:attrNameLst>
                                      </p:cBhvr>
                                      <p:to>
                                        <p:strVal val="visible"/>
                                      </p:to>
                                    </p:set>
                                    <p:animEffect transition="in" filter="fade">
                                      <p:cBhvr>
                                        <p:cTn id="27" dur="500"/>
                                        <p:tgtEl>
                                          <p:spTgt spid="61"/>
                                        </p:tgtEl>
                                      </p:cBhvr>
                                    </p:animEffect>
                                  </p:childTnLst>
                                </p:cTn>
                              </p:par>
                            </p:childTnLst>
                          </p:cTn>
                        </p:par>
                        <p:par>
                          <p:cTn id="28" fill="hold">
                            <p:stCondLst>
                              <p:cond delay="500"/>
                            </p:stCondLst>
                            <p:childTnLst>
                              <p:par>
                                <p:cTn id="29" presetID="10" presetClass="entr" presetSubtype="0" fill="hold" grpId="0" nodeType="afterEffect">
                                  <p:stCondLst>
                                    <p:cond delay="0"/>
                                  </p:stCondLst>
                                  <p:childTnLst>
                                    <p:set>
                                      <p:cBhvr>
                                        <p:cTn id="30" dur="1" fill="hold">
                                          <p:stCondLst>
                                            <p:cond delay="0"/>
                                          </p:stCondLst>
                                        </p:cTn>
                                        <p:tgtEl>
                                          <p:spTgt spid="62"/>
                                        </p:tgtEl>
                                        <p:attrNameLst>
                                          <p:attrName>style.visibility</p:attrName>
                                        </p:attrNameLst>
                                      </p:cBhvr>
                                      <p:to>
                                        <p:strVal val="visible"/>
                                      </p:to>
                                    </p:set>
                                    <p:animEffect transition="in" filter="fade">
                                      <p:cBhvr>
                                        <p:cTn id="31" dur="500"/>
                                        <p:tgtEl>
                                          <p:spTgt spid="62"/>
                                        </p:tgtEl>
                                      </p:cBhvr>
                                    </p:animEffect>
                                  </p:childTnLst>
                                </p:cTn>
                              </p:par>
                            </p:childTnLst>
                          </p:cTn>
                        </p:par>
                        <p:par>
                          <p:cTn id="32" fill="hold">
                            <p:stCondLst>
                              <p:cond delay="1000"/>
                            </p:stCondLst>
                            <p:childTnLst>
                              <p:par>
                                <p:cTn id="33" presetID="10" presetClass="entr" presetSubtype="0" fill="hold" grpId="0" nodeType="afterEffect">
                                  <p:stCondLst>
                                    <p:cond delay="0"/>
                                  </p:stCondLst>
                                  <p:childTnLst>
                                    <p:set>
                                      <p:cBhvr>
                                        <p:cTn id="34" dur="1" fill="hold">
                                          <p:stCondLst>
                                            <p:cond delay="0"/>
                                          </p:stCondLst>
                                        </p:cTn>
                                        <p:tgtEl>
                                          <p:spTgt spid="63"/>
                                        </p:tgtEl>
                                        <p:attrNameLst>
                                          <p:attrName>style.visibility</p:attrName>
                                        </p:attrNameLst>
                                      </p:cBhvr>
                                      <p:to>
                                        <p:strVal val="visible"/>
                                      </p:to>
                                    </p:set>
                                    <p:animEffect transition="in" filter="fade">
                                      <p:cBhvr>
                                        <p:cTn id="35" dur="500"/>
                                        <p:tgtEl>
                                          <p:spTgt spid="63"/>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
                                        </p:tgtEl>
                                        <p:attrNameLst>
                                          <p:attrName>style.visibility</p:attrName>
                                        </p:attrNameLst>
                                      </p:cBhvr>
                                      <p:to>
                                        <p:strVal val="visible"/>
                                      </p:to>
                                    </p:set>
                                    <p:animEffect transition="in" filter="fade">
                                      <p:cBhvr>
                                        <p:cTn id="40" dur="500"/>
                                        <p:tgtEl>
                                          <p:spTgt spid="3"/>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7"/>
                                        </p:tgtEl>
                                        <p:attrNameLst>
                                          <p:attrName>style.visibility</p:attrName>
                                        </p:attrNameLst>
                                      </p:cBhvr>
                                      <p:to>
                                        <p:strVal val="visible"/>
                                      </p:to>
                                    </p:set>
                                    <p:animEffect transition="in" filter="fade">
                                      <p:cBhvr>
                                        <p:cTn id="45" dur="500"/>
                                        <p:tgtEl>
                                          <p:spTgt spid="7"/>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2" grpId="0" animBg="1"/>
      <p:bldP spid="63" grpId="0" animBg="1"/>
      <p:bldP spid="3" grpId="0"/>
      <p:bldP spid="34"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Ubuntu Core/Docker Device Architecture</a:t>
            </a:r>
            <a:endParaRPr lang="sv-SE" dirty="0"/>
          </a:p>
        </p:txBody>
      </p:sp>
      <p:grpSp>
        <p:nvGrpSpPr>
          <p:cNvPr id="6" name="Group 5">
            <a:extLst>
              <a:ext uri="{FF2B5EF4-FFF2-40B4-BE49-F238E27FC236}">
                <a16:creationId xmlns:a16="http://schemas.microsoft.com/office/drawing/2014/main" id="{CD1AA994-2050-4494-A19B-2091CE8D7332}"/>
              </a:ext>
            </a:extLst>
          </p:cNvPr>
          <p:cNvGrpSpPr/>
          <p:nvPr/>
        </p:nvGrpSpPr>
        <p:grpSpPr>
          <a:xfrm>
            <a:off x="5607700" y="1218966"/>
            <a:ext cx="4533900" cy="5273909"/>
            <a:chOff x="5607700" y="1218966"/>
            <a:chExt cx="4533900" cy="5273909"/>
          </a:xfrm>
        </p:grpSpPr>
        <p:sp>
          <p:nvSpPr>
            <p:cNvPr id="44" name="Field gateway">
              <a:extLst>
                <a:ext uri="{FF2B5EF4-FFF2-40B4-BE49-F238E27FC236}">
                  <a16:creationId xmlns:a16="http://schemas.microsoft.com/office/drawing/2014/main" id="{EB90192F-E37F-4499-B764-8A14B80208BC}"/>
                </a:ext>
              </a:extLst>
            </p:cNvPr>
            <p:cNvSpPr/>
            <p:nvPr/>
          </p:nvSpPr>
          <p:spPr>
            <a:xfrm>
              <a:off x="5607700" y="1218966"/>
              <a:ext cx="4533900" cy="5273909"/>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45" name="Picture 44">
              <a:extLst>
                <a:ext uri="{FF2B5EF4-FFF2-40B4-BE49-F238E27FC236}">
                  <a16:creationId xmlns:a16="http://schemas.microsoft.com/office/drawing/2014/main" id="{392A5AE6-8CEF-4832-A6C2-5CB3813E6424}"/>
                </a:ext>
              </a:extLst>
            </p:cNvPr>
            <p:cNvPicPr>
              <a:picLocks noChangeAspect="1"/>
            </p:cNvPicPr>
            <p:nvPr/>
          </p:nvPicPr>
          <p:blipFill>
            <a:blip r:embed="rId2"/>
            <a:stretch>
              <a:fillRect/>
            </a:stretch>
          </p:blipFill>
          <p:spPr>
            <a:xfrm>
              <a:off x="9292228" y="1374057"/>
              <a:ext cx="707143" cy="507536"/>
            </a:xfrm>
            <a:prstGeom prst="rect">
              <a:avLst/>
            </a:prstGeom>
          </p:spPr>
        </p:pic>
        <p:sp>
          <p:nvSpPr>
            <p:cNvPr id="46" name="Field gateway">
              <a:extLst>
                <a:ext uri="{FF2B5EF4-FFF2-40B4-BE49-F238E27FC236}">
                  <a16:creationId xmlns:a16="http://schemas.microsoft.com/office/drawing/2014/main" id="{4CCE312E-FAE6-460C-867A-8F73C6F93D1A}"/>
                </a:ext>
              </a:extLst>
            </p:cNvPr>
            <p:cNvSpPr/>
            <p:nvPr/>
          </p:nvSpPr>
          <p:spPr>
            <a:xfrm>
              <a:off x="5760100" y="5317431"/>
              <a:ext cx="4223493" cy="717457"/>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7" name="Field gateway">
              <a:extLst>
                <a:ext uri="{FF2B5EF4-FFF2-40B4-BE49-F238E27FC236}">
                  <a16:creationId xmlns:a16="http://schemas.microsoft.com/office/drawing/2014/main" id="{1707BF4A-5AD2-46AA-9A33-5B5DAB0D0957}"/>
                </a:ext>
              </a:extLst>
            </p:cNvPr>
            <p:cNvSpPr/>
            <p:nvPr/>
          </p:nvSpPr>
          <p:spPr>
            <a:xfrm>
              <a:off x="5760099" y="4531030"/>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8" name="Field gateway">
              <a:extLst>
                <a:ext uri="{FF2B5EF4-FFF2-40B4-BE49-F238E27FC236}">
                  <a16:creationId xmlns:a16="http://schemas.microsoft.com/office/drawing/2014/main" id="{6907133F-0BE3-4B2D-BC56-FB0E33FE992F}"/>
                </a:ext>
              </a:extLst>
            </p:cNvPr>
            <p:cNvSpPr/>
            <p:nvPr/>
          </p:nvSpPr>
          <p:spPr>
            <a:xfrm>
              <a:off x="5760098" y="3744266"/>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9" name="Field gateway">
              <a:extLst>
                <a:ext uri="{FF2B5EF4-FFF2-40B4-BE49-F238E27FC236}">
                  <a16:creationId xmlns:a16="http://schemas.microsoft.com/office/drawing/2014/main" id="{6750EFBE-EDB2-44FD-926D-C4B1BC177089}"/>
                </a:ext>
              </a:extLst>
            </p:cNvPr>
            <p:cNvSpPr/>
            <p:nvPr/>
          </p:nvSpPr>
          <p:spPr>
            <a:xfrm>
              <a:off x="5760097" y="2278313"/>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0" name="Field gateway">
              <a:extLst>
                <a:ext uri="{FF2B5EF4-FFF2-40B4-BE49-F238E27FC236}">
                  <a16:creationId xmlns:a16="http://schemas.microsoft.com/office/drawing/2014/main" id="{CED4D467-9598-4B17-8D74-6C7A6E71B798}"/>
                </a:ext>
              </a:extLst>
            </p:cNvPr>
            <p:cNvSpPr/>
            <p:nvPr/>
          </p:nvSpPr>
          <p:spPr>
            <a:xfrm>
              <a:off x="7193609" y="2270334"/>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1" name="Field gateway">
              <a:extLst>
                <a:ext uri="{FF2B5EF4-FFF2-40B4-BE49-F238E27FC236}">
                  <a16:creationId xmlns:a16="http://schemas.microsoft.com/office/drawing/2014/main" id="{91A1BC6C-67A2-45BD-8F94-BA00D826D1C7}"/>
                </a:ext>
              </a:extLst>
            </p:cNvPr>
            <p:cNvSpPr/>
            <p:nvPr/>
          </p:nvSpPr>
          <p:spPr>
            <a:xfrm>
              <a:off x="8617596" y="2262355"/>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52" name="Group 51">
              <a:extLst>
                <a:ext uri="{FF2B5EF4-FFF2-40B4-BE49-F238E27FC236}">
                  <a16:creationId xmlns:a16="http://schemas.microsoft.com/office/drawing/2014/main" id="{EA72C5B9-3397-4F89-B7D4-327A6385D0D9}"/>
                </a:ext>
              </a:extLst>
            </p:cNvPr>
            <p:cNvGrpSpPr/>
            <p:nvPr/>
          </p:nvGrpSpPr>
          <p:grpSpPr>
            <a:xfrm>
              <a:off x="5758454" y="5321591"/>
              <a:ext cx="4223494" cy="717457"/>
              <a:chOff x="3952874" y="5097567"/>
              <a:chExt cx="4223494" cy="892872"/>
            </a:xfrm>
          </p:grpSpPr>
          <p:sp>
            <p:nvSpPr>
              <p:cNvPr id="53" name="Field gateway">
                <a:extLst>
                  <a:ext uri="{FF2B5EF4-FFF2-40B4-BE49-F238E27FC236}">
                    <a16:creationId xmlns:a16="http://schemas.microsoft.com/office/drawing/2014/main" id="{8427E38C-0598-4C11-A85F-3E427A94BD26}"/>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54" name="TextBox 53">
                <a:extLst>
                  <a:ext uri="{FF2B5EF4-FFF2-40B4-BE49-F238E27FC236}">
                    <a16:creationId xmlns:a16="http://schemas.microsoft.com/office/drawing/2014/main" id="{B936DE14-3482-4AC7-A33E-B40FAAC99F7E}"/>
                  </a:ext>
                </a:extLst>
              </p:cNvPr>
              <p:cNvSpPr txBox="1"/>
              <p:nvPr/>
            </p:nvSpPr>
            <p:spPr>
              <a:xfrm>
                <a:off x="3952874" y="5199865"/>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inux | Windows</a:t>
                </a:r>
              </a:p>
            </p:txBody>
          </p:sp>
        </p:grpSp>
        <p:grpSp>
          <p:nvGrpSpPr>
            <p:cNvPr id="55" name="Group 54">
              <a:extLst>
                <a:ext uri="{FF2B5EF4-FFF2-40B4-BE49-F238E27FC236}">
                  <a16:creationId xmlns:a16="http://schemas.microsoft.com/office/drawing/2014/main" id="{FBF61404-7B6B-4655-8B41-EE2DAED4AEEC}"/>
                </a:ext>
              </a:extLst>
            </p:cNvPr>
            <p:cNvGrpSpPr/>
            <p:nvPr/>
          </p:nvGrpSpPr>
          <p:grpSpPr>
            <a:xfrm>
              <a:off x="5758453" y="4535190"/>
              <a:ext cx="4223494" cy="718936"/>
              <a:chOff x="3952873" y="4097443"/>
              <a:chExt cx="4223494" cy="894713"/>
            </a:xfrm>
          </p:grpSpPr>
          <p:sp>
            <p:nvSpPr>
              <p:cNvPr id="56" name="Field gateway">
                <a:extLst>
                  <a:ext uri="{FF2B5EF4-FFF2-40B4-BE49-F238E27FC236}">
                    <a16:creationId xmlns:a16="http://schemas.microsoft.com/office/drawing/2014/main" id="{164D67F3-DEA0-4265-8231-625FA27188F0}"/>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57" name="TextBox 56">
                <a:extLst>
                  <a:ext uri="{FF2B5EF4-FFF2-40B4-BE49-F238E27FC236}">
                    <a16:creationId xmlns:a16="http://schemas.microsoft.com/office/drawing/2014/main" id="{4736028D-75AA-4A2E-BDC8-5F5F59B0AF38}"/>
                  </a:ext>
                </a:extLst>
              </p:cNvPr>
              <p:cNvSpPr txBox="1"/>
              <p:nvPr/>
            </p:nvSpPr>
            <p:spPr>
              <a:xfrm>
                <a:off x="3952873" y="420158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Node.js</a:t>
                </a:r>
              </a:p>
            </p:txBody>
          </p:sp>
        </p:grpSp>
        <p:grpSp>
          <p:nvGrpSpPr>
            <p:cNvPr id="58" name="Group 57">
              <a:extLst>
                <a:ext uri="{FF2B5EF4-FFF2-40B4-BE49-F238E27FC236}">
                  <a16:creationId xmlns:a16="http://schemas.microsoft.com/office/drawing/2014/main" id="{E26284AE-2A6A-4C2E-9645-1E50ADA82A7E}"/>
                </a:ext>
              </a:extLst>
            </p:cNvPr>
            <p:cNvGrpSpPr/>
            <p:nvPr/>
          </p:nvGrpSpPr>
          <p:grpSpPr>
            <a:xfrm>
              <a:off x="5758452" y="3748426"/>
              <a:ext cx="4223494" cy="718936"/>
              <a:chOff x="3952872" y="3097319"/>
              <a:chExt cx="4223494" cy="894713"/>
            </a:xfrm>
          </p:grpSpPr>
          <p:sp>
            <p:nvSpPr>
              <p:cNvPr id="59" name="Field gateway">
                <a:extLst>
                  <a:ext uri="{FF2B5EF4-FFF2-40B4-BE49-F238E27FC236}">
                    <a16:creationId xmlns:a16="http://schemas.microsoft.com/office/drawing/2014/main" id="{482EDFF9-DD0D-4491-B175-2EC6A60EC332}"/>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60" name="TextBox 59">
                <a:extLst>
                  <a:ext uri="{FF2B5EF4-FFF2-40B4-BE49-F238E27FC236}">
                    <a16:creationId xmlns:a16="http://schemas.microsoft.com/office/drawing/2014/main" id="{165A4525-CC6E-4D85-8E3C-FE1B0E69BDF2}"/>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nod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endParaRPr>
              </a:p>
            </p:txBody>
          </p:sp>
        </p:grpSp>
        <p:sp>
          <p:nvSpPr>
            <p:cNvPr id="61" name="Field gateway">
              <a:extLst>
                <a:ext uri="{FF2B5EF4-FFF2-40B4-BE49-F238E27FC236}">
                  <a16:creationId xmlns:a16="http://schemas.microsoft.com/office/drawing/2014/main" id="{CF208683-6239-46AC-9F4D-B101F1D713D2}"/>
                </a:ext>
              </a:extLst>
            </p:cNvPr>
            <p:cNvSpPr/>
            <p:nvPr/>
          </p:nvSpPr>
          <p:spPr>
            <a:xfrm>
              <a:off x="5758452" y="2282473"/>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rvice</a:t>
              </a:r>
            </a:p>
          </p:txBody>
        </p:sp>
        <p:sp>
          <p:nvSpPr>
            <p:cNvPr id="62" name="Field gateway">
              <a:extLst>
                <a:ext uri="{FF2B5EF4-FFF2-40B4-BE49-F238E27FC236}">
                  <a16:creationId xmlns:a16="http://schemas.microsoft.com/office/drawing/2014/main" id="{485D8DD9-F5D3-4C91-81AC-ACDBCF7143B2}"/>
                </a:ext>
              </a:extLst>
            </p:cNvPr>
            <p:cNvSpPr/>
            <p:nvPr/>
          </p:nvSpPr>
          <p:spPr>
            <a:xfrm>
              <a:off x="7191964" y="2274494"/>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63" name="Field gateway">
              <a:extLst>
                <a:ext uri="{FF2B5EF4-FFF2-40B4-BE49-F238E27FC236}">
                  <a16:creationId xmlns:a16="http://schemas.microsoft.com/office/drawing/2014/main" id="{27AA2FE7-DED7-4192-9BA1-81C9D87713A9}"/>
                </a:ext>
              </a:extLst>
            </p:cNvPr>
            <p:cNvSpPr/>
            <p:nvPr/>
          </p:nvSpPr>
          <p:spPr>
            <a:xfrm>
              <a:off x="8615951" y="2266515"/>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28" name="Field gateway">
              <a:extLst>
                <a:ext uri="{FF2B5EF4-FFF2-40B4-BE49-F238E27FC236}">
                  <a16:creationId xmlns:a16="http://schemas.microsoft.com/office/drawing/2014/main" id="{12972ACF-C06F-4DF1-84F2-80CC4DA4F34F}"/>
                </a:ext>
              </a:extLst>
            </p:cNvPr>
            <p:cNvSpPr/>
            <p:nvPr/>
          </p:nvSpPr>
          <p:spPr>
            <a:xfrm>
              <a:off x="5758452" y="2957439"/>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29" name="Group 28">
              <a:extLst>
                <a:ext uri="{FF2B5EF4-FFF2-40B4-BE49-F238E27FC236}">
                  <a16:creationId xmlns:a16="http://schemas.microsoft.com/office/drawing/2014/main" id="{69DCCDF6-67FB-4DAD-BFBA-E809604C9CD6}"/>
                </a:ext>
              </a:extLst>
            </p:cNvPr>
            <p:cNvGrpSpPr/>
            <p:nvPr/>
          </p:nvGrpSpPr>
          <p:grpSpPr>
            <a:xfrm>
              <a:off x="5756806" y="2961599"/>
              <a:ext cx="4223494" cy="718936"/>
              <a:chOff x="3952872" y="3097319"/>
              <a:chExt cx="4223494" cy="894713"/>
            </a:xfrm>
          </p:grpSpPr>
          <p:sp>
            <p:nvSpPr>
              <p:cNvPr id="30" name="Field gateway">
                <a:extLst>
                  <a:ext uri="{FF2B5EF4-FFF2-40B4-BE49-F238E27FC236}">
                    <a16:creationId xmlns:a16="http://schemas.microsoft.com/office/drawing/2014/main" id="{6707631C-ADD7-4AFC-8D5F-49091366BF9F}"/>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31" name="TextBox 30">
                <a:extLst>
                  <a:ext uri="{FF2B5EF4-FFF2-40B4-BE49-F238E27FC236}">
                    <a16:creationId xmlns:a16="http://schemas.microsoft.com/office/drawing/2014/main" id="{ABE185E2-6A6A-4937-B17A-D881D232E79E}"/>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lvl="0" algn="ctr">
                  <a:lnSpc>
                    <a:spcPct val="90000"/>
                  </a:lnSpc>
                  <a:spcAft>
                    <a:spcPts val="600"/>
                  </a:spcAft>
                  <a:defRPr/>
                </a:pPr>
                <a:r>
                  <a:rPr lang="sv-SE" kern="0" dirty="0">
                    <a:gradFill>
                      <a:gsLst>
                        <a:gs pos="2917">
                          <a:prstClr val="white"/>
                        </a:gs>
                        <a:gs pos="30000">
                          <a:prstClr val="white"/>
                        </a:gs>
                      </a:gsLst>
                      <a:lin ang="5400000" scaled="0"/>
                    </a:gradFill>
                    <a:latin typeface="Segoe UI"/>
                  </a:rPr>
                  <a:t>microServiceBus-</a:t>
                </a:r>
                <a:r>
                  <a:rPr lang="sv-SE" kern="0" dirty="0" err="1">
                    <a:gradFill>
                      <a:gsLst>
                        <a:gs pos="2917">
                          <a:prstClr val="white"/>
                        </a:gs>
                        <a:gs pos="30000">
                          <a:prstClr val="white"/>
                        </a:gs>
                      </a:gsLst>
                      <a:lin ang="5400000" scaled="0"/>
                    </a:gradFill>
                    <a:latin typeface="Segoe UI"/>
                  </a:rPr>
                  <a:t>core</a:t>
                </a:r>
                <a:endParaRPr lang="sv-SE" kern="0" dirty="0">
                  <a:gradFill>
                    <a:gsLst>
                      <a:gs pos="2917">
                        <a:prstClr val="white"/>
                      </a:gs>
                      <a:gs pos="30000">
                        <a:prstClr val="white"/>
                      </a:gs>
                    </a:gsLst>
                    <a:lin ang="5400000" scaled="0"/>
                  </a:gradFill>
                  <a:latin typeface="Segoe UI"/>
                </a:endParaRPr>
              </a:p>
            </p:txBody>
          </p:sp>
        </p:grpSp>
      </p:grpSp>
      <p:grpSp>
        <p:nvGrpSpPr>
          <p:cNvPr id="4" name="Group 3">
            <a:extLst>
              <a:ext uri="{FF2B5EF4-FFF2-40B4-BE49-F238E27FC236}">
                <a16:creationId xmlns:a16="http://schemas.microsoft.com/office/drawing/2014/main" id="{944ECF07-B749-46A7-82A5-E641950BA2DE}"/>
              </a:ext>
            </a:extLst>
          </p:cNvPr>
          <p:cNvGrpSpPr/>
          <p:nvPr/>
        </p:nvGrpSpPr>
        <p:grpSpPr>
          <a:xfrm>
            <a:off x="307817" y="2259071"/>
            <a:ext cx="5133296" cy="2167828"/>
            <a:chOff x="307817" y="2259071"/>
            <a:chExt cx="5133296" cy="2167828"/>
          </a:xfrm>
        </p:grpSpPr>
        <p:sp>
          <p:nvSpPr>
            <p:cNvPr id="3" name="TextBox 2">
              <a:extLst>
                <a:ext uri="{FF2B5EF4-FFF2-40B4-BE49-F238E27FC236}">
                  <a16:creationId xmlns:a16="http://schemas.microsoft.com/office/drawing/2014/main" id="{B5F6362F-0508-45CB-B506-1F99032E8890}"/>
                </a:ext>
              </a:extLst>
            </p:cNvPr>
            <p:cNvSpPr txBox="1"/>
            <p:nvPr/>
          </p:nvSpPr>
          <p:spPr>
            <a:xfrm>
              <a:off x="314325" y="3780568"/>
              <a:ext cx="4647426"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a:t>
              </a:r>
              <a:r>
                <a:rPr lang="en-US" dirty="0">
                  <a:solidFill>
                    <a:schemeClr val="bg1"/>
                  </a:solidFill>
                  <a:latin typeface="Segoe UI Light" panose="020B0502040204020203" pitchFamily="34" charset="0"/>
                  <a:cs typeface="Segoe UI Light" panose="020B0502040204020203" pitchFamily="34" charset="0"/>
                </a:rPr>
                <a:t>communication with </a:t>
              </a:r>
              <a:r>
                <a:rPr lang="sv-SE" dirty="0">
                  <a:solidFill>
                    <a:schemeClr val="bg1"/>
                  </a:solidFill>
                  <a:latin typeface="Segoe UI Light" panose="020B0502040204020203" pitchFamily="34" charset="0"/>
                  <a:cs typeface="Segoe UI Light" panose="020B0502040204020203" pitchFamily="34" charset="0"/>
                </a:rPr>
                <a:t>mSB.com</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00B050"/>
                  </a:solidFill>
                  <a:latin typeface="Segoe UI Light" panose="020B0502040204020203" pitchFamily="34" charset="0"/>
                  <a:cs typeface="Segoe UI Light" panose="020B0502040204020203" pitchFamily="34" charset="0"/>
                </a:rPr>
                <a:t>Rarely updates </a:t>
              </a:r>
              <a:r>
                <a:rPr lang="en-US" dirty="0">
                  <a:solidFill>
                    <a:schemeClr val="bg1"/>
                  </a:solidFill>
                  <a:latin typeface="Segoe UI Light" panose="020B0502040204020203" pitchFamily="34" charset="0"/>
                  <a:cs typeface="Segoe UI Light" panose="020B0502040204020203" pitchFamily="34" charset="0"/>
                </a:rPr>
                <a:t>(once or twice a year)</a:t>
              </a:r>
            </a:p>
          </p:txBody>
        </p:sp>
        <p:sp>
          <p:nvSpPr>
            <p:cNvPr id="34" name="TextBox 33">
              <a:extLst>
                <a:ext uri="{FF2B5EF4-FFF2-40B4-BE49-F238E27FC236}">
                  <a16:creationId xmlns:a16="http://schemas.microsoft.com/office/drawing/2014/main" id="{4FDB1F98-D83E-4707-89B6-9A3CEF536A4C}"/>
                </a:ext>
              </a:extLst>
            </p:cNvPr>
            <p:cNvSpPr txBox="1"/>
            <p:nvPr/>
          </p:nvSpPr>
          <p:spPr>
            <a:xfrm>
              <a:off x="307817" y="2259071"/>
              <a:ext cx="4067780"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Interacting with </a:t>
              </a:r>
              <a:r>
                <a:rPr lang="sv-SE" dirty="0">
                  <a:solidFill>
                    <a:schemeClr val="bg1"/>
                  </a:solidFill>
                  <a:latin typeface="Segoe UI Light" panose="020B0502040204020203" pitchFamily="34" charset="0"/>
                  <a:cs typeface="Segoe UI Light" panose="020B0502040204020203" pitchFamily="34" charset="0"/>
                </a:rPr>
                <a:t>sensors &amp; business </a:t>
              </a:r>
              <a:r>
                <a:rPr lang="sv-SE" dirty="0" err="1">
                  <a:solidFill>
                    <a:schemeClr val="bg1"/>
                  </a:solidFill>
                  <a:latin typeface="Segoe UI Light" panose="020B0502040204020203" pitchFamily="34" charset="0"/>
                  <a:cs typeface="Segoe UI Light" panose="020B0502040204020203" pitchFamily="34" charset="0"/>
                </a:rPr>
                <a:t>logic</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FF0000"/>
                  </a:solidFill>
                  <a:latin typeface="Segoe UI Light" panose="020B0502040204020203" pitchFamily="34" charset="0"/>
                  <a:cs typeface="Segoe UI Light" panose="020B0502040204020203" pitchFamily="34" charset="0"/>
                </a:rPr>
                <a:t>Frequently</a:t>
              </a:r>
              <a:r>
                <a:rPr lang="en-US" dirty="0">
                  <a:solidFill>
                    <a:schemeClr val="bg1"/>
                  </a:solidFill>
                  <a:latin typeface="Segoe UI Light" panose="020B0502040204020203" pitchFamily="34" charset="0"/>
                  <a:cs typeface="Segoe UI Light" panose="020B0502040204020203" pitchFamily="34" charset="0"/>
                </a:rPr>
                <a:t> </a:t>
              </a:r>
              <a:r>
                <a:rPr lang="en-US" dirty="0">
                  <a:solidFill>
                    <a:srgbClr val="FF0000"/>
                  </a:solidFill>
                  <a:latin typeface="Segoe UI Light" panose="020B0502040204020203" pitchFamily="34" charset="0"/>
                  <a:cs typeface="Segoe UI Light" panose="020B0502040204020203" pitchFamily="34" charset="0"/>
                </a:rPr>
                <a:t>updates</a:t>
              </a:r>
              <a:r>
                <a:rPr lang="en-US" dirty="0">
                  <a:solidFill>
                    <a:schemeClr val="bg1"/>
                  </a:solidFill>
                  <a:latin typeface="Segoe UI Light" panose="020B0502040204020203" pitchFamily="34" charset="0"/>
                  <a:cs typeface="Segoe UI Light" panose="020B0502040204020203" pitchFamily="34" charset="0"/>
                </a:rPr>
                <a:t> (weekly)</a:t>
              </a:r>
            </a:p>
          </p:txBody>
        </p:sp>
        <p:grpSp>
          <p:nvGrpSpPr>
            <p:cNvPr id="7" name="Group 6">
              <a:extLst>
                <a:ext uri="{FF2B5EF4-FFF2-40B4-BE49-F238E27FC236}">
                  <a16:creationId xmlns:a16="http://schemas.microsoft.com/office/drawing/2014/main" id="{3922FF47-691D-4CA1-8D81-A9CA5C2C2325}"/>
                </a:ext>
              </a:extLst>
            </p:cNvPr>
            <p:cNvGrpSpPr/>
            <p:nvPr/>
          </p:nvGrpSpPr>
          <p:grpSpPr>
            <a:xfrm>
              <a:off x="307817" y="2942287"/>
              <a:ext cx="5133296" cy="785886"/>
              <a:chOff x="307817" y="2942287"/>
              <a:chExt cx="5133296" cy="785886"/>
            </a:xfrm>
          </p:grpSpPr>
          <p:sp>
            <p:nvSpPr>
              <p:cNvPr id="33" name="TextBox 32">
                <a:extLst>
                  <a:ext uri="{FF2B5EF4-FFF2-40B4-BE49-F238E27FC236}">
                    <a16:creationId xmlns:a16="http://schemas.microsoft.com/office/drawing/2014/main" id="{BB791236-12DD-4802-8B3E-D7CE84EFDC33}"/>
                  </a:ext>
                </a:extLst>
              </p:cNvPr>
              <p:cNvSpPr txBox="1"/>
              <p:nvPr/>
            </p:nvSpPr>
            <p:spPr>
              <a:xfrm>
                <a:off x="314325" y="3002694"/>
                <a:ext cx="5126788"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IoT </a:t>
                </a:r>
                <a:r>
                  <a:rPr lang="sv-SE" dirty="0" err="1">
                    <a:solidFill>
                      <a:schemeClr val="bg1"/>
                    </a:solidFill>
                    <a:latin typeface="Segoe UI Light" panose="020B0502040204020203" pitchFamily="34" charset="0"/>
                    <a:cs typeface="Segoe UI Light" panose="020B0502040204020203" pitchFamily="34" charset="0"/>
                  </a:rPr>
                  <a:t>Hub</a:t>
                </a:r>
                <a:r>
                  <a:rPr lang="sv-SE" dirty="0">
                    <a:solidFill>
                      <a:schemeClr val="bg1"/>
                    </a:solidFill>
                    <a:latin typeface="Segoe UI Light" panose="020B0502040204020203" pitchFamily="34" charset="0"/>
                    <a:cs typeface="Segoe UI Light" panose="020B0502040204020203" pitchFamily="34" charset="0"/>
                  </a:rPr>
                  <a:t> &amp; </a:t>
                </a:r>
                <a:r>
                  <a:rPr lang="en-US" dirty="0">
                    <a:solidFill>
                      <a:schemeClr val="bg1"/>
                    </a:solidFill>
                    <a:latin typeface="Segoe UI Light" panose="020B0502040204020203" pitchFamily="34" charset="0"/>
                    <a:cs typeface="Segoe UI Light" panose="020B0502040204020203" pitchFamily="34" charset="0"/>
                  </a:rPr>
                  <a:t>orchestration</a:t>
                </a:r>
                <a:r>
                  <a:rPr lang="sv-SE" dirty="0">
                    <a:solidFill>
                      <a:schemeClr val="bg1"/>
                    </a:solidFill>
                    <a:latin typeface="Segoe UI Light" panose="020B0502040204020203" pitchFamily="34" charset="0"/>
                    <a:cs typeface="Segoe UI Light" panose="020B0502040204020203" pitchFamily="34" charset="0"/>
                  </a:rPr>
                  <a:t> </a:t>
                </a:r>
                <a:r>
                  <a:rPr lang="sv-SE" dirty="0" err="1">
                    <a:solidFill>
                      <a:schemeClr val="bg1"/>
                    </a:solidFill>
                    <a:latin typeface="Segoe UI Light" panose="020B0502040204020203" pitchFamily="34" charset="0"/>
                    <a:cs typeface="Segoe UI Light" panose="020B0502040204020203" pitchFamily="34" charset="0"/>
                  </a:rPr>
                  <a:t>of</a:t>
                </a:r>
                <a:r>
                  <a:rPr lang="sv-SE" dirty="0">
                    <a:solidFill>
                      <a:schemeClr val="bg1"/>
                    </a:solidFill>
                    <a:latin typeface="Segoe UI Light" panose="020B0502040204020203" pitchFamily="34" charset="0"/>
                    <a:cs typeface="Segoe UI Light" panose="020B0502040204020203" pitchFamily="34" charset="0"/>
                  </a:rPr>
                  <a:t> services</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FFFF00"/>
                    </a:solidFill>
                    <a:latin typeface="Segoe UI Light" panose="020B0502040204020203" pitchFamily="34" charset="0"/>
                    <a:cs typeface="Segoe UI Light" panose="020B0502040204020203" pitchFamily="34" charset="0"/>
                  </a:rPr>
                  <a:t>Often updates </a:t>
                </a:r>
                <a:r>
                  <a:rPr lang="en-US" dirty="0">
                    <a:solidFill>
                      <a:schemeClr val="bg1"/>
                    </a:solidFill>
                    <a:latin typeface="Segoe UI Light" panose="020B0502040204020203" pitchFamily="34" charset="0"/>
                    <a:cs typeface="Segoe UI Light" panose="020B0502040204020203" pitchFamily="34" charset="0"/>
                  </a:rPr>
                  <a:t>(once or twice a month)</a:t>
                </a:r>
              </a:p>
            </p:txBody>
          </p:sp>
          <p:cxnSp>
            <p:nvCxnSpPr>
              <p:cNvPr id="5" name="Straight Connector 4">
                <a:extLst>
                  <a:ext uri="{FF2B5EF4-FFF2-40B4-BE49-F238E27FC236}">
                    <a16:creationId xmlns:a16="http://schemas.microsoft.com/office/drawing/2014/main" id="{472803F0-9D1C-4DAF-8BA8-1462350070E1}"/>
                  </a:ext>
                </a:extLst>
              </p:cNvPr>
              <p:cNvCxnSpPr/>
              <p:nvPr/>
            </p:nvCxnSpPr>
            <p:spPr>
              <a:xfrm>
                <a:off x="314325" y="3728173"/>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123616A-C839-4950-A27F-CD874A2C41B2}"/>
                  </a:ext>
                </a:extLst>
              </p:cNvPr>
              <p:cNvCxnSpPr/>
              <p:nvPr/>
            </p:nvCxnSpPr>
            <p:spPr>
              <a:xfrm>
                <a:off x="307817" y="2942287"/>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8" name="Rectangle 7">
            <a:extLst>
              <a:ext uri="{FF2B5EF4-FFF2-40B4-BE49-F238E27FC236}">
                <a16:creationId xmlns:a16="http://schemas.microsoft.com/office/drawing/2014/main" id="{AC86898A-B6C5-4B0A-B648-A93023D53D90}"/>
              </a:ext>
            </a:extLst>
          </p:cNvPr>
          <p:cNvSpPr/>
          <p:nvPr/>
        </p:nvSpPr>
        <p:spPr>
          <a:xfrm>
            <a:off x="1700056" y="3712175"/>
            <a:ext cx="4314294" cy="2392534"/>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8">
            <a:extLst>
              <a:ext uri="{FF2B5EF4-FFF2-40B4-BE49-F238E27FC236}">
                <a16:creationId xmlns:a16="http://schemas.microsoft.com/office/drawing/2014/main" id="{97CE7581-D763-4638-B71A-F010786868CA}"/>
              </a:ext>
            </a:extLst>
          </p:cNvPr>
          <p:cNvGrpSpPr/>
          <p:nvPr/>
        </p:nvGrpSpPr>
        <p:grpSpPr>
          <a:xfrm>
            <a:off x="6741818" y="3705643"/>
            <a:ext cx="3605400" cy="2351933"/>
            <a:chOff x="6741818" y="3191840"/>
            <a:chExt cx="3605400" cy="2351933"/>
          </a:xfrm>
        </p:grpSpPr>
        <p:pic>
          <p:nvPicPr>
            <p:cNvPr id="5122" name="Picture 2" descr="https://microservicebus.com/Images/ubuntusnaplogo.png">
              <a:extLst>
                <a:ext uri="{FF2B5EF4-FFF2-40B4-BE49-F238E27FC236}">
                  <a16:creationId xmlns:a16="http://schemas.microsoft.com/office/drawing/2014/main" id="{28D80B42-B844-49F4-9798-6444566082B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41818" y="4225745"/>
              <a:ext cx="3605400" cy="1318028"/>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https://microservicebus.com/Images/dockerlogo.png">
              <a:extLst>
                <a:ext uri="{FF2B5EF4-FFF2-40B4-BE49-F238E27FC236}">
                  <a16:creationId xmlns:a16="http://schemas.microsoft.com/office/drawing/2014/main" id="{E8E1633F-E9AD-4184-876C-1E82D788AAE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40091" y="3191840"/>
              <a:ext cx="3329327" cy="121710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476641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42" presetClass="path" presetSubtype="0" accel="50000" decel="50000" fill="hold" nodeType="withEffect">
                                  <p:stCondLst>
                                    <p:cond delay="0"/>
                                  </p:stCondLst>
                                  <p:childTnLst>
                                    <p:animMotion origin="layout" path="M -3.33333E-6 1.48148E-6 L -0.32942 -0.0007 " pathEditMode="relative" rAng="0" ptsTypes="AA">
                                      <p:cBhvr>
                                        <p:cTn id="9" dur="1000" fill="hold"/>
                                        <p:tgtEl>
                                          <p:spTgt spid="6"/>
                                        </p:tgtEl>
                                        <p:attrNameLst>
                                          <p:attrName>ppt_x</p:attrName>
                                          <p:attrName>ppt_y</p:attrName>
                                        </p:attrNameLst>
                                      </p:cBhvr>
                                      <p:rCtr x="-16471" y="-46"/>
                                    </p:animMotion>
                                  </p:childTnLst>
                                </p:cTn>
                              </p:par>
                            </p:childTnLst>
                          </p:cTn>
                        </p:par>
                        <p:par>
                          <p:cTn id="10" fill="hold">
                            <p:stCondLst>
                              <p:cond delay="1000"/>
                            </p:stCondLst>
                            <p:childTnLst>
                              <p:par>
                                <p:cTn id="11" presetID="10" presetClass="entr" presetSubtype="0" fill="hold" grpId="0" nodeType="after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a:xfrm>
            <a:off x="493241" y="220373"/>
            <a:ext cx="10515600" cy="754834"/>
          </a:xfrm>
        </p:spPr>
        <p:txBody>
          <a:bodyPr/>
          <a:lstStyle/>
          <a:p>
            <a:r>
              <a:rPr lang="en-US" dirty="0" err="1">
                <a:solidFill>
                  <a:schemeClr val="bg1"/>
                </a:solidFill>
              </a:rPr>
              <a:t>Yocto</a:t>
            </a:r>
            <a:r>
              <a:rPr lang="en-US" dirty="0">
                <a:solidFill>
                  <a:schemeClr val="bg1"/>
                </a:solidFill>
              </a:rPr>
              <a:t> Device Architecture</a:t>
            </a:r>
            <a:endParaRPr lang="sv-SE" dirty="0">
              <a:solidFill>
                <a:schemeClr val="bg1"/>
              </a:solidFill>
            </a:endParaRPr>
          </a:p>
        </p:txBody>
      </p:sp>
      <p:sp>
        <p:nvSpPr>
          <p:cNvPr id="64" name="Field gateway">
            <a:extLst>
              <a:ext uri="{FF2B5EF4-FFF2-40B4-BE49-F238E27FC236}">
                <a16:creationId xmlns:a16="http://schemas.microsoft.com/office/drawing/2014/main" id="{DB24A016-F316-4454-B657-EACF381B6286}"/>
              </a:ext>
            </a:extLst>
          </p:cNvPr>
          <p:cNvSpPr/>
          <p:nvPr/>
        </p:nvSpPr>
        <p:spPr>
          <a:xfrm>
            <a:off x="1197625" y="1400175"/>
            <a:ext cx="4533900" cy="502602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65" name="TextBox 64">
            <a:extLst>
              <a:ext uri="{FF2B5EF4-FFF2-40B4-BE49-F238E27FC236}">
                <a16:creationId xmlns:a16="http://schemas.microsoft.com/office/drawing/2014/main" id="{92C24F76-30B0-454A-919D-478D038F0D3B}"/>
              </a:ext>
            </a:extLst>
          </p:cNvPr>
          <p:cNvSpPr txBox="1"/>
          <p:nvPr/>
        </p:nvSpPr>
        <p:spPr>
          <a:xfrm>
            <a:off x="1226789" y="1504172"/>
            <a:ext cx="2132635" cy="572464"/>
          </a:xfrm>
          <a:prstGeom prst="rect">
            <a:avLst/>
          </a:prstGeom>
          <a:noFill/>
        </p:spPr>
        <p:txBody>
          <a:bodyPr wrap="none" lIns="182880" tIns="146304" rIns="182880" bIns="146304" rtlCol="0">
            <a:spAutoFit/>
          </a:bodyPr>
          <a:lstStyle/>
          <a:p>
            <a:pPr>
              <a:lnSpc>
                <a:spcPct val="90000"/>
              </a:lnSpc>
              <a:spcAft>
                <a:spcPts val="600"/>
              </a:spcAft>
            </a:pPr>
            <a:r>
              <a:rPr lang="en-US" sz="2000" kern="0" dirty="0">
                <a:solidFill>
                  <a:prstClr val="white"/>
                </a:solidFill>
                <a:latin typeface="Segoe UI Semibold" panose="020B0702040204020203" pitchFamily="34" charset="0"/>
                <a:cs typeface="Segoe UI" pitchFamily="34" charset="0"/>
              </a:rPr>
              <a:t>Görlitz </a:t>
            </a:r>
            <a:r>
              <a:rPr lang="en-US" sz="2000" kern="0" dirty="0" err="1">
                <a:solidFill>
                  <a:prstClr val="white"/>
                </a:solidFill>
                <a:latin typeface="Segoe UI Semibold" panose="020B0702040204020203" pitchFamily="34" charset="0"/>
                <a:cs typeface="Segoe UI" pitchFamily="34" charset="0"/>
              </a:rPr>
              <a:t>enQube</a:t>
            </a:r>
            <a:endParaRPr lang="en-US" sz="2000" kern="0" dirty="0">
              <a:solidFill>
                <a:prstClr val="white"/>
              </a:solidFill>
              <a:latin typeface="Segoe UI Semibold" panose="020B0702040204020203" pitchFamily="34" charset="0"/>
              <a:cs typeface="Segoe UI" pitchFamily="34" charset="0"/>
            </a:endParaRPr>
          </a:p>
        </p:txBody>
      </p:sp>
      <p:sp>
        <p:nvSpPr>
          <p:cNvPr id="66" name="Field gateway">
            <a:extLst>
              <a:ext uri="{FF2B5EF4-FFF2-40B4-BE49-F238E27FC236}">
                <a16:creationId xmlns:a16="http://schemas.microsoft.com/office/drawing/2014/main" id="{DA32623B-0792-4231-BE15-0F335DCF07CD}"/>
              </a:ext>
            </a:extLst>
          </p:cNvPr>
          <p:cNvSpPr/>
          <p:nvPr/>
        </p:nvSpPr>
        <p:spPr>
          <a:xfrm>
            <a:off x="1197625" y="1400174"/>
            <a:ext cx="9069445" cy="5026025"/>
          </a:xfrm>
          <a:prstGeom prst="rect">
            <a:avLst/>
          </a:prstGeom>
          <a:no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pic>
        <p:nvPicPr>
          <p:cNvPr id="67" name="Picture 66">
            <a:extLst>
              <a:ext uri="{FF2B5EF4-FFF2-40B4-BE49-F238E27FC236}">
                <a16:creationId xmlns:a16="http://schemas.microsoft.com/office/drawing/2014/main" id="{A0CB2C81-27CF-45F1-826B-643F37C94BE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82355" y="1527147"/>
            <a:ext cx="576075" cy="604212"/>
          </a:xfrm>
          <a:prstGeom prst="rect">
            <a:avLst/>
          </a:prstGeom>
        </p:spPr>
      </p:pic>
      <p:grpSp>
        <p:nvGrpSpPr>
          <p:cNvPr id="68" name="Group 67">
            <a:extLst>
              <a:ext uri="{FF2B5EF4-FFF2-40B4-BE49-F238E27FC236}">
                <a16:creationId xmlns:a16="http://schemas.microsoft.com/office/drawing/2014/main" id="{9BF02B63-BAD6-43C9-92DB-256553F36CB8}"/>
              </a:ext>
            </a:extLst>
          </p:cNvPr>
          <p:cNvGrpSpPr/>
          <p:nvPr/>
        </p:nvGrpSpPr>
        <p:grpSpPr>
          <a:xfrm>
            <a:off x="1295369" y="2247900"/>
            <a:ext cx="4335811" cy="4114800"/>
            <a:chOff x="1295369" y="2247900"/>
            <a:chExt cx="4335811" cy="4114800"/>
          </a:xfrm>
        </p:grpSpPr>
        <p:sp>
          <p:nvSpPr>
            <p:cNvPr id="69" name="Field gateway">
              <a:extLst>
                <a:ext uri="{FF2B5EF4-FFF2-40B4-BE49-F238E27FC236}">
                  <a16:creationId xmlns:a16="http://schemas.microsoft.com/office/drawing/2014/main" id="{A23E4375-143B-430A-8155-77A667654CD1}"/>
                </a:ext>
              </a:extLst>
            </p:cNvPr>
            <p:cNvSpPr/>
            <p:nvPr/>
          </p:nvSpPr>
          <p:spPr>
            <a:xfrm>
              <a:off x="1350025" y="5475546"/>
              <a:ext cx="4223493" cy="717457"/>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73" name="Field gateway">
              <a:extLst>
                <a:ext uri="{FF2B5EF4-FFF2-40B4-BE49-F238E27FC236}">
                  <a16:creationId xmlns:a16="http://schemas.microsoft.com/office/drawing/2014/main" id="{1ECA6B37-BC95-418E-B702-1354228FA143}"/>
                </a:ext>
              </a:extLst>
            </p:cNvPr>
            <p:cNvSpPr/>
            <p:nvPr/>
          </p:nvSpPr>
          <p:spPr>
            <a:xfrm>
              <a:off x="1350024" y="4689145"/>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74" name="Field gateway">
              <a:extLst>
                <a:ext uri="{FF2B5EF4-FFF2-40B4-BE49-F238E27FC236}">
                  <a16:creationId xmlns:a16="http://schemas.microsoft.com/office/drawing/2014/main" id="{4A421C5E-39C7-4031-B72B-DA146DB20124}"/>
                </a:ext>
              </a:extLst>
            </p:cNvPr>
            <p:cNvSpPr/>
            <p:nvPr/>
          </p:nvSpPr>
          <p:spPr>
            <a:xfrm>
              <a:off x="1350023" y="3902381"/>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75" name="Field gateway">
              <a:extLst>
                <a:ext uri="{FF2B5EF4-FFF2-40B4-BE49-F238E27FC236}">
                  <a16:creationId xmlns:a16="http://schemas.microsoft.com/office/drawing/2014/main" id="{B59CB5F6-E359-4375-BD14-D787D2BE08F9}"/>
                </a:ext>
              </a:extLst>
            </p:cNvPr>
            <p:cNvSpPr/>
            <p:nvPr/>
          </p:nvSpPr>
          <p:spPr>
            <a:xfrm>
              <a:off x="1350022" y="2436428"/>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78" name="Field gateway">
              <a:extLst>
                <a:ext uri="{FF2B5EF4-FFF2-40B4-BE49-F238E27FC236}">
                  <a16:creationId xmlns:a16="http://schemas.microsoft.com/office/drawing/2014/main" id="{9932308D-B35E-40C1-8574-0608FF5B9314}"/>
                </a:ext>
              </a:extLst>
            </p:cNvPr>
            <p:cNvSpPr/>
            <p:nvPr/>
          </p:nvSpPr>
          <p:spPr>
            <a:xfrm>
              <a:off x="2783534" y="2428449"/>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79" name="Field gateway">
              <a:extLst>
                <a:ext uri="{FF2B5EF4-FFF2-40B4-BE49-F238E27FC236}">
                  <a16:creationId xmlns:a16="http://schemas.microsoft.com/office/drawing/2014/main" id="{456E32A5-8600-45F4-9081-FE361AAE2904}"/>
                </a:ext>
              </a:extLst>
            </p:cNvPr>
            <p:cNvSpPr/>
            <p:nvPr/>
          </p:nvSpPr>
          <p:spPr>
            <a:xfrm>
              <a:off x="4207521" y="2420470"/>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grpSp>
          <p:nvGrpSpPr>
            <p:cNvPr id="80" name="Group 79">
              <a:extLst>
                <a:ext uri="{FF2B5EF4-FFF2-40B4-BE49-F238E27FC236}">
                  <a16:creationId xmlns:a16="http://schemas.microsoft.com/office/drawing/2014/main" id="{3A04EC49-FCBA-47C1-ABDE-1217C949E9CB}"/>
                </a:ext>
              </a:extLst>
            </p:cNvPr>
            <p:cNvGrpSpPr/>
            <p:nvPr/>
          </p:nvGrpSpPr>
          <p:grpSpPr>
            <a:xfrm>
              <a:off x="1348379" y="5479706"/>
              <a:ext cx="4223494" cy="717457"/>
              <a:chOff x="3952874" y="5097567"/>
              <a:chExt cx="4223494" cy="892872"/>
            </a:xfrm>
          </p:grpSpPr>
          <p:sp>
            <p:nvSpPr>
              <p:cNvPr id="95" name="Field gateway">
                <a:extLst>
                  <a:ext uri="{FF2B5EF4-FFF2-40B4-BE49-F238E27FC236}">
                    <a16:creationId xmlns:a16="http://schemas.microsoft.com/office/drawing/2014/main" id="{48928E1D-82E5-4B60-AC70-E839C3634E70}"/>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96" name="TextBox 95">
                <a:extLst>
                  <a:ext uri="{FF2B5EF4-FFF2-40B4-BE49-F238E27FC236}">
                    <a16:creationId xmlns:a16="http://schemas.microsoft.com/office/drawing/2014/main" id="{B725ECEC-B481-4313-915D-9C295DF23DBE}"/>
                  </a:ext>
                </a:extLst>
              </p:cNvPr>
              <p:cNvSpPr txBox="1"/>
              <p:nvPr/>
            </p:nvSpPr>
            <p:spPr>
              <a:xfrm>
                <a:off x="3952874" y="5199865"/>
                <a:ext cx="4223493" cy="677958"/>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rPr>
                  <a:t>Linux (Yocto)</a:t>
                </a:r>
              </a:p>
            </p:txBody>
          </p:sp>
        </p:grpSp>
        <p:grpSp>
          <p:nvGrpSpPr>
            <p:cNvPr id="81" name="Group 80">
              <a:extLst>
                <a:ext uri="{FF2B5EF4-FFF2-40B4-BE49-F238E27FC236}">
                  <a16:creationId xmlns:a16="http://schemas.microsoft.com/office/drawing/2014/main" id="{961931BE-715F-4D70-AC72-E3F5C9F46EC0}"/>
                </a:ext>
              </a:extLst>
            </p:cNvPr>
            <p:cNvGrpSpPr/>
            <p:nvPr/>
          </p:nvGrpSpPr>
          <p:grpSpPr>
            <a:xfrm>
              <a:off x="1348378" y="4693305"/>
              <a:ext cx="4223494" cy="718936"/>
              <a:chOff x="3952873" y="4097443"/>
              <a:chExt cx="4223494" cy="894713"/>
            </a:xfrm>
          </p:grpSpPr>
          <p:sp>
            <p:nvSpPr>
              <p:cNvPr id="93" name="Field gateway">
                <a:extLst>
                  <a:ext uri="{FF2B5EF4-FFF2-40B4-BE49-F238E27FC236}">
                    <a16:creationId xmlns:a16="http://schemas.microsoft.com/office/drawing/2014/main" id="{2F14A34D-BC7D-453C-888E-05A06F1F0325}"/>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94" name="TextBox 93">
                <a:extLst>
                  <a:ext uri="{FF2B5EF4-FFF2-40B4-BE49-F238E27FC236}">
                    <a16:creationId xmlns:a16="http://schemas.microsoft.com/office/drawing/2014/main" id="{C68606B3-8781-43CA-8301-F5BF7D83A7C3}"/>
                  </a:ext>
                </a:extLst>
              </p:cNvPr>
              <p:cNvSpPr txBox="1"/>
              <p:nvPr/>
            </p:nvSpPr>
            <p:spPr>
              <a:xfrm>
                <a:off x="3952873" y="4201582"/>
                <a:ext cx="4223493" cy="677958"/>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rPr>
                  <a:t>Node.js</a:t>
                </a:r>
              </a:p>
            </p:txBody>
          </p:sp>
        </p:grpSp>
        <p:grpSp>
          <p:nvGrpSpPr>
            <p:cNvPr id="82" name="Group 81">
              <a:extLst>
                <a:ext uri="{FF2B5EF4-FFF2-40B4-BE49-F238E27FC236}">
                  <a16:creationId xmlns:a16="http://schemas.microsoft.com/office/drawing/2014/main" id="{FF020EEB-3762-4153-A0EB-0F95CC1EDB30}"/>
                </a:ext>
              </a:extLst>
            </p:cNvPr>
            <p:cNvGrpSpPr/>
            <p:nvPr/>
          </p:nvGrpSpPr>
          <p:grpSpPr>
            <a:xfrm>
              <a:off x="1348377" y="3906541"/>
              <a:ext cx="4223494" cy="718936"/>
              <a:chOff x="3952872" y="3097319"/>
              <a:chExt cx="4223494" cy="894713"/>
            </a:xfrm>
          </p:grpSpPr>
          <p:sp>
            <p:nvSpPr>
              <p:cNvPr id="91" name="Field gateway">
                <a:extLst>
                  <a:ext uri="{FF2B5EF4-FFF2-40B4-BE49-F238E27FC236}">
                    <a16:creationId xmlns:a16="http://schemas.microsoft.com/office/drawing/2014/main" id="{9F187154-69A1-4E48-BE9A-28EED2711989}"/>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92" name="TextBox 91">
                <a:extLst>
                  <a:ext uri="{FF2B5EF4-FFF2-40B4-BE49-F238E27FC236}">
                    <a16:creationId xmlns:a16="http://schemas.microsoft.com/office/drawing/2014/main" id="{5E6042A2-52FE-4FAA-B926-9BDEE3496725}"/>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rPr>
                  <a:t>nod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endParaRPr>
              </a:p>
            </p:txBody>
          </p:sp>
        </p:grpSp>
        <p:sp>
          <p:nvSpPr>
            <p:cNvPr id="83" name="Field gateway">
              <a:extLst>
                <a:ext uri="{FF2B5EF4-FFF2-40B4-BE49-F238E27FC236}">
                  <a16:creationId xmlns:a16="http://schemas.microsoft.com/office/drawing/2014/main" id="{40B6B0C9-D752-48E7-AFC8-B9A6BA234D05}"/>
                </a:ext>
              </a:extLst>
            </p:cNvPr>
            <p:cNvSpPr/>
            <p:nvPr/>
          </p:nvSpPr>
          <p:spPr>
            <a:xfrm>
              <a:off x="1348377" y="2440588"/>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p>
          </p:txBody>
        </p:sp>
        <p:sp>
          <p:nvSpPr>
            <p:cNvPr id="84" name="Field gateway">
              <a:extLst>
                <a:ext uri="{FF2B5EF4-FFF2-40B4-BE49-F238E27FC236}">
                  <a16:creationId xmlns:a16="http://schemas.microsoft.com/office/drawing/2014/main" id="{61E87E75-32CD-4E37-8539-DF3FEB4C7248}"/>
                </a:ext>
              </a:extLst>
            </p:cNvPr>
            <p:cNvSpPr/>
            <p:nvPr/>
          </p:nvSpPr>
          <p:spPr>
            <a:xfrm>
              <a:off x="2781889" y="2432609"/>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p>
          </p:txBody>
        </p:sp>
        <p:sp>
          <p:nvSpPr>
            <p:cNvPr id="85" name="Field gateway">
              <a:extLst>
                <a:ext uri="{FF2B5EF4-FFF2-40B4-BE49-F238E27FC236}">
                  <a16:creationId xmlns:a16="http://schemas.microsoft.com/office/drawing/2014/main" id="{48660F7B-097E-4D82-AEEF-B3632CCEBA66}"/>
                </a:ext>
              </a:extLst>
            </p:cNvPr>
            <p:cNvSpPr/>
            <p:nvPr/>
          </p:nvSpPr>
          <p:spPr>
            <a:xfrm>
              <a:off x="4205876" y="2424630"/>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p>
          </p:txBody>
        </p:sp>
        <p:sp>
          <p:nvSpPr>
            <p:cNvPr id="86" name="Field gateway">
              <a:extLst>
                <a:ext uri="{FF2B5EF4-FFF2-40B4-BE49-F238E27FC236}">
                  <a16:creationId xmlns:a16="http://schemas.microsoft.com/office/drawing/2014/main" id="{F937A7F6-8F49-440A-85E5-9851802415FB}"/>
                </a:ext>
              </a:extLst>
            </p:cNvPr>
            <p:cNvSpPr/>
            <p:nvPr/>
          </p:nvSpPr>
          <p:spPr>
            <a:xfrm>
              <a:off x="1348377" y="3115554"/>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grpSp>
          <p:nvGrpSpPr>
            <p:cNvPr id="87" name="Group 86">
              <a:extLst>
                <a:ext uri="{FF2B5EF4-FFF2-40B4-BE49-F238E27FC236}">
                  <a16:creationId xmlns:a16="http://schemas.microsoft.com/office/drawing/2014/main" id="{878C48EA-C3EC-4A75-82BF-32C168239860}"/>
                </a:ext>
              </a:extLst>
            </p:cNvPr>
            <p:cNvGrpSpPr/>
            <p:nvPr/>
          </p:nvGrpSpPr>
          <p:grpSpPr>
            <a:xfrm>
              <a:off x="1346731" y="3119714"/>
              <a:ext cx="4223494" cy="718936"/>
              <a:chOff x="3952872" y="3097319"/>
              <a:chExt cx="4223494" cy="894713"/>
            </a:xfrm>
          </p:grpSpPr>
          <p:sp>
            <p:nvSpPr>
              <p:cNvPr id="89" name="Field gateway">
                <a:extLst>
                  <a:ext uri="{FF2B5EF4-FFF2-40B4-BE49-F238E27FC236}">
                    <a16:creationId xmlns:a16="http://schemas.microsoft.com/office/drawing/2014/main" id="{56D21C41-2027-4591-A7E3-0E461BB9982D}"/>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90" name="TextBox 89">
                <a:extLst>
                  <a:ext uri="{FF2B5EF4-FFF2-40B4-BE49-F238E27FC236}">
                    <a16:creationId xmlns:a16="http://schemas.microsoft.com/office/drawing/2014/main" id="{DD902934-7924-49CF-B954-5BFE55094D4D}"/>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rPr>
                  <a:t>cor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endParaRPr>
              </a:p>
            </p:txBody>
          </p:sp>
        </p:grpSp>
        <p:sp>
          <p:nvSpPr>
            <p:cNvPr id="88" name="Rectangle 87">
              <a:extLst>
                <a:ext uri="{FF2B5EF4-FFF2-40B4-BE49-F238E27FC236}">
                  <a16:creationId xmlns:a16="http://schemas.microsoft.com/office/drawing/2014/main" id="{C04D410E-2EF9-4D0D-ACBF-EA221CC727EE}"/>
                </a:ext>
              </a:extLst>
            </p:cNvPr>
            <p:cNvSpPr/>
            <p:nvPr/>
          </p:nvSpPr>
          <p:spPr bwMode="auto">
            <a:xfrm>
              <a:off x="1295369" y="2247900"/>
              <a:ext cx="4335811" cy="4114800"/>
            </a:xfrm>
            <a:prstGeom prst="rect">
              <a:avLst/>
            </a:prstGeom>
            <a:noFill/>
            <a:ln>
              <a:solidFill>
                <a:srgbClr val="E0F75C"/>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grpSp>
        <p:nvGrpSpPr>
          <p:cNvPr id="100" name="Group 99">
            <a:extLst>
              <a:ext uri="{FF2B5EF4-FFF2-40B4-BE49-F238E27FC236}">
                <a16:creationId xmlns:a16="http://schemas.microsoft.com/office/drawing/2014/main" id="{9C7FBE35-C956-472E-9BDC-DB412958443F}"/>
              </a:ext>
            </a:extLst>
          </p:cNvPr>
          <p:cNvGrpSpPr/>
          <p:nvPr/>
        </p:nvGrpSpPr>
        <p:grpSpPr>
          <a:xfrm>
            <a:off x="5849712" y="2232877"/>
            <a:ext cx="4335811" cy="4114800"/>
            <a:chOff x="1295369" y="2247900"/>
            <a:chExt cx="4335811" cy="4114800"/>
          </a:xfrm>
        </p:grpSpPr>
        <p:sp>
          <p:nvSpPr>
            <p:cNvPr id="101" name="Field gateway">
              <a:extLst>
                <a:ext uri="{FF2B5EF4-FFF2-40B4-BE49-F238E27FC236}">
                  <a16:creationId xmlns:a16="http://schemas.microsoft.com/office/drawing/2014/main" id="{B3507715-D320-4BC2-B3CF-297506582A7D}"/>
                </a:ext>
              </a:extLst>
            </p:cNvPr>
            <p:cNvSpPr/>
            <p:nvPr/>
          </p:nvSpPr>
          <p:spPr>
            <a:xfrm>
              <a:off x="1350025" y="5475546"/>
              <a:ext cx="4223493" cy="717457"/>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102" name="Field gateway">
              <a:extLst>
                <a:ext uri="{FF2B5EF4-FFF2-40B4-BE49-F238E27FC236}">
                  <a16:creationId xmlns:a16="http://schemas.microsoft.com/office/drawing/2014/main" id="{B50005CC-9F8B-40A4-86CE-C6644041DDDC}"/>
                </a:ext>
              </a:extLst>
            </p:cNvPr>
            <p:cNvSpPr/>
            <p:nvPr/>
          </p:nvSpPr>
          <p:spPr>
            <a:xfrm>
              <a:off x="1350024" y="4689145"/>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103" name="Field gateway">
              <a:extLst>
                <a:ext uri="{FF2B5EF4-FFF2-40B4-BE49-F238E27FC236}">
                  <a16:creationId xmlns:a16="http://schemas.microsoft.com/office/drawing/2014/main" id="{19149C18-0019-4AB0-B7FB-9188AF19DFF4}"/>
                </a:ext>
              </a:extLst>
            </p:cNvPr>
            <p:cNvSpPr/>
            <p:nvPr/>
          </p:nvSpPr>
          <p:spPr>
            <a:xfrm>
              <a:off x="1350023" y="3902381"/>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104" name="Field gateway">
              <a:extLst>
                <a:ext uri="{FF2B5EF4-FFF2-40B4-BE49-F238E27FC236}">
                  <a16:creationId xmlns:a16="http://schemas.microsoft.com/office/drawing/2014/main" id="{6B81F5FD-E90F-4C2D-842E-BBE422E02A19}"/>
                </a:ext>
              </a:extLst>
            </p:cNvPr>
            <p:cNvSpPr/>
            <p:nvPr/>
          </p:nvSpPr>
          <p:spPr>
            <a:xfrm>
              <a:off x="1350022" y="2436428"/>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105" name="Field gateway">
              <a:extLst>
                <a:ext uri="{FF2B5EF4-FFF2-40B4-BE49-F238E27FC236}">
                  <a16:creationId xmlns:a16="http://schemas.microsoft.com/office/drawing/2014/main" id="{A18DE95D-CDD2-430B-BA5E-516D86453F2F}"/>
                </a:ext>
              </a:extLst>
            </p:cNvPr>
            <p:cNvSpPr/>
            <p:nvPr/>
          </p:nvSpPr>
          <p:spPr>
            <a:xfrm>
              <a:off x="2783534" y="2428449"/>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106" name="Field gateway">
              <a:extLst>
                <a:ext uri="{FF2B5EF4-FFF2-40B4-BE49-F238E27FC236}">
                  <a16:creationId xmlns:a16="http://schemas.microsoft.com/office/drawing/2014/main" id="{C49F75D4-04B6-48B8-8827-9A2E02B8AB17}"/>
                </a:ext>
              </a:extLst>
            </p:cNvPr>
            <p:cNvSpPr/>
            <p:nvPr/>
          </p:nvSpPr>
          <p:spPr>
            <a:xfrm>
              <a:off x="4207521" y="2420470"/>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grpSp>
          <p:nvGrpSpPr>
            <p:cNvPr id="107" name="Group 106">
              <a:extLst>
                <a:ext uri="{FF2B5EF4-FFF2-40B4-BE49-F238E27FC236}">
                  <a16:creationId xmlns:a16="http://schemas.microsoft.com/office/drawing/2014/main" id="{90B09EAA-76BC-43B1-B733-AA8ECE26D042}"/>
                </a:ext>
              </a:extLst>
            </p:cNvPr>
            <p:cNvGrpSpPr/>
            <p:nvPr/>
          </p:nvGrpSpPr>
          <p:grpSpPr>
            <a:xfrm>
              <a:off x="1348379" y="5479706"/>
              <a:ext cx="4223494" cy="717457"/>
              <a:chOff x="3952874" y="5097567"/>
              <a:chExt cx="4223494" cy="892872"/>
            </a:xfrm>
          </p:grpSpPr>
          <p:sp>
            <p:nvSpPr>
              <p:cNvPr id="116" name="Field gateway">
                <a:extLst>
                  <a:ext uri="{FF2B5EF4-FFF2-40B4-BE49-F238E27FC236}">
                    <a16:creationId xmlns:a16="http://schemas.microsoft.com/office/drawing/2014/main" id="{F836D09B-830C-479B-9E26-4871C5AF28E3}"/>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117" name="TextBox 116">
                <a:extLst>
                  <a:ext uri="{FF2B5EF4-FFF2-40B4-BE49-F238E27FC236}">
                    <a16:creationId xmlns:a16="http://schemas.microsoft.com/office/drawing/2014/main" id="{82A9C3AD-12EC-4E3E-93F0-A6BBC1A2C3F6}"/>
                  </a:ext>
                </a:extLst>
              </p:cNvPr>
              <p:cNvSpPr txBox="1"/>
              <p:nvPr/>
            </p:nvSpPr>
            <p:spPr>
              <a:xfrm>
                <a:off x="3952874" y="5199865"/>
                <a:ext cx="4223493" cy="677958"/>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rPr>
                  <a:t>Linux (Yocto)</a:t>
                </a:r>
              </a:p>
            </p:txBody>
          </p:sp>
        </p:grpSp>
        <p:grpSp>
          <p:nvGrpSpPr>
            <p:cNvPr id="108" name="Group 107">
              <a:extLst>
                <a:ext uri="{FF2B5EF4-FFF2-40B4-BE49-F238E27FC236}">
                  <a16:creationId xmlns:a16="http://schemas.microsoft.com/office/drawing/2014/main" id="{1133A078-1549-4E1D-AEB9-85CF612B2BD0}"/>
                </a:ext>
              </a:extLst>
            </p:cNvPr>
            <p:cNvGrpSpPr/>
            <p:nvPr/>
          </p:nvGrpSpPr>
          <p:grpSpPr>
            <a:xfrm>
              <a:off x="1348378" y="4693305"/>
              <a:ext cx="4223494" cy="718936"/>
              <a:chOff x="3952873" y="4097443"/>
              <a:chExt cx="4223494" cy="894713"/>
            </a:xfrm>
          </p:grpSpPr>
          <p:sp>
            <p:nvSpPr>
              <p:cNvPr id="114" name="Field gateway">
                <a:extLst>
                  <a:ext uri="{FF2B5EF4-FFF2-40B4-BE49-F238E27FC236}">
                    <a16:creationId xmlns:a16="http://schemas.microsoft.com/office/drawing/2014/main" id="{BD7406D4-2E6B-4F8A-A4E7-324B2D0DACE7}"/>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115" name="TextBox 114">
                <a:extLst>
                  <a:ext uri="{FF2B5EF4-FFF2-40B4-BE49-F238E27FC236}">
                    <a16:creationId xmlns:a16="http://schemas.microsoft.com/office/drawing/2014/main" id="{EEC5A5FA-8D01-4990-8D90-F76C3F6829C4}"/>
                  </a:ext>
                </a:extLst>
              </p:cNvPr>
              <p:cNvSpPr txBox="1"/>
              <p:nvPr/>
            </p:nvSpPr>
            <p:spPr>
              <a:xfrm>
                <a:off x="3952873" y="4201582"/>
                <a:ext cx="4223493" cy="677958"/>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rPr>
                  <a:t>Node.js</a:t>
                </a:r>
              </a:p>
            </p:txBody>
          </p:sp>
        </p:grpSp>
        <p:grpSp>
          <p:nvGrpSpPr>
            <p:cNvPr id="109" name="Group 108">
              <a:extLst>
                <a:ext uri="{FF2B5EF4-FFF2-40B4-BE49-F238E27FC236}">
                  <a16:creationId xmlns:a16="http://schemas.microsoft.com/office/drawing/2014/main" id="{DCD282B0-A017-41EF-855B-F4024C3935ED}"/>
                </a:ext>
              </a:extLst>
            </p:cNvPr>
            <p:cNvGrpSpPr/>
            <p:nvPr/>
          </p:nvGrpSpPr>
          <p:grpSpPr>
            <a:xfrm>
              <a:off x="1348377" y="3906541"/>
              <a:ext cx="4223494" cy="718936"/>
              <a:chOff x="3952872" y="3097319"/>
              <a:chExt cx="4223494" cy="894713"/>
            </a:xfrm>
          </p:grpSpPr>
          <p:sp>
            <p:nvSpPr>
              <p:cNvPr id="112" name="Field gateway">
                <a:extLst>
                  <a:ext uri="{FF2B5EF4-FFF2-40B4-BE49-F238E27FC236}">
                    <a16:creationId xmlns:a16="http://schemas.microsoft.com/office/drawing/2014/main" id="{00CC5FCF-C3B5-4BD4-8B2E-9C10D8EB58FF}"/>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113" name="TextBox 112">
                <a:extLst>
                  <a:ext uri="{FF2B5EF4-FFF2-40B4-BE49-F238E27FC236}">
                    <a16:creationId xmlns:a16="http://schemas.microsoft.com/office/drawing/2014/main" id="{F4C71B35-769C-4FE9-AD61-16E0E2BDA160}"/>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rPr>
                  <a:t>nod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endParaRPr>
              </a:p>
            </p:txBody>
          </p:sp>
        </p:grpSp>
        <p:sp>
          <p:nvSpPr>
            <p:cNvPr id="110" name="Field gateway">
              <a:extLst>
                <a:ext uri="{FF2B5EF4-FFF2-40B4-BE49-F238E27FC236}">
                  <a16:creationId xmlns:a16="http://schemas.microsoft.com/office/drawing/2014/main" id="{E8678440-1536-48AB-BB43-B94A2986D9D2}"/>
                </a:ext>
              </a:extLst>
            </p:cNvPr>
            <p:cNvSpPr/>
            <p:nvPr/>
          </p:nvSpPr>
          <p:spPr>
            <a:xfrm>
              <a:off x="1348377" y="3115554"/>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111" name="Rectangle 110">
              <a:extLst>
                <a:ext uri="{FF2B5EF4-FFF2-40B4-BE49-F238E27FC236}">
                  <a16:creationId xmlns:a16="http://schemas.microsoft.com/office/drawing/2014/main" id="{01387703-DCF0-4CBD-A5B9-AE500BBC8D80}"/>
                </a:ext>
              </a:extLst>
            </p:cNvPr>
            <p:cNvSpPr/>
            <p:nvPr/>
          </p:nvSpPr>
          <p:spPr bwMode="auto">
            <a:xfrm>
              <a:off x="1295369" y="2247900"/>
              <a:ext cx="4335811" cy="4114800"/>
            </a:xfrm>
            <a:prstGeom prst="rect">
              <a:avLst/>
            </a:prstGeom>
            <a:noFill/>
            <a:ln>
              <a:solidFill>
                <a:srgbClr val="E0F75C"/>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sp>
        <p:nvSpPr>
          <p:cNvPr id="118" name="Rectangle 117">
            <a:extLst>
              <a:ext uri="{FF2B5EF4-FFF2-40B4-BE49-F238E27FC236}">
                <a16:creationId xmlns:a16="http://schemas.microsoft.com/office/drawing/2014/main" id="{E5626521-39AC-492F-A829-C5364756AACD}"/>
              </a:ext>
            </a:extLst>
          </p:cNvPr>
          <p:cNvSpPr/>
          <p:nvPr/>
        </p:nvSpPr>
        <p:spPr bwMode="auto">
          <a:xfrm>
            <a:off x="1346731" y="2264090"/>
            <a:ext cx="4245611" cy="4012885"/>
          </a:xfrm>
          <a:prstGeom prst="rect">
            <a:avLst/>
          </a:prstGeom>
          <a:solidFill>
            <a:srgbClr val="00162E">
              <a:alpha val="78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119" name="Group 118">
            <a:extLst>
              <a:ext uri="{FF2B5EF4-FFF2-40B4-BE49-F238E27FC236}">
                <a16:creationId xmlns:a16="http://schemas.microsoft.com/office/drawing/2014/main" id="{248D6928-967D-4B8A-A006-0797A9D4395C}"/>
              </a:ext>
            </a:extLst>
          </p:cNvPr>
          <p:cNvGrpSpPr/>
          <p:nvPr/>
        </p:nvGrpSpPr>
        <p:grpSpPr>
          <a:xfrm>
            <a:off x="5912950" y="2411533"/>
            <a:ext cx="4223494" cy="1414020"/>
            <a:chOff x="5899518" y="-1638119"/>
            <a:chExt cx="4223494" cy="1414020"/>
          </a:xfrm>
        </p:grpSpPr>
        <p:sp>
          <p:nvSpPr>
            <p:cNvPr id="120" name="Field gateway">
              <a:extLst>
                <a:ext uri="{FF2B5EF4-FFF2-40B4-BE49-F238E27FC236}">
                  <a16:creationId xmlns:a16="http://schemas.microsoft.com/office/drawing/2014/main" id="{7E132A9D-F859-43D3-85B9-1B0D1219796C}"/>
                </a:ext>
              </a:extLst>
            </p:cNvPr>
            <p:cNvSpPr/>
            <p:nvPr/>
          </p:nvSpPr>
          <p:spPr>
            <a:xfrm>
              <a:off x="5901164" y="-1622161"/>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p>
          </p:txBody>
        </p:sp>
        <p:sp>
          <p:nvSpPr>
            <p:cNvPr id="121" name="Field gateway">
              <a:extLst>
                <a:ext uri="{FF2B5EF4-FFF2-40B4-BE49-F238E27FC236}">
                  <a16:creationId xmlns:a16="http://schemas.microsoft.com/office/drawing/2014/main" id="{C5D8C009-3367-4B17-B5CC-93E2C08663B1}"/>
                </a:ext>
              </a:extLst>
            </p:cNvPr>
            <p:cNvSpPr/>
            <p:nvPr/>
          </p:nvSpPr>
          <p:spPr>
            <a:xfrm>
              <a:off x="7334676" y="-1630140"/>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p>
          </p:txBody>
        </p:sp>
        <p:sp>
          <p:nvSpPr>
            <p:cNvPr id="122" name="Field gateway">
              <a:extLst>
                <a:ext uri="{FF2B5EF4-FFF2-40B4-BE49-F238E27FC236}">
                  <a16:creationId xmlns:a16="http://schemas.microsoft.com/office/drawing/2014/main" id="{5D065BC9-85ED-4A4A-B7A5-84527C49E2DA}"/>
                </a:ext>
              </a:extLst>
            </p:cNvPr>
            <p:cNvSpPr/>
            <p:nvPr/>
          </p:nvSpPr>
          <p:spPr>
            <a:xfrm>
              <a:off x="8758663" y="-1638119"/>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p>
          </p:txBody>
        </p:sp>
        <p:sp>
          <p:nvSpPr>
            <p:cNvPr id="123" name="Field gateway">
              <a:extLst>
                <a:ext uri="{FF2B5EF4-FFF2-40B4-BE49-F238E27FC236}">
                  <a16:creationId xmlns:a16="http://schemas.microsoft.com/office/drawing/2014/main" id="{0AF33E87-F9D7-4B15-9299-D75A9904F342}"/>
                </a:ext>
              </a:extLst>
            </p:cNvPr>
            <p:cNvSpPr/>
            <p:nvPr/>
          </p:nvSpPr>
          <p:spPr>
            <a:xfrm>
              <a:off x="5899519" y="-943035"/>
              <a:ext cx="4223493" cy="718936"/>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124" name="TextBox 123">
              <a:extLst>
                <a:ext uri="{FF2B5EF4-FFF2-40B4-BE49-F238E27FC236}">
                  <a16:creationId xmlns:a16="http://schemas.microsoft.com/office/drawing/2014/main" id="{D499E9F4-AD6D-49C9-A811-5254C479BB55}"/>
                </a:ext>
              </a:extLst>
            </p:cNvPr>
            <p:cNvSpPr txBox="1"/>
            <p:nvPr/>
          </p:nvSpPr>
          <p:spPr>
            <a:xfrm>
              <a:off x="5899518" y="-819424"/>
              <a:ext cx="4223493" cy="5447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rPr>
                <a:t>cor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endParaRPr>
            </a:p>
          </p:txBody>
        </p:sp>
      </p:grpSp>
      <p:sp>
        <p:nvSpPr>
          <p:cNvPr id="125" name="Rectangle 124">
            <a:extLst>
              <a:ext uri="{FF2B5EF4-FFF2-40B4-BE49-F238E27FC236}">
                <a16:creationId xmlns:a16="http://schemas.microsoft.com/office/drawing/2014/main" id="{3825D7A5-00F6-4ED2-AB55-CB2DEE3D846C}"/>
              </a:ext>
            </a:extLst>
          </p:cNvPr>
          <p:cNvSpPr/>
          <p:nvPr/>
        </p:nvSpPr>
        <p:spPr bwMode="auto">
          <a:xfrm>
            <a:off x="5909684" y="2318704"/>
            <a:ext cx="4245611" cy="4012885"/>
          </a:xfrm>
          <a:prstGeom prst="rect">
            <a:avLst/>
          </a:prstGeom>
          <a:solidFill>
            <a:srgbClr val="00162E">
              <a:alpha val="78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97" name="Group 96">
            <a:extLst>
              <a:ext uri="{FF2B5EF4-FFF2-40B4-BE49-F238E27FC236}">
                <a16:creationId xmlns:a16="http://schemas.microsoft.com/office/drawing/2014/main" id="{0BAA7050-1A44-4D3C-8313-E3E9BDBD4B25}"/>
              </a:ext>
            </a:extLst>
          </p:cNvPr>
          <p:cNvGrpSpPr/>
          <p:nvPr/>
        </p:nvGrpSpPr>
        <p:grpSpPr>
          <a:xfrm>
            <a:off x="5903160" y="3800392"/>
            <a:ext cx="2247256" cy="2574610"/>
            <a:chOff x="5829268" y="3788090"/>
            <a:chExt cx="2247256" cy="2574610"/>
          </a:xfrm>
        </p:grpSpPr>
        <p:sp>
          <p:nvSpPr>
            <p:cNvPr id="98" name="Left Brace 97">
              <a:extLst>
                <a:ext uri="{FF2B5EF4-FFF2-40B4-BE49-F238E27FC236}">
                  <a16:creationId xmlns:a16="http://schemas.microsoft.com/office/drawing/2014/main" id="{287B573D-4B55-4B63-A428-AFEF26EEF3F8}"/>
                </a:ext>
              </a:extLst>
            </p:cNvPr>
            <p:cNvSpPr/>
            <p:nvPr/>
          </p:nvSpPr>
          <p:spPr>
            <a:xfrm flipH="1">
              <a:off x="5829268" y="3788090"/>
              <a:ext cx="265086" cy="2574610"/>
            </a:xfrm>
            <a:prstGeom prst="leftBrace">
              <a:avLst/>
            </a:prstGeom>
            <a:ln>
              <a:solidFill>
                <a:srgbClr val="FFFF0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9" name="TextBox 98">
              <a:extLst>
                <a:ext uri="{FF2B5EF4-FFF2-40B4-BE49-F238E27FC236}">
                  <a16:creationId xmlns:a16="http://schemas.microsoft.com/office/drawing/2014/main" id="{531A6ED5-9A2A-4239-8C1A-C569F4654BAD}"/>
                </a:ext>
              </a:extLst>
            </p:cNvPr>
            <p:cNvSpPr txBox="1"/>
            <p:nvPr/>
          </p:nvSpPr>
          <p:spPr>
            <a:xfrm>
              <a:off x="6192097" y="4761463"/>
              <a:ext cx="1884427" cy="627864"/>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chemeClr val="bg1"/>
                  </a:solidFill>
                </a:rPr>
                <a:t>Yocto Image</a:t>
              </a:r>
            </a:p>
          </p:txBody>
        </p:sp>
      </p:grpSp>
    </p:spTree>
    <p:extLst>
      <p:ext uri="{BB962C8B-B14F-4D97-AF65-F5344CB8AC3E}">
        <p14:creationId xmlns:p14="http://schemas.microsoft.com/office/powerpoint/2010/main" val="20974990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7"/>
                                        </p:tgtEl>
                                        <p:attrNameLst>
                                          <p:attrName>style.visibility</p:attrName>
                                        </p:attrNameLst>
                                      </p:cBhvr>
                                      <p:to>
                                        <p:strVal val="visible"/>
                                      </p:to>
                                    </p:set>
                                    <p:animEffect transition="in" filter="fade">
                                      <p:cBhvr>
                                        <p:cTn id="7" dur="500"/>
                                        <p:tgtEl>
                                          <p:spTgt spid="9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nodeType="clickEffect">
                                  <p:stCondLst>
                                    <p:cond delay="0"/>
                                  </p:stCondLst>
                                  <p:childTnLst>
                                    <p:animEffect transition="out" filter="fade">
                                      <p:cBhvr>
                                        <p:cTn id="11" dur="500"/>
                                        <p:tgtEl>
                                          <p:spTgt spid="97"/>
                                        </p:tgtEl>
                                      </p:cBhvr>
                                    </p:animEffect>
                                    <p:set>
                                      <p:cBhvr>
                                        <p:cTn id="12" dur="1" fill="hold">
                                          <p:stCondLst>
                                            <p:cond delay="499"/>
                                          </p:stCondLst>
                                        </p:cTn>
                                        <p:tgtEl>
                                          <p:spTgt spid="97"/>
                                        </p:tgtEl>
                                        <p:attrNameLst>
                                          <p:attrName>style.visibility</p:attrName>
                                        </p:attrNameLst>
                                      </p:cBhvr>
                                      <p:to>
                                        <p:strVal val="hidden"/>
                                      </p:to>
                                    </p:set>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66"/>
                                        </p:tgtEl>
                                        <p:attrNameLst>
                                          <p:attrName>style.visibility</p:attrName>
                                        </p:attrNameLst>
                                      </p:cBhvr>
                                      <p:to>
                                        <p:strVal val="visible"/>
                                      </p:to>
                                    </p:set>
                                    <p:animEffect transition="in" filter="fade">
                                      <p:cBhvr>
                                        <p:cTn id="16" dur="500"/>
                                        <p:tgtEl>
                                          <p:spTgt spid="66"/>
                                        </p:tgtEl>
                                      </p:cBhvr>
                                    </p:animEffect>
                                  </p:childTnLst>
                                </p:cTn>
                              </p:par>
                              <p:par>
                                <p:cTn id="17" presetID="10" presetClass="exit" presetSubtype="0" fill="hold" grpId="0" nodeType="withEffect">
                                  <p:stCondLst>
                                    <p:cond delay="0"/>
                                  </p:stCondLst>
                                  <p:childTnLst>
                                    <p:animEffect transition="out" filter="fade">
                                      <p:cBhvr>
                                        <p:cTn id="18" dur="500"/>
                                        <p:tgtEl>
                                          <p:spTgt spid="64"/>
                                        </p:tgtEl>
                                      </p:cBhvr>
                                    </p:animEffect>
                                    <p:set>
                                      <p:cBhvr>
                                        <p:cTn id="19" dur="1" fill="hold">
                                          <p:stCondLst>
                                            <p:cond delay="499"/>
                                          </p:stCondLst>
                                        </p:cTn>
                                        <p:tgtEl>
                                          <p:spTgt spid="64"/>
                                        </p:tgtEl>
                                        <p:attrNameLst>
                                          <p:attrName>style.visibility</p:attrName>
                                        </p:attrNameLst>
                                      </p:cBhvr>
                                      <p:to>
                                        <p:strVal val="hidden"/>
                                      </p:to>
                                    </p:se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125"/>
                                        </p:tgtEl>
                                        <p:attrNameLst>
                                          <p:attrName>style.visibility</p:attrName>
                                        </p:attrNameLst>
                                      </p:cBhvr>
                                      <p:to>
                                        <p:strVal val="visible"/>
                                      </p:to>
                                    </p:set>
                                    <p:animEffect transition="in" filter="fade">
                                      <p:cBhvr>
                                        <p:cTn id="24" dur="500"/>
                                        <p:tgtEl>
                                          <p:spTgt spid="125"/>
                                        </p:tgtEl>
                                      </p:cBhvr>
                                    </p:animEffect>
                                  </p:childTnLst>
                                </p:cTn>
                              </p:par>
                            </p:childTnLst>
                          </p:cTn>
                        </p:par>
                        <p:par>
                          <p:cTn id="25" fill="hold">
                            <p:stCondLst>
                              <p:cond delay="500"/>
                            </p:stCondLst>
                            <p:childTnLst>
                              <p:par>
                                <p:cTn id="26" presetID="10" presetClass="entr" presetSubtype="0" fill="hold" nodeType="afterEffect">
                                  <p:stCondLst>
                                    <p:cond delay="0"/>
                                  </p:stCondLst>
                                  <p:childTnLst>
                                    <p:set>
                                      <p:cBhvr>
                                        <p:cTn id="27" dur="1" fill="hold">
                                          <p:stCondLst>
                                            <p:cond delay="0"/>
                                          </p:stCondLst>
                                        </p:cTn>
                                        <p:tgtEl>
                                          <p:spTgt spid="100"/>
                                        </p:tgtEl>
                                        <p:attrNameLst>
                                          <p:attrName>style.visibility</p:attrName>
                                        </p:attrNameLst>
                                      </p:cBhvr>
                                      <p:to>
                                        <p:strVal val="visible"/>
                                      </p:to>
                                    </p:set>
                                    <p:animEffect transition="in" filter="fade">
                                      <p:cBhvr>
                                        <p:cTn id="28" dur="500"/>
                                        <p:tgtEl>
                                          <p:spTgt spid="100"/>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118"/>
                                        </p:tgtEl>
                                        <p:attrNameLst>
                                          <p:attrName>style.visibility</p:attrName>
                                        </p:attrNameLst>
                                      </p:cBhvr>
                                      <p:to>
                                        <p:strVal val="visible"/>
                                      </p:to>
                                    </p:set>
                                    <p:animEffect transition="in" filter="fade">
                                      <p:cBhvr>
                                        <p:cTn id="33" dur="500"/>
                                        <p:tgtEl>
                                          <p:spTgt spid="118"/>
                                        </p:tgtEl>
                                      </p:cBhvr>
                                    </p:animEffect>
                                  </p:childTnLst>
                                </p:cTn>
                              </p:par>
                              <p:par>
                                <p:cTn id="34" presetID="10" presetClass="exit" presetSubtype="0" fill="hold" grpId="1" nodeType="withEffect">
                                  <p:stCondLst>
                                    <p:cond delay="0"/>
                                  </p:stCondLst>
                                  <p:childTnLst>
                                    <p:animEffect transition="out" filter="fade">
                                      <p:cBhvr>
                                        <p:cTn id="35" dur="500"/>
                                        <p:tgtEl>
                                          <p:spTgt spid="125"/>
                                        </p:tgtEl>
                                      </p:cBhvr>
                                    </p:animEffect>
                                    <p:set>
                                      <p:cBhvr>
                                        <p:cTn id="36" dur="1" fill="hold">
                                          <p:stCondLst>
                                            <p:cond delay="499"/>
                                          </p:stCondLst>
                                        </p:cTn>
                                        <p:tgtEl>
                                          <p:spTgt spid="125"/>
                                        </p:tgtEl>
                                        <p:attrNameLst>
                                          <p:attrName>style.visibility</p:attrName>
                                        </p:attrNameLst>
                                      </p:cBhvr>
                                      <p:to>
                                        <p:strVal val="hidden"/>
                                      </p:to>
                                    </p:se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19"/>
                                        </p:tgtEl>
                                        <p:attrNameLst>
                                          <p:attrName>style.visibility</p:attrName>
                                        </p:attrNameLst>
                                      </p:cBhvr>
                                      <p:to>
                                        <p:strVal val="visible"/>
                                      </p:to>
                                    </p:set>
                                    <p:animEffect transition="in" filter="fade">
                                      <p:cBhvr>
                                        <p:cTn id="41" dur="500"/>
                                        <p:tgtEl>
                                          <p:spTgt spid="1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P spid="66" grpId="0" animBg="1"/>
      <p:bldP spid="118" grpId="0" animBg="1"/>
      <p:bldP spid="125" grpId="0" animBg="1"/>
      <p:bldP spid="125" grpId="1"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C2517D-7747-46A7-9CA9-2472EEF6E150}"/>
              </a:ext>
            </a:extLst>
          </p:cNvPr>
          <p:cNvSpPr>
            <a:spLocks noGrp="1"/>
          </p:cNvSpPr>
          <p:nvPr>
            <p:ph type="title"/>
          </p:nvPr>
        </p:nvSpPr>
        <p:spPr/>
        <p:txBody>
          <a:bodyPr/>
          <a:lstStyle/>
          <a:p>
            <a:r>
              <a:rPr lang="sv-SE" dirty="0" err="1"/>
              <a:t>GitHub</a:t>
            </a:r>
            <a:r>
              <a:rPr lang="sv-SE" dirty="0"/>
              <a:t> </a:t>
            </a:r>
            <a:r>
              <a:rPr lang="sv-SE" dirty="0" err="1"/>
              <a:t>Repos</a:t>
            </a:r>
            <a:r>
              <a:rPr lang="sv-SE" dirty="0"/>
              <a:t>:</a:t>
            </a:r>
            <a:endParaRPr lang="en-US" dirty="0"/>
          </a:p>
        </p:txBody>
      </p:sp>
      <p:sp>
        <p:nvSpPr>
          <p:cNvPr id="3" name="TextBox 2">
            <a:extLst>
              <a:ext uri="{FF2B5EF4-FFF2-40B4-BE49-F238E27FC236}">
                <a16:creationId xmlns:a16="http://schemas.microsoft.com/office/drawing/2014/main" id="{2F7EC8AE-78E6-4C90-8437-FE805234B5EE}"/>
              </a:ext>
            </a:extLst>
          </p:cNvPr>
          <p:cNvSpPr txBox="1"/>
          <p:nvPr/>
        </p:nvSpPr>
        <p:spPr>
          <a:xfrm>
            <a:off x="2499360" y="1124086"/>
            <a:ext cx="8455333" cy="4832092"/>
          </a:xfrm>
          <a:prstGeom prst="rect">
            <a:avLst/>
          </a:prstGeom>
          <a:noFill/>
        </p:spPr>
        <p:txBody>
          <a:bodyPr wrap="square" rtlCol="0">
            <a:spAutoFit/>
          </a:bodyPr>
          <a:lstStyle/>
          <a:p>
            <a:pPr marL="285750" indent="-285750">
              <a:buFont typeface="Arial" panose="020B0604020202020204" pitchFamily="34" charset="0"/>
              <a:buChar char="•"/>
            </a:pPr>
            <a:r>
              <a:rPr lang="sv-SE" sz="2800" dirty="0">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microservicebus.</a:t>
            </a:r>
            <a:r>
              <a:rPr lang="sv-SE" sz="2800" b="1" dirty="0">
                <a:solidFill>
                  <a:schemeClr val="bg1"/>
                </a:solidFill>
                <a:latin typeface="Segoe UI Light" panose="020B0502040204020203" pitchFamily="34" charset="0"/>
                <a:cs typeface="Segoe UI Light" panose="020B0502040204020203" pitchFamily="34" charset="0"/>
              </a:rPr>
              <a:t>com</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rgbClr val="FF0000"/>
                </a:solidFill>
                <a:latin typeface="Segoe UI Light" panose="020B0502040204020203" pitchFamily="34" charset="0"/>
                <a:cs typeface="Segoe UI Light" panose="020B0502040204020203" pitchFamily="34" charset="0"/>
              </a:rPr>
              <a:t>private</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functions</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rgbClr val="FF0000"/>
                </a:solidFill>
                <a:latin typeface="Segoe UI Light" panose="020B0502040204020203" pitchFamily="34" charset="0"/>
                <a:cs typeface="Segoe UI Light" panose="020B0502040204020203" pitchFamily="34" charset="0"/>
              </a:rPr>
              <a:t>private</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microservicebus.</a:t>
            </a:r>
            <a:r>
              <a:rPr lang="sv-SE" sz="2800" b="1" dirty="0">
                <a:solidFill>
                  <a:schemeClr val="bg1"/>
                </a:solidFill>
                <a:latin typeface="Segoe UI Light" panose="020B0502040204020203" pitchFamily="34" charset="0"/>
                <a:cs typeface="Segoe UI Light" panose="020B0502040204020203" pitchFamily="34" charset="0"/>
              </a:rPr>
              <a:t>node</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core</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mbed</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gccbuild</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snippets</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rootservices</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tutorial</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docs</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endParaRPr lang="en-US" sz="2800" dirty="0">
              <a:solidFill>
                <a:schemeClr val="bg1"/>
              </a:solidFill>
              <a:latin typeface="Segoe UI Light" panose="020B0502040204020203" pitchFamily="34" charset="0"/>
              <a:cs typeface="Segoe UI Light" panose="020B0502040204020203" pitchFamily="34" charset="0"/>
            </a:endParaRPr>
          </a:p>
        </p:txBody>
      </p:sp>
      <p:sp>
        <p:nvSpPr>
          <p:cNvPr id="4" name="TextBox 3">
            <a:extLst>
              <a:ext uri="{FF2B5EF4-FFF2-40B4-BE49-F238E27FC236}">
                <a16:creationId xmlns:a16="http://schemas.microsoft.com/office/drawing/2014/main" id="{D9E9F107-E756-4B57-B003-F5B3389F9DA6}"/>
              </a:ext>
            </a:extLst>
          </p:cNvPr>
          <p:cNvSpPr txBox="1"/>
          <p:nvPr/>
        </p:nvSpPr>
        <p:spPr>
          <a:xfrm>
            <a:off x="0" y="5556068"/>
            <a:ext cx="12179500" cy="830997"/>
          </a:xfrm>
          <a:prstGeom prst="rect">
            <a:avLst/>
          </a:prstGeom>
          <a:noFill/>
        </p:spPr>
        <p:txBody>
          <a:bodyPr wrap="square" rtlCol="0">
            <a:spAutoFit/>
          </a:bodyPr>
          <a:lstStyle/>
          <a:p>
            <a:pPr algn="ctr"/>
            <a:r>
              <a:rPr lang="en-US" sz="4800" dirty="0">
                <a:solidFill>
                  <a:schemeClr val="bg1"/>
                </a:solidFill>
              </a:rPr>
              <a:t>You are more than welcome to help out!</a:t>
            </a:r>
          </a:p>
        </p:txBody>
      </p:sp>
    </p:spTree>
    <p:extLst>
      <p:ext uri="{BB962C8B-B14F-4D97-AF65-F5344CB8AC3E}">
        <p14:creationId xmlns:p14="http://schemas.microsoft.com/office/powerpoint/2010/main" val="42343813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fade">
                                      <p:cBhvr>
                                        <p:cTn id="18" dur="500"/>
                                        <p:tgtEl>
                                          <p:spTgt spid="3">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3">
                                            <p:txEl>
                                              <p:pRg st="5" end="5"/>
                                            </p:txEl>
                                          </p:spTgt>
                                        </p:tgtEl>
                                        <p:attrNameLst>
                                          <p:attrName>style.visibility</p:attrName>
                                        </p:attrNameLst>
                                      </p:cBhvr>
                                      <p:to>
                                        <p:strVal val="visible"/>
                                      </p:to>
                                    </p:set>
                                    <p:animEffect transition="in" filter="fade">
                                      <p:cBhvr>
                                        <p:cTn id="26" dur="500"/>
                                        <p:tgtEl>
                                          <p:spTgt spid="3">
                                            <p:txEl>
                                              <p:pRg st="5" end="5"/>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3">
                                            <p:txEl>
                                              <p:pRg st="6" end="6"/>
                                            </p:txEl>
                                          </p:spTgt>
                                        </p:tgtEl>
                                        <p:attrNameLst>
                                          <p:attrName>style.visibility</p:attrName>
                                        </p:attrNameLst>
                                      </p:cBhvr>
                                      <p:to>
                                        <p:strVal val="visible"/>
                                      </p:to>
                                    </p:set>
                                    <p:animEffect transition="in" filter="fade">
                                      <p:cBhvr>
                                        <p:cTn id="29" dur="500"/>
                                        <p:tgtEl>
                                          <p:spTgt spid="3">
                                            <p:txEl>
                                              <p:pRg st="6" end="6"/>
                                            </p:txEl>
                                          </p:spTgt>
                                        </p:tgtEl>
                                      </p:cBhvr>
                                    </p:animEffect>
                                  </p:childTnLst>
                                </p:cTn>
                              </p:par>
                              <p:par>
                                <p:cTn id="30" presetID="10" presetClass="entr" presetSubtype="0" fill="hold" nodeType="with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fade">
                                      <p:cBhvr>
                                        <p:cTn id="32" dur="500"/>
                                        <p:tgtEl>
                                          <p:spTgt spid="3">
                                            <p:txEl>
                                              <p:pRg st="7" end="7"/>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animEffect transition="in" filter="fade">
                                      <p:cBhvr>
                                        <p:cTn id="35" dur="500"/>
                                        <p:tgtEl>
                                          <p:spTgt spid="3">
                                            <p:txEl>
                                              <p:pRg st="8" end="8"/>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3">
                                            <p:txEl>
                                              <p:pRg st="9" end="9"/>
                                            </p:txEl>
                                          </p:spTgt>
                                        </p:tgtEl>
                                        <p:attrNameLst>
                                          <p:attrName>style.visibility</p:attrName>
                                        </p:attrNameLst>
                                      </p:cBhvr>
                                      <p:to>
                                        <p:strVal val="visible"/>
                                      </p:to>
                                    </p:set>
                                    <p:animEffect transition="in" filter="fade">
                                      <p:cBhvr>
                                        <p:cTn id="40" dur="500"/>
                                        <p:tgtEl>
                                          <p:spTgt spid="3">
                                            <p:txEl>
                                              <p:pRg st="9" end="9"/>
                                            </p:txEl>
                                          </p:spTgt>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grpId="0" nodeType="clickEffect">
                                  <p:stCondLst>
                                    <p:cond delay="0"/>
                                  </p:stCondLst>
                                  <p:childTnLst>
                                    <p:set>
                                      <p:cBhvr>
                                        <p:cTn id="44" dur="1" fill="hold">
                                          <p:stCondLst>
                                            <p:cond delay="0"/>
                                          </p:stCondLst>
                                        </p:cTn>
                                        <p:tgtEl>
                                          <p:spTgt spid="4"/>
                                        </p:tgtEl>
                                        <p:attrNameLst>
                                          <p:attrName>style.visibility</p:attrName>
                                        </p:attrNameLst>
                                      </p:cBhvr>
                                      <p:to>
                                        <p:strVal val="visible"/>
                                      </p:to>
                                    </p:set>
                                    <p:animEffect transition="in" filter="fade">
                                      <p:cBhvr>
                                        <p:cTn id="45"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206B45-574C-418F-95E7-6F68706B6022}"/>
              </a:ext>
            </a:extLst>
          </p:cNvPr>
          <p:cNvSpPr>
            <a:spLocks noGrp="1"/>
          </p:cNvSpPr>
          <p:nvPr>
            <p:ph type="title"/>
          </p:nvPr>
        </p:nvSpPr>
        <p:spPr>
          <a:xfrm>
            <a:off x="938823" y="1425328"/>
            <a:ext cx="10515600" cy="1325563"/>
          </a:xfrm>
        </p:spPr>
        <p:txBody>
          <a:bodyPr/>
          <a:lstStyle/>
          <a:p>
            <a:pPr algn="ctr"/>
            <a:r>
              <a:rPr lang="en-US" dirty="0"/>
              <a:t>microServiceBus.com and related projects </a:t>
            </a:r>
            <a:r>
              <a:rPr lang="en-US" b="1" u="sng" dirty="0"/>
              <a:t>are property of Vinci-Energies!</a:t>
            </a:r>
          </a:p>
        </p:txBody>
      </p:sp>
      <p:pic>
        <p:nvPicPr>
          <p:cNvPr id="4" name="Picture 3">
            <a:extLst>
              <a:ext uri="{FF2B5EF4-FFF2-40B4-BE49-F238E27FC236}">
                <a16:creationId xmlns:a16="http://schemas.microsoft.com/office/drawing/2014/main" id="{7391A822-0B63-4BDA-877D-1BC9434F64A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82272" y="3965533"/>
            <a:ext cx="2000529" cy="781159"/>
          </a:xfrm>
          <a:prstGeom prst="rect">
            <a:avLst/>
          </a:prstGeom>
        </p:spPr>
      </p:pic>
      <p:pic>
        <p:nvPicPr>
          <p:cNvPr id="6" name="Picture 5">
            <a:extLst>
              <a:ext uri="{FF2B5EF4-FFF2-40B4-BE49-F238E27FC236}">
                <a16:creationId xmlns:a16="http://schemas.microsoft.com/office/drawing/2014/main" id="{7ADBE4B6-C748-4E23-A6BC-A23E76C38A3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22859" y="4296831"/>
            <a:ext cx="1886213" cy="476316"/>
          </a:xfrm>
          <a:prstGeom prst="rect">
            <a:avLst/>
          </a:prstGeom>
        </p:spPr>
      </p:pic>
      <p:pic>
        <p:nvPicPr>
          <p:cNvPr id="8" name="Picture 7">
            <a:extLst>
              <a:ext uri="{FF2B5EF4-FFF2-40B4-BE49-F238E27FC236}">
                <a16:creationId xmlns:a16="http://schemas.microsoft.com/office/drawing/2014/main" id="{CA17ED8D-3B41-43F7-BA4D-32DC2FDCEF0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52364" y="5367915"/>
            <a:ext cx="2000529" cy="485843"/>
          </a:xfrm>
          <a:prstGeom prst="rect">
            <a:avLst/>
          </a:prstGeom>
        </p:spPr>
      </p:pic>
      <p:pic>
        <p:nvPicPr>
          <p:cNvPr id="10" name="Picture 9">
            <a:extLst>
              <a:ext uri="{FF2B5EF4-FFF2-40B4-BE49-F238E27FC236}">
                <a16:creationId xmlns:a16="http://schemas.microsoft.com/office/drawing/2014/main" id="{F683F768-CC54-4DB7-876C-21E91C83D79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709792" y="4222744"/>
            <a:ext cx="2000529" cy="523948"/>
          </a:xfrm>
          <a:prstGeom prst="rect">
            <a:avLst/>
          </a:prstGeom>
        </p:spPr>
      </p:pic>
      <p:pic>
        <p:nvPicPr>
          <p:cNvPr id="12" name="Picture 11">
            <a:extLst>
              <a:ext uri="{FF2B5EF4-FFF2-40B4-BE49-F238E27FC236}">
                <a16:creationId xmlns:a16="http://schemas.microsoft.com/office/drawing/2014/main" id="{7C9A9F63-F41E-4ECD-912B-D7EE4BA86A2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99300" y="5307025"/>
            <a:ext cx="2000529" cy="476316"/>
          </a:xfrm>
          <a:prstGeom prst="rect">
            <a:avLst/>
          </a:prstGeom>
        </p:spPr>
      </p:pic>
    </p:spTree>
    <p:extLst>
      <p:ext uri="{BB962C8B-B14F-4D97-AF65-F5344CB8AC3E}">
        <p14:creationId xmlns:p14="http://schemas.microsoft.com/office/powerpoint/2010/main" val="4079445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FD32191-31CC-4AB8-874A-05F8691EED0F}"/>
              </a:ext>
            </a:extLst>
          </p:cNvPr>
          <p:cNvPicPr>
            <a:picLocks noChangeAspect="1"/>
          </p:cNvPicPr>
          <p:nvPr/>
        </p:nvPicPr>
        <p:blipFill>
          <a:blip r:embed="rId2"/>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C228ECB4-8C33-4611-8EF8-8A9C4674B813}"/>
              </a:ext>
            </a:extLst>
          </p:cNvPr>
          <p:cNvSpPr/>
          <p:nvPr/>
        </p:nvSpPr>
        <p:spPr>
          <a:xfrm>
            <a:off x="0" y="0"/>
            <a:ext cx="12192000" cy="6858000"/>
          </a:xfrm>
          <a:prstGeom prst="rect">
            <a:avLst/>
          </a:prstGeom>
          <a:solidFill>
            <a:schemeClr val="tx1">
              <a:alpha val="42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100" name="Picture 4" descr="C:\Users\wmmih\AppData\Local\Temp\SNAGHTML29a7e94d.PNG">
            <a:extLst>
              <a:ext uri="{FF2B5EF4-FFF2-40B4-BE49-F238E27FC236}">
                <a16:creationId xmlns:a16="http://schemas.microsoft.com/office/drawing/2014/main" id="{CD0FEB40-04AA-44AD-BC05-C170C053AFA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14937" y="589189"/>
            <a:ext cx="5029200" cy="3067050"/>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8203E6A7-0CCA-4B82-BCE3-0DA6C6D806D0}"/>
              </a:ext>
            </a:extLst>
          </p:cNvPr>
          <p:cNvSpPr txBox="1"/>
          <p:nvPr/>
        </p:nvSpPr>
        <p:spPr>
          <a:xfrm>
            <a:off x="1064564" y="4721893"/>
            <a:ext cx="7336047" cy="830997"/>
          </a:xfrm>
          <a:prstGeom prst="rect">
            <a:avLst/>
          </a:prstGeom>
          <a:noFill/>
        </p:spPr>
        <p:txBody>
          <a:bodyPr wrap="none" rtlCol="0">
            <a:spAutoFit/>
          </a:bodyPr>
          <a:lstStyle/>
          <a:p>
            <a:r>
              <a:rPr lang="en-US" sz="4800" dirty="0">
                <a:solidFill>
                  <a:schemeClr val="bg1"/>
                </a:solidFill>
              </a:rPr>
              <a:t>1000+ commits in 6 months!</a:t>
            </a:r>
          </a:p>
        </p:txBody>
      </p:sp>
    </p:spTree>
    <p:extLst>
      <p:ext uri="{BB962C8B-B14F-4D97-AF65-F5344CB8AC3E}">
        <p14:creationId xmlns:p14="http://schemas.microsoft.com/office/powerpoint/2010/main" val="38159088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4100"/>
                                        </p:tgtEl>
                                        <p:attrNameLst>
                                          <p:attrName>style.visibility</p:attrName>
                                        </p:attrNameLst>
                                      </p:cBhvr>
                                      <p:to>
                                        <p:strVal val="visible"/>
                                      </p:to>
                                    </p:set>
                                    <p:anim calcmode="lin" valueType="num">
                                      <p:cBhvr>
                                        <p:cTn id="7" dur="500" fill="hold"/>
                                        <p:tgtEl>
                                          <p:spTgt spid="4100"/>
                                        </p:tgtEl>
                                        <p:attrNameLst>
                                          <p:attrName>ppt_w</p:attrName>
                                        </p:attrNameLst>
                                      </p:cBhvr>
                                      <p:tavLst>
                                        <p:tav tm="0">
                                          <p:val>
                                            <p:fltVal val="0"/>
                                          </p:val>
                                        </p:tav>
                                        <p:tav tm="100000">
                                          <p:val>
                                            <p:strVal val="#ppt_w"/>
                                          </p:val>
                                        </p:tav>
                                      </p:tavLst>
                                    </p:anim>
                                    <p:anim calcmode="lin" valueType="num">
                                      <p:cBhvr>
                                        <p:cTn id="8" dur="500" fill="hold"/>
                                        <p:tgtEl>
                                          <p:spTgt spid="4100"/>
                                        </p:tgtEl>
                                        <p:attrNameLst>
                                          <p:attrName>ppt_h</p:attrName>
                                        </p:attrNameLst>
                                      </p:cBhvr>
                                      <p:tavLst>
                                        <p:tav tm="0">
                                          <p:val>
                                            <p:fltVal val="0"/>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ubrik 1"/>
          <p:cNvSpPr txBox="1">
            <a:spLocks/>
          </p:cNvSpPr>
          <p:nvPr/>
        </p:nvSpPr>
        <p:spPr>
          <a:xfrm>
            <a:off x="363166" y="366185"/>
            <a:ext cx="11465668" cy="6055880"/>
          </a:xfrm>
          <a:prstGeom prst="rect">
            <a:avLst/>
          </a:prstGeom>
        </p:spPr>
        <p:txBody>
          <a:bodyPr vert="horz" lIns="121920" tIns="60960" rIns="121920" bIns="60960" rtlCol="0" anchor="ctr">
            <a:normAutofit fontScale="97500"/>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lvl="0">
              <a:defRPr/>
            </a:pPr>
            <a:r>
              <a:rPr lang="en-US" sz="6200" b="0" dirty="0">
                <a:solidFill>
                  <a:schemeClr val="bg1"/>
                </a:solidFill>
                <a:latin typeface="Segoe UI Light" panose="020B0502040204020203" pitchFamily="34" charset="0"/>
                <a:cs typeface="Segoe UI Light" panose="020B0502040204020203" pitchFamily="34" charset="0"/>
              </a:rPr>
              <a:t>Axians IoT Nordic’s </a:t>
            </a:r>
          </a:p>
          <a:p>
            <a:pPr lvl="0">
              <a:defRPr/>
            </a:pPr>
            <a:r>
              <a:rPr lang="en-US" sz="6200" b="0" dirty="0">
                <a:solidFill>
                  <a:schemeClr val="bg1"/>
                </a:solidFill>
                <a:latin typeface="Segoe UI Light" panose="020B0502040204020203" pitchFamily="34" charset="0"/>
                <a:cs typeface="Segoe UI Light" panose="020B0502040204020203" pitchFamily="34" charset="0"/>
              </a:rPr>
              <a:t>take on IoT </a:t>
            </a:r>
          </a:p>
        </p:txBody>
      </p:sp>
    </p:spTree>
    <p:extLst>
      <p:ext uri="{BB962C8B-B14F-4D97-AF65-F5344CB8AC3E}">
        <p14:creationId xmlns:p14="http://schemas.microsoft.com/office/powerpoint/2010/main" val="1220619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1E7925-31B2-45B0-A741-63BF760832F7}"/>
              </a:ext>
            </a:extLst>
          </p:cNvPr>
          <p:cNvSpPr>
            <a:spLocks noGrp="1"/>
          </p:cNvSpPr>
          <p:nvPr>
            <p:ph type="title"/>
          </p:nvPr>
        </p:nvSpPr>
        <p:spPr>
          <a:xfrm>
            <a:off x="838200" y="2254885"/>
            <a:ext cx="10515600" cy="1325563"/>
          </a:xfrm>
        </p:spPr>
        <p:txBody>
          <a:bodyPr/>
          <a:lstStyle/>
          <a:p>
            <a:r>
              <a:rPr lang="en-US" dirty="0"/>
              <a:t>microServiceBus.com DOCS</a:t>
            </a:r>
            <a:br>
              <a:rPr lang="en-US" dirty="0"/>
            </a:br>
            <a:br>
              <a:rPr lang="en-US" dirty="0"/>
            </a:br>
            <a:r>
              <a:rPr lang="en-US" sz="3200" dirty="0"/>
              <a:t>https://docs.microservicebus.com/</a:t>
            </a:r>
            <a:endParaRPr lang="en-US" dirty="0"/>
          </a:p>
        </p:txBody>
      </p:sp>
      <p:pic>
        <p:nvPicPr>
          <p:cNvPr id="4" name="Picture 3">
            <a:extLst>
              <a:ext uri="{FF2B5EF4-FFF2-40B4-BE49-F238E27FC236}">
                <a16:creationId xmlns:a16="http://schemas.microsoft.com/office/drawing/2014/main" id="{2A667AF9-9950-4661-9239-28E34DD97F5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50228" y="2254885"/>
            <a:ext cx="2499938" cy="2051836"/>
          </a:xfrm>
          <a:prstGeom prst="rect">
            <a:avLst/>
          </a:prstGeom>
        </p:spPr>
      </p:pic>
    </p:spTree>
    <p:extLst>
      <p:ext uri="{BB962C8B-B14F-4D97-AF65-F5344CB8AC3E}">
        <p14:creationId xmlns:p14="http://schemas.microsoft.com/office/powerpoint/2010/main" val="37666548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1E7925-31B2-45B0-A741-63BF760832F7}"/>
              </a:ext>
            </a:extLst>
          </p:cNvPr>
          <p:cNvSpPr>
            <a:spLocks noGrp="1"/>
          </p:cNvSpPr>
          <p:nvPr>
            <p:ph type="title"/>
          </p:nvPr>
        </p:nvSpPr>
        <p:spPr>
          <a:xfrm>
            <a:off x="838200" y="2254885"/>
            <a:ext cx="10515600" cy="1325563"/>
          </a:xfrm>
        </p:spPr>
        <p:txBody>
          <a:bodyPr/>
          <a:lstStyle/>
          <a:p>
            <a:r>
              <a:rPr lang="en-US"/>
              <a:t>Let’s begin</a:t>
            </a:r>
            <a:br>
              <a:rPr lang="en-US"/>
            </a:br>
            <a:br>
              <a:rPr lang="en-US"/>
            </a:br>
            <a:r>
              <a:rPr lang="en-US" sz="3200"/>
              <a:t>https://github.com/axians/microservicebus-tutorial</a:t>
            </a:r>
            <a:endParaRPr lang="en-US"/>
          </a:p>
        </p:txBody>
      </p:sp>
    </p:spTree>
    <p:extLst>
      <p:ext uri="{BB962C8B-B14F-4D97-AF65-F5344CB8AC3E}">
        <p14:creationId xmlns:p14="http://schemas.microsoft.com/office/powerpoint/2010/main" val="114825812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08000" y="2675731"/>
            <a:ext cx="11684000" cy="1325563"/>
          </a:xfrm>
        </p:spPr>
        <p:txBody>
          <a:bodyPr/>
          <a:lstStyle/>
          <a:p>
            <a:r>
              <a:rPr lang="en-US" dirty="0"/>
              <a:t>(very) Short introduction to Node.js</a:t>
            </a:r>
          </a:p>
        </p:txBody>
      </p:sp>
      <p:sp>
        <p:nvSpPr>
          <p:cNvPr id="6" name="Content Placeholder 4"/>
          <p:cNvSpPr txBox="1">
            <a:spLocks/>
          </p:cNvSpPr>
          <p:nvPr/>
        </p:nvSpPr>
        <p:spPr>
          <a:xfrm>
            <a:off x="6230257" y="1825625"/>
            <a:ext cx="5816599"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sv-SE" dirty="0"/>
          </a:p>
        </p:txBody>
      </p:sp>
    </p:spTree>
    <p:extLst>
      <p:ext uri="{BB962C8B-B14F-4D97-AF65-F5344CB8AC3E}">
        <p14:creationId xmlns:p14="http://schemas.microsoft.com/office/powerpoint/2010/main" val="106501287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err="1"/>
              <a:t>What</a:t>
            </a:r>
            <a:r>
              <a:rPr lang="sv-SE" dirty="0"/>
              <a:t> is Node.js?</a:t>
            </a:r>
          </a:p>
        </p:txBody>
      </p:sp>
      <p:sp>
        <p:nvSpPr>
          <p:cNvPr id="3" name="Content Placeholder 2"/>
          <p:cNvSpPr>
            <a:spLocks noGrp="1"/>
          </p:cNvSpPr>
          <p:nvPr>
            <p:ph idx="1"/>
          </p:nvPr>
        </p:nvSpPr>
        <p:spPr>
          <a:xfrm>
            <a:off x="1066800" y="3556000"/>
            <a:ext cx="10414000" cy="2499568"/>
          </a:xfrm>
        </p:spPr>
        <p:txBody>
          <a:bodyPr>
            <a:normAutofit/>
          </a:bodyPr>
          <a:lstStyle/>
          <a:p>
            <a:pPr marL="0" indent="0">
              <a:buNone/>
            </a:pPr>
            <a:r>
              <a:rPr lang="en-US" dirty="0"/>
              <a:t>Node.js® is a JavaScript runtime built on Chrome's V8 JavaScript engine. </a:t>
            </a:r>
          </a:p>
          <a:p>
            <a:pPr marL="0" indent="0">
              <a:buNone/>
            </a:pPr>
            <a:r>
              <a:rPr lang="en-US" dirty="0"/>
              <a:t>Node.js uses an single threaded, event-driven, non-blocking I/O model that makes it lightweight and efficient. </a:t>
            </a:r>
          </a:p>
          <a:p>
            <a:pPr marL="0" indent="0">
              <a:buNone/>
            </a:pPr>
            <a:r>
              <a:rPr lang="en-US" dirty="0"/>
              <a:t>Node.js is platform independent.</a:t>
            </a:r>
          </a:p>
        </p:txBody>
      </p:sp>
      <p:pic>
        <p:nvPicPr>
          <p:cNvPr id="1026" name="Picture 2" descr="node.j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07909" y="1690688"/>
            <a:ext cx="2337392" cy="1431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464115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Node.js?</a:t>
            </a:r>
          </a:p>
        </p:txBody>
      </p:sp>
      <p:sp>
        <p:nvSpPr>
          <p:cNvPr id="3" name="Rectangle: Rounded Corners 2"/>
          <p:cNvSpPr/>
          <p:nvPr/>
        </p:nvSpPr>
        <p:spPr>
          <a:xfrm>
            <a:off x="277586" y="1614715"/>
            <a:ext cx="2686759" cy="1024853"/>
          </a:xfrm>
          <a:prstGeom prst="roundRect">
            <a:avLst/>
          </a:prstGeom>
          <a:no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PPLICATION</a:t>
            </a:r>
            <a:endParaRPr kumimoji="0" lang="en-US" sz="1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13" name="Rectangle: Rounded Corners 12"/>
          <p:cNvSpPr/>
          <p:nvPr/>
        </p:nvSpPr>
        <p:spPr>
          <a:xfrm>
            <a:off x="277586" y="3606272"/>
            <a:ext cx="2686759" cy="2809043"/>
          </a:xfrm>
          <a:prstGeom prst="roundRect">
            <a:avLst>
              <a:gd name="adj" fmla="val 7778"/>
            </a:avLst>
          </a:prstGeom>
          <a:no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V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JAVASCRIPT ENGINE)</a:t>
            </a:r>
            <a:endParaRPr kumimoji="0" lang="en-US" sz="105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16" name="Rectangle: Rounded Corners 15"/>
          <p:cNvSpPr/>
          <p:nvPr/>
        </p:nvSpPr>
        <p:spPr>
          <a:xfrm>
            <a:off x="3250152" y="1614715"/>
            <a:ext cx="3049263" cy="4800600"/>
          </a:xfrm>
          <a:prstGeom prst="roundRect">
            <a:avLst>
              <a:gd name="adj" fmla="val 4737"/>
            </a:avLst>
          </a:prstGeom>
          <a:no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NODE.J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BINDING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NODE API)</a:t>
            </a:r>
            <a:endParaRPr kumimoji="0" lang="en-US" sz="11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17" name="Rectangle: Rounded Corners 16"/>
          <p:cNvSpPr/>
          <p:nvPr/>
        </p:nvSpPr>
        <p:spPr>
          <a:xfrm>
            <a:off x="6585223" y="1614715"/>
            <a:ext cx="5243920" cy="4800600"/>
          </a:xfrm>
          <a:prstGeom prst="roundRect">
            <a:avLst>
              <a:gd name="adj" fmla="val 3150"/>
            </a:avLst>
          </a:prstGeom>
          <a:no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3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LIBUV</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SYNCHRONOUS I/O)</a:t>
            </a:r>
            <a:endParaRPr kumimoji="0" lang="en-US"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4" name="TextBox 3"/>
          <p:cNvSpPr txBox="1"/>
          <p:nvPr/>
        </p:nvSpPr>
        <p:spPr>
          <a:xfrm>
            <a:off x="277587" y="2894727"/>
            <a:ext cx="2686757"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JAVASCRIPT</a:t>
            </a:r>
            <a:endParaRPr kumimoji="0" lang="sv-SE" sz="2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18" name="TextBox 17"/>
          <p:cNvSpPr txBox="1"/>
          <p:nvPr/>
        </p:nvSpPr>
        <p:spPr>
          <a:xfrm>
            <a:off x="6551805" y="2947410"/>
            <a:ext cx="1409699"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EVENT QUEUE</a:t>
            </a:r>
          </a:p>
        </p:txBody>
      </p:sp>
      <p:sp>
        <p:nvSpPr>
          <p:cNvPr id="7" name="Rectangle 6"/>
          <p:cNvSpPr/>
          <p:nvPr/>
        </p:nvSpPr>
        <p:spPr>
          <a:xfrm>
            <a:off x="6824854" y="3655296"/>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19" name="Rectangle 18"/>
          <p:cNvSpPr/>
          <p:nvPr/>
        </p:nvSpPr>
        <p:spPr>
          <a:xfrm>
            <a:off x="6824854" y="4082333"/>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20" name="Rectangle 19"/>
          <p:cNvSpPr/>
          <p:nvPr/>
        </p:nvSpPr>
        <p:spPr>
          <a:xfrm>
            <a:off x="6824854" y="4509370"/>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21" name="Rectangle 20"/>
          <p:cNvSpPr/>
          <p:nvPr/>
        </p:nvSpPr>
        <p:spPr>
          <a:xfrm>
            <a:off x="6824854" y="4936407"/>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22" name="Rectangle 21"/>
          <p:cNvSpPr/>
          <p:nvPr/>
        </p:nvSpPr>
        <p:spPr>
          <a:xfrm>
            <a:off x="6824854" y="5363444"/>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23" name="Rectangle 22"/>
          <p:cNvSpPr/>
          <p:nvPr/>
        </p:nvSpPr>
        <p:spPr>
          <a:xfrm>
            <a:off x="6824854" y="5790481"/>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24" name="TextBox 23"/>
          <p:cNvSpPr txBox="1"/>
          <p:nvPr/>
        </p:nvSpPr>
        <p:spPr>
          <a:xfrm>
            <a:off x="10385142" y="2967730"/>
            <a:ext cx="1409699"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WORKER THREADS</a:t>
            </a:r>
          </a:p>
        </p:txBody>
      </p:sp>
      <p:sp>
        <p:nvSpPr>
          <p:cNvPr id="25" name="Rectangle 24"/>
          <p:cNvSpPr/>
          <p:nvPr/>
        </p:nvSpPr>
        <p:spPr>
          <a:xfrm>
            <a:off x="10658191" y="3675616"/>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FILE</a:t>
            </a:r>
            <a:endParaRPr kumimoji="0" lang="en-US"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26" name="Rectangle 25"/>
          <p:cNvSpPr/>
          <p:nvPr/>
        </p:nvSpPr>
        <p:spPr>
          <a:xfrm>
            <a:off x="10658191" y="4102653"/>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NETWORK</a:t>
            </a:r>
            <a:endParaRPr kumimoji="0" lang="en-US"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27" name="Rectangle 26"/>
          <p:cNvSpPr/>
          <p:nvPr/>
        </p:nvSpPr>
        <p:spPr>
          <a:xfrm>
            <a:off x="10658191" y="4529690"/>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PROCESS</a:t>
            </a:r>
            <a:endParaRPr kumimoji="0" lang="en-US"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28" name="Rectangle 27"/>
          <p:cNvSpPr/>
          <p:nvPr/>
        </p:nvSpPr>
        <p:spPr>
          <a:xfrm>
            <a:off x="10658191" y="4956727"/>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29" name="Rectangle 28"/>
          <p:cNvSpPr/>
          <p:nvPr/>
        </p:nvSpPr>
        <p:spPr>
          <a:xfrm>
            <a:off x="10658191" y="5383764"/>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30" name="Rectangle 29"/>
          <p:cNvSpPr/>
          <p:nvPr/>
        </p:nvSpPr>
        <p:spPr>
          <a:xfrm>
            <a:off x="10658191" y="5810801"/>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grpSp>
        <p:nvGrpSpPr>
          <p:cNvPr id="39" name="Group 38"/>
          <p:cNvGrpSpPr/>
          <p:nvPr/>
        </p:nvGrpSpPr>
        <p:grpSpPr>
          <a:xfrm>
            <a:off x="8100101" y="3905967"/>
            <a:ext cx="1737784" cy="1723372"/>
            <a:chOff x="8444352" y="3569310"/>
            <a:chExt cx="1737784" cy="1723372"/>
          </a:xfrm>
        </p:grpSpPr>
        <p:grpSp>
          <p:nvGrpSpPr>
            <p:cNvPr id="35" name="Group 34"/>
            <p:cNvGrpSpPr/>
            <p:nvPr/>
          </p:nvGrpSpPr>
          <p:grpSpPr>
            <a:xfrm rot="2034931">
              <a:off x="8444352" y="3569310"/>
              <a:ext cx="1737784" cy="1723372"/>
              <a:chOff x="8560466" y="3554795"/>
              <a:chExt cx="1737784" cy="1723372"/>
            </a:xfrm>
          </p:grpSpPr>
          <p:sp>
            <p:nvSpPr>
              <p:cNvPr id="8" name="Arrow: Circular 7"/>
              <p:cNvSpPr/>
              <p:nvPr/>
            </p:nvSpPr>
            <p:spPr>
              <a:xfrm>
                <a:off x="8560466" y="3554795"/>
                <a:ext cx="1737784" cy="1673376"/>
              </a:xfrm>
              <a:prstGeom prst="circularArrow">
                <a:avLst>
                  <a:gd name="adj1" fmla="val 5291"/>
                  <a:gd name="adj2" fmla="val 821314"/>
                  <a:gd name="adj3" fmla="val 20454203"/>
                  <a:gd name="adj4" fmla="val 10874706"/>
                  <a:gd name="adj5" fmla="val 11376"/>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Arrow: Circular 33"/>
              <p:cNvSpPr/>
              <p:nvPr/>
            </p:nvSpPr>
            <p:spPr>
              <a:xfrm rot="10800000">
                <a:off x="8560466" y="3604791"/>
                <a:ext cx="1737784" cy="1673376"/>
              </a:xfrm>
              <a:prstGeom prst="circularArrow">
                <a:avLst>
                  <a:gd name="adj1" fmla="val 5291"/>
                  <a:gd name="adj2" fmla="val 821314"/>
                  <a:gd name="adj3" fmla="val 20454203"/>
                  <a:gd name="adj4" fmla="val 10874706"/>
                  <a:gd name="adj5" fmla="val 11376"/>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36" name="TextBox 35"/>
            <p:cNvSpPr txBox="1"/>
            <p:nvPr/>
          </p:nvSpPr>
          <p:spPr>
            <a:xfrm>
              <a:off x="8622342" y="4056308"/>
              <a:ext cx="1409699"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EVENT LOOP</a:t>
              </a:r>
            </a:p>
          </p:txBody>
        </p:sp>
      </p:grpSp>
      <p:sp>
        <p:nvSpPr>
          <p:cNvPr id="37" name="Arrow: Right 36"/>
          <p:cNvSpPr/>
          <p:nvPr/>
        </p:nvSpPr>
        <p:spPr>
          <a:xfrm>
            <a:off x="7806226" y="3675616"/>
            <a:ext cx="447081"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 name="Arrow: Right 37"/>
          <p:cNvSpPr/>
          <p:nvPr/>
        </p:nvSpPr>
        <p:spPr>
          <a:xfrm>
            <a:off x="9362060" y="3696786"/>
            <a:ext cx="1208192"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 name="Arrow: Right 39"/>
          <p:cNvSpPr/>
          <p:nvPr/>
        </p:nvSpPr>
        <p:spPr>
          <a:xfrm rot="10800000">
            <a:off x="7806226" y="5821198"/>
            <a:ext cx="447081"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TextBox 41"/>
          <p:cNvSpPr txBox="1"/>
          <p:nvPr/>
        </p:nvSpPr>
        <p:spPr>
          <a:xfrm>
            <a:off x="9070806" y="3235451"/>
            <a:ext cx="1725007"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BLOCKING OPERATION</a:t>
            </a:r>
          </a:p>
        </p:txBody>
      </p:sp>
      <p:sp>
        <p:nvSpPr>
          <p:cNvPr id="43" name="Arrow: Right 42"/>
          <p:cNvSpPr/>
          <p:nvPr/>
        </p:nvSpPr>
        <p:spPr>
          <a:xfrm rot="10800000">
            <a:off x="9362060" y="5858185"/>
            <a:ext cx="1208192"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TextBox 43"/>
          <p:cNvSpPr txBox="1"/>
          <p:nvPr/>
        </p:nvSpPr>
        <p:spPr>
          <a:xfrm>
            <a:off x="9174999" y="5406634"/>
            <a:ext cx="155022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EXECUTE CALLBACK</a:t>
            </a:r>
          </a:p>
        </p:txBody>
      </p:sp>
      <p:sp>
        <p:nvSpPr>
          <p:cNvPr id="45" name="Arrow: Right 44"/>
          <p:cNvSpPr/>
          <p:nvPr/>
        </p:nvSpPr>
        <p:spPr>
          <a:xfrm rot="5400000">
            <a:off x="289004" y="3034459"/>
            <a:ext cx="776797"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 name="Arrow: Right 45"/>
          <p:cNvSpPr/>
          <p:nvPr/>
        </p:nvSpPr>
        <p:spPr>
          <a:xfrm rot="16200000">
            <a:off x="2298875" y="3009483"/>
            <a:ext cx="776797"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Arrow: Right 46"/>
          <p:cNvSpPr/>
          <p:nvPr/>
        </p:nvSpPr>
        <p:spPr>
          <a:xfrm>
            <a:off x="3091371" y="3696786"/>
            <a:ext cx="3415168"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Arrow: Right 47"/>
          <p:cNvSpPr/>
          <p:nvPr/>
        </p:nvSpPr>
        <p:spPr>
          <a:xfrm rot="10800000">
            <a:off x="3075951" y="5810801"/>
            <a:ext cx="3415168"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 name="Rectangle 48"/>
          <p:cNvSpPr/>
          <p:nvPr/>
        </p:nvSpPr>
        <p:spPr>
          <a:xfrm>
            <a:off x="4077674" y="4529690"/>
            <a:ext cx="1443486" cy="775111"/>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OS OPERATIONS</a:t>
            </a:r>
            <a:endParaRPr kumimoji="0" lang="en-US" sz="1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41624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err="1"/>
              <a:t>What</a:t>
            </a:r>
            <a:r>
              <a:rPr lang="sv-SE" dirty="0"/>
              <a:t> is JavaScript?</a:t>
            </a:r>
          </a:p>
        </p:txBody>
      </p:sp>
      <p:sp>
        <p:nvSpPr>
          <p:cNvPr id="3" name="Content Placeholder 2"/>
          <p:cNvSpPr>
            <a:spLocks noGrp="1"/>
          </p:cNvSpPr>
          <p:nvPr>
            <p:ph idx="1"/>
          </p:nvPr>
        </p:nvSpPr>
        <p:spPr>
          <a:xfrm>
            <a:off x="1130300" y="3995728"/>
            <a:ext cx="9781623" cy="2059840"/>
          </a:xfrm>
        </p:spPr>
        <p:txBody>
          <a:bodyPr/>
          <a:lstStyle/>
          <a:p>
            <a:pPr marL="0" indent="0">
              <a:buNone/>
            </a:pPr>
            <a:r>
              <a:rPr lang="en-US" dirty="0"/>
              <a:t>A </a:t>
            </a:r>
            <a:r>
              <a:rPr lang="en-US" b="1" dirty="0"/>
              <a:t>high-level</a:t>
            </a:r>
            <a:r>
              <a:rPr lang="en-US" dirty="0"/>
              <a:t>, </a:t>
            </a:r>
            <a:r>
              <a:rPr lang="en-US" b="1" dirty="0"/>
              <a:t>dynamic</a:t>
            </a:r>
            <a:r>
              <a:rPr lang="en-US" dirty="0"/>
              <a:t>, </a:t>
            </a:r>
            <a:r>
              <a:rPr lang="en-US" b="1" dirty="0"/>
              <a:t>untyped</a:t>
            </a:r>
            <a:r>
              <a:rPr lang="en-US" dirty="0"/>
              <a:t>, and </a:t>
            </a:r>
            <a:r>
              <a:rPr lang="en-US" b="1" dirty="0"/>
              <a:t>interpreted</a:t>
            </a:r>
            <a:r>
              <a:rPr lang="en-US" dirty="0"/>
              <a:t> programming language. It has been standardized in the ECMAScript language specification</a:t>
            </a:r>
            <a:endParaRPr lang="sv-SE" dirty="0"/>
          </a:p>
        </p:txBody>
      </p:sp>
      <p:pic>
        <p:nvPicPr>
          <p:cNvPr id="2050" name="Picture 2" descr="Image result for javascript 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18627" y="1558795"/>
            <a:ext cx="4154746" cy="2335718"/>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p:cNvCxnSpPr/>
          <p:nvPr/>
        </p:nvCxnSpPr>
        <p:spPr>
          <a:xfrm>
            <a:off x="6630463" y="4236099"/>
            <a:ext cx="1735494" cy="933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5390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Node Package Manager (NPM)</a:t>
            </a:r>
          </a:p>
        </p:txBody>
      </p:sp>
      <p:pic>
        <p:nvPicPr>
          <p:cNvPr id="8194" name="Picture 2" descr="Image result for npm log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14439" y="1737836"/>
            <a:ext cx="3847170" cy="1496789"/>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1553132" y="3571559"/>
            <a:ext cx="9085735" cy="3108543"/>
          </a:xfrm>
          <a:prstGeom prst="rect">
            <a:avLst/>
          </a:prstGeom>
          <a:noFill/>
        </p:spPr>
        <p:txBody>
          <a:bodyPr wrap="square" rtlCol="0">
            <a:spAutoFit/>
          </a:bodyPr>
          <a:lstStyle/>
          <a:p>
            <a:r>
              <a:rPr lang="en-US" sz="2800" dirty="0">
                <a:latin typeface="Segoe UI Light" panose="020B0502040204020203" pitchFamily="34" charset="0"/>
                <a:cs typeface="Segoe UI Light" panose="020B0502040204020203" pitchFamily="34" charset="0"/>
              </a:rPr>
              <a:t>npm is the default package manager for the JavaScript runtime environment Node.js and allows users to consume and distribute JavaScript modules that are available on the registry.</a:t>
            </a:r>
          </a:p>
          <a:p>
            <a:endParaRPr lang="sv-SE" sz="2800" dirty="0">
              <a:latin typeface="Segoe UI Light" panose="020B0502040204020203" pitchFamily="34" charset="0"/>
              <a:cs typeface="Segoe UI Light" panose="020B0502040204020203" pitchFamily="34" charset="0"/>
            </a:endParaRPr>
          </a:p>
          <a:p>
            <a:r>
              <a:rPr lang="sv-SE" sz="2800" dirty="0">
                <a:latin typeface="Segoe UI Light" panose="020B0502040204020203" pitchFamily="34" charset="0"/>
                <a:cs typeface="Segoe UI Light" panose="020B0502040204020203" pitchFamily="34" charset="0"/>
              </a:rPr>
              <a:t>N</a:t>
            </a:r>
            <a:r>
              <a:rPr lang="en-US" sz="2800" dirty="0">
                <a:latin typeface="Segoe UI Light" panose="020B0502040204020203" pitchFamily="34" charset="0"/>
                <a:cs typeface="Segoe UI Light" panose="020B0502040204020203" pitchFamily="34" charset="0"/>
              </a:rPr>
              <a:t>pm has over 500K+ packages today, which is almost as much as Java, </a:t>
            </a:r>
            <a:r>
              <a:rPr lang="en-US" sz="2800" dirty="0" err="1">
                <a:latin typeface="Segoe UI Light" panose="020B0502040204020203" pitchFamily="34" charset="0"/>
                <a:cs typeface="Segoe UI Light" panose="020B0502040204020203" pitchFamily="34" charset="0"/>
              </a:rPr>
              <a:t>.Net</a:t>
            </a:r>
            <a:r>
              <a:rPr lang="en-US" sz="2800" dirty="0">
                <a:latin typeface="Segoe UI Light" panose="020B0502040204020203" pitchFamily="34" charset="0"/>
                <a:cs typeface="Segoe UI Light" panose="020B0502040204020203" pitchFamily="34" charset="0"/>
              </a:rPr>
              <a:t> and Python combined!</a:t>
            </a:r>
            <a:endParaRPr lang="en-GB" sz="2800"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35461206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7768B-9C78-4866-92D1-711967FCE4ED}"/>
              </a:ext>
            </a:extLst>
          </p:cNvPr>
          <p:cNvSpPr>
            <a:spLocks noGrp="1"/>
          </p:cNvSpPr>
          <p:nvPr>
            <p:ph type="title"/>
          </p:nvPr>
        </p:nvSpPr>
        <p:spPr>
          <a:xfrm>
            <a:off x="755072" y="2717622"/>
            <a:ext cx="10515600" cy="1325563"/>
          </a:xfrm>
        </p:spPr>
        <p:txBody>
          <a:bodyPr/>
          <a:lstStyle/>
          <a:p>
            <a:r>
              <a:rPr lang="en-US" dirty="0"/>
              <a:t>Demo!</a:t>
            </a:r>
          </a:p>
        </p:txBody>
      </p:sp>
      <p:pic>
        <p:nvPicPr>
          <p:cNvPr id="3" name="Picture 2" descr="Image result for javascript logo">
            <a:extLst>
              <a:ext uri="{FF2B5EF4-FFF2-40B4-BE49-F238E27FC236}">
                <a16:creationId xmlns:a16="http://schemas.microsoft.com/office/drawing/2014/main" id="{F0011500-EBFF-4122-AAF3-05A7EB8B5B5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93563" y="2818741"/>
            <a:ext cx="2077375" cy="116786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Image result for npm logo">
            <a:extLst>
              <a:ext uri="{FF2B5EF4-FFF2-40B4-BE49-F238E27FC236}">
                <a16:creationId xmlns:a16="http://schemas.microsoft.com/office/drawing/2014/main" id="{E738B49E-7A50-4E3A-9A9B-DC679E0F2DD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59750" y="3054802"/>
            <a:ext cx="1923586" cy="74839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5943DCB8-A873-4278-9B98-4B071988BE82}"/>
              </a:ext>
            </a:extLst>
          </p:cNvPr>
          <p:cNvSpPr txBox="1"/>
          <p:nvPr/>
        </p:nvSpPr>
        <p:spPr>
          <a:xfrm>
            <a:off x="6096000" y="2928346"/>
            <a:ext cx="525101" cy="769441"/>
          </a:xfrm>
          <a:prstGeom prst="rect">
            <a:avLst/>
          </a:prstGeom>
          <a:noFill/>
        </p:spPr>
        <p:txBody>
          <a:bodyPr wrap="square" rtlCol="0">
            <a:spAutoFit/>
          </a:bodyPr>
          <a:lstStyle/>
          <a:p>
            <a:r>
              <a:rPr lang="en-US" sz="4400" b="1" dirty="0"/>
              <a:t>+</a:t>
            </a:r>
            <a:endParaRPr lang="en-US" b="1" dirty="0"/>
          </a:p>
        </p:txBody>
      </p:sp>
    </p:spTree>
    <p:extLst>
      <p:ext uri="{BB962C8B-B14F-4D97-AF65-F5344CB8AC3E}">
        <p14:creationId xmlns:p14="http://schemas.microsoft.com/office/powerpoint/2010/main" val="361996804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4"/>
          <p:cNvSpPr txBox="1">
            <a:spLocks/>
          </p:cNvSpPr>
          <p:nvPr/>
        </p:nvSpPr>
        <p:spPr>
          <a:xfrm>
            <a:off x="6230257" y="1825625"/>
            <a:ext cx="5816599"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sv-S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35E8DF43-8007-495D-8369-23551B0B03F2}"/>
              </a:ext>
            </a:extLst>
          </p:cNvPr>
          <p:cNvSpPr>
            <a:spLocks noGrp="1"/>
          </p:cNvSpPr>
          <p:nvPr>
            <p:ph type="title"/>
          </p:nvPr>
        </p:nvSpPr>
        <p:spPr/>
        <p:txBody>
          <a:bodyPr/>
          <a:lstStyle/>
          <a:p>
            <a:r>
              <a:rPr lang="en-US" dirty="0"/>
              <a:t>microServiceBus.com - Key concepts</a:t>
            </a:r>
          </a:p>
        </p:txBody>
      </p:sp>
      <p:sp>
        <p:nvSpPr>
          <p:cNvPr id="5" name="Oval 4">
            <a:extLst>
              <a:ext uri="{FF2B5EF4-FFF2-40B4-BE49-F238E27FC236}">
                <a16:creationId xmlns:a16="http://schemas.microsoft.com/office/drawing/2014/main" id="{78E0D486-600C-472F-9E33-069C85B4C646}"/>
              </a:ext>
            </a:extLst>
          </p:cNvPr>
          <p:cNvSpPr/>
          <p:nvPr/>
        </p:nvSpPr>
        <p:spPr>
          <a:xfrm>
            <a:off x="4316015" y="2046429"/>
            <a:ext cx="3559969" cy="3559969"/>
          </a:xfrm>
          <a:prstGeom prst="ellipse">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61EBA816-EBDC-4271-83E3-CA28E638535A}"/>
              </a:ext>
            </a:extLst>
          </p:cNvPr>
          <p:cNvSpPr txBox="1"/>
          <p:nvPr/>
        </p:nvSpPr>
        <p:spPr>
          <a:xfrm>
            <a:off x="5028623" y="1523209"/>
            <a:ext cx="2134752"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Organization</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8" name="TextBox 7">
            <a:extLst>
              <a:ext uri="{FF2B5EF4-FFF2-40B4-BE49-F238E27FC236}">
                <a16:creationId xmlns:a16="http://schemas.microsoft.com/office/drawing/2014/main" id="{57988DF6-35C6-4E82-8AA2-A04230C1BB3D}"/>
              </a:ext>
            </a:extLst>
          </p:cNvPr>
          <p:cNvSpPr txBox="1"/>
          <p:nvPr/>
        </p:nvSpPr>
        <p:spPr>
          <a:xfrm>
            <a:off x="7915568" y="3564803"/>
            <a:ext cx="1162498"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Nodes</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9" name="TextBox 8">
            <a:extLst>
              <a:ext uri="{FF2B5EF4-FFF2-40B4-BE49-F238E27FC236}">
                <a16:creationId xmlns:a16="http://schemas.microsoft.com/office/drawing/2014/main" id="{766D67A9-3B6C-4029-9787-6DF3981A6D7B}"/>
              </a:ext>
            </a:extLst>
          </p:cNvPr>
          <p:cNvSpPr txBox="1"/>
          <p:nvPr/>
        </p:nvSpPr>
        <p:spPr>
          <a:xfrm>
            <a:off x="5590892" y="5630070"/>
            <a:ext cx="1010213"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Flows</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10" name="TextBox 9">
            <a:extLst>
              <a:ext uri="{FF2B5EF4-FFF2-40B4-BE49-F238E27FC236}">
                <a16:creationId xmlns:a16="http://schemas.microsoft.com/office/drawing/2014/main" id="{FA7A9C00-7823-48B7-BB74-93B387A6A17F}"/>
              </a:ext>
            </a:extLst>
          </p:cNvPr>
          <p:cNvSpPr txBox="1"/>
          <p:nvPr/>
        </p:nvSpPr>
        <p:spPr>
          <a:xfrm>
            <a:off x="2915182" y="3564803"/>
            <a:ext cx="1400833"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Services</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11" name="Callout: Line with Accent Bar 10">
            <a:extLst>
              <a:ext uri="{FF2B5EF4-FFF2-40B4-BE49-F238E27FC236}">
                <a16:creationId xmlns:a16="http://schemas.microsoft.com/office/drawing/2014/main" id="{6BF53855-1F6A-493F-B876-7DF6FAEFAA22}"/>
              </a:ext>
            </a:extLst>
          </p:cNvPr>
          <p:cNvSpPr/>
          <p:nvPr/>
        </p:nvSpPr>
        <p:spPr>
          <a:xfrm>
            <a:off x="373134" y="4345129"/>
            <a:ext cx="2243065" cy="797508"/>
          </a:xfrm>
          <a:prstGeom prst="accentCallout1">
            <a:avLst>
              <a:gd name="adj1" fmla="val 17158"/>
              <a:gd name="adj2" fmla="val 99629"/>
              <a:gd name="adj3" fmla="val -32414"/>
              <a:gd name="adj4" fmla="val 118288"/>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Code interacting with HW or other services</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i="1" dirty="0">
                <a:solidFill>
                  <a:prstClr val="white"/>
                </a:solidFill>
                <a:latin typeface="Calibri" panose="020F0502020204030204"/>
              </a:rPr>
              <a:t>Inbound service</a:t>
            </a:r>
          </a:p>
          <a:p>
            <a:pPr marL="285750" lvl="0" indent="-285750">
              <a:buFont typeface="Arial" panose="020B0604020202020204" pitchFamily="34" charset="0"/>
              <a:buChar cha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Outbound</a:t>
            </a:r>
            <a:r>
              <a:rPr lang="en-US" i="1" dirty="0">
                <a:solidFill>
                  <a:prstClr val="white"/>
                </a:solidFill>
              </a:rPr>
              <a:t> service</a:t>
            </a:r>
            <a:endPar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endParaRPr>
          </a:p>
          <a:p>
            <a:pPr marL="285750" lvl="0" indent="-285750">
              <a:buFont typeface="Arial" panose="020B0604020202020204" pitchFamily="34" charset="0"/>
              <a:buChar char="•"/>
            </a:pPr>
            <a:r>
              <a:rPr lang="en-US" i="1" dirty="0">
                <a:solidFill>
                  <a:prstClr val="white"/>
                </a:solidFill>
                <a:latin typeface="Calibri" panose="020F0502020204030204"/>
              </a:rPr>
              <a:t>Other</a:t>
            </a:r>
            <a:r>
              <a:rPr lang="en-US" i="1" dirty="0">
                <a:solidFill>
                  <a:prstClr val="white"/>
                </a:solidFill>
              </a:rPr>
              <a:t> service</a:t>
            </a:r>
            <a:endPar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Callout: Line with Accent Bar 11">
            <a:extLst>
              <a:ext uri="{FF2B5EF4-FFF2-40B4-BE49-F238E27FC236}">
                <a16:creationId xmlns:a16="http://schemas.microsoft.com/office/drawing/2014/main" id="{B6135EB1-0935-4684-AA72-CE495058B22F}"/>
              </a:ext>
            </a:extLst>
          </p:cNvPr>
          <p:cNvSpPr/>
          <p:nvPr/>
        </p:nvSpPr>
        <p:spPr>
          <a:xfrm>
            <a:off x="2806700" y="5897192"/>
            <a:ext cx="1996017" cy="797508"/>
          </a:xfrm>
          <a:prstGeom prst="accentCallout1">
            <a:avLst>
              <a:gd name="adj1" fmla="val 52192"/>
              <a:gd name="adj2" fmla="val 101327"/>
              <a:gd name="adj3" fmla="val 7397"/>
              <a:gd name="adj4" fmla="val 133008"/>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Process execution of services</a:t>
            </a:r>
          </a:p>
        </p:txBody>
      </p:sp>
      <p:sp>
        <p:nvSpPr>
          <p:cNvPr id="13" name="Callout: Line with Accent Bar 12">
            <a:extLst>
              <a:ext uri="{FF2B5EF4-FFF2-40B4-BE49-F238E27FC236}">
                <a16:creationId xmlns:a16="http://schemas.microsoft.com/office/drawing/2014/main" id="{0F44F524-6F5F-4AE7-B08C-281A3AC38482}"/>
              </a:ext>
            </a:extLst>
          </p:cNvPr>
          <p:cNvSpPr/>
          <p:nvPr/>
        </p:nvSpPr>
        <p:spPr>
          <a:xfrm>
            <a:off x="9581201" y="4024115"/>
            <a:ext cx="2243065" cy="797508"/>
          </a:xfrm>
          <a:prstGeom prst="accentCallout1">
            <a:avLst>
              <a:gd name="adj1" fmla="val 23528"/>
              <a:gd name="adj2" fmla="val -587"/>
              <a:gd name="adj3" fmla="val 1028"/>
              <a:gd name="adj4" fmla="val -21561"/>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Cloud connected agent, hosting one or more flows</a:t>
            </a:r>
          </a:p>
        </p:txBody>
      </p:sp>
      <p:sp>
        <p:nvSpPr>
          <p:cNvPr id="14" name="Callout: Line with Accent Bar 13">
            <a:extLst>
              <a:ext uri="{FF2B5EF4-FFF2-40B4-BE49-F238E27FC236}">
                <a16:creationId xmlns:a16="http://schemas.microsoft.com/office/drawing/2014/main" id="{9107E6F8-0740-473E-82B4-82E1D4BED642}"/>
              </a:ext>
            </a:extLst>
          </p:cNvPr>
          <p:cNvSpPr/>
          <p:nvPr/>
        </p:nvSpPr>
        <p:spPr>
          <a:xfrm>
            <a:off x="8009785" y="1909554"/>
            <a:ext cx="2587477" cy="797508"/>
          </a:xfrm>
          <a:prstGeom prst="accentCallout1">
            <a:avLst>
              <a:gd name="adj1" fmla="val 23528"/>
              <a:gd name="adj2" fmla="val -587"/>
              <a:gd name="adj3" fmla="val -2156"/>
              <a:gd name="adj4" fmla="val -24958"/>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Subscription” owning flows, services &amp; nodes</a:t>
            </a:r>
          </a:p>
        </p:txBody>
      </p:sp>
      <p:pic>
        <p:nvPicPr>
          <p:cNvPr id="15" name="Picture 14">
            <a:extLst>
              <a:ext uri="{FF2B5EF4-FFF2-40B4-BE49-F238E27FC236}">
                <a16:creationId xmlns:a16="http://schemas.microsoft.com/office/drawing/2014/main" id="{B56BAD91-B656-4614-8CC8-52E3B2E5414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21389" y="3065004"/>
            <a:ext cx="1901711" cy="1560839"/>
          </a:xfrm>
          <a:prstGeom prst="rect">
            <a:avLst/>
          </a:prstGeom>
        </p:spPr>
      </p:pic>
    </p:spTree>
    <p:extLst>
      <p:ext uri="{BB962C8B-B14F-4D97-AF65-F5344CB8AC3E}">
        <p14:creationId xmlns:p14="http://schemas.microsoft.com/office/powerpoint/2010/main" val="20326057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5" presetClass="emph" presetSubtype="0" grpId="0" nodeType="withEffect">
                                  <p:stCondLst>
                                    <p:cond delay="0"/>
                                  </p:stCondLst>
                                  <p:iterate type="lt">
                                    <p:tmAbs val="25"/>
                                  </p:iterate>
                                  <p:childTnLst>
                                    <p:set>
                                      <p:cBhvr override="childStyle">
                                        <p:cTn id="9" dur="indefinite"/>
                                        <p:tgtEl>
                                          <p:spTgt spid="10"/>
                                        </p:tgtEl>
                                        <p:attrNameLst>
                                          <p:attrName>style.fontWeight</p:attrName>
                                        </p:attrNameLst>
                                      </p:cBhvr>
                                      <p:to>
                                        <p:strVal val="bold"/>
                                      </p:to>
                                    </p:set>
                                  </p:childTnLst>
                                </p:cTn>
                              </p:par>
                            </p:childTnLst>
                          </p:cTn>
                        </p:par>
                      </p:childTnLst>
                    </p:cTn>
                  </p:par>
                  <p:par>
                    <p:cTn id="10" fill="hold">
                      <p:stCondLst>
                        <p:cond delay="indefinite"/>
                      </p:stCondLst>
                      <p:childTnLst>
                        <p:par>
                          <p:cTn id="11" fill="hold">
                            <p:stCondLst>
                              <p:cond delay="0"/>
                            </p:stCondLst>
                            <p:childTnLst>
                              <p:par>
                                <p:cTn id="12" presetID="10" presetClass="exit" presetSubtype="0" fill="hold" grpId="1" nodeType="clickEffect">
                                  <p:stCondLst>
                                    <p:cond delay="0"/>
                                  </p:stCondLst>
                                  <p:childTnLst>
                                    <p:animEffect transition="out" filter="fade">
                                      <p:cBhvr>
                                        <p:cTn id="13" dur="500"/>
                                        <p:tgtEl>
                                          <p:spTgt spid="11"/>
                                        </p:tgtEl>
                                      </p:cBhvr>
                                    </p:animEffect>
                                    <p:set>
                                      <p:cBhvr>
                                        <p:cTn id="14" dur="1" fill="hold">
                                          <p:stCondLst>
                                            <p:cond delay="499"/>
                                          </p:stCondLst>
                                        </p:cTn>
                                        <p:tgtEl>
                                          <p:spTgt spid="11"/>
                                        </p:tgtEl>
                                        <p:attrNameLst>
                                          <p:attrName>style.visibility</p:attrName>
                                        </p:attrNameLst>
                                      </p:cBhvr>
                                      <p:to>
                                        <p:strVal val="hidden"/>
                                      </p:to>
                                    </p:set>
                                  </p:childTnLst>
                                </p:cTn>
                              </p:par>
                            </p:childTnLst>
                          </p:cTn>
                        </p:par>
                        <p:par>
                          <p:cTn id="15" fill="hold">
                            <p:stCondLst>
                              <p:cond delay="500"/>
                            </p:stCondLst>
                            <p:childTnLst>
                              <p:par>
                                <p:cTn id="16" presetID="10" presetClass="entr" presetSubtype="0" fill="hold" grpId="0" nodeType="after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par>
                          <p:cTn id="19" fill="hold">
                            <p:stCondLst>
                              <p:cond delay="1000"/>
                            </p:stCondLst>
                            <p:childTnLst>
                              <p:par>
                                <p:cTn id="20" presetID="15" presetClass="emph" presetSubtype="0" grpId="0" nodeType="afterEffect">
                                  <p:stCondLst>
                                    <p:cond delay="0"/>
                                  </p:stCondLst>
                                  <p:iterate type="lt">
                                    <p:tmAbs val="25"/>
                                  </p:iterate>
                                  <p:childTnLst>
                                    <p:set>
                                      <p:cBhvr override="childStyle">
                                        <p:cTn id="21" dur="indefinite"/>
                                        <p:tgtEl>
                                          <p:spTgt spid="9"/>
                                        </p:tgtEl>
                                        <p:attrNameLst>
                                          <p:attrName>style.fontWeight</p:attrName>
                                        </p:attrNameLst>
                                      </p:cBhvr>
                                      <p:to>
                                        <p:strVal val="bold"/>
                                      </p:to>
                                    </p:set>
                                  </p:childTnLst>
                                </p:cTn>
                              </p:par>
                            </p:childTnLst>
                          </p:cTn>
                        </p:par>
                      </p:childTnLst>
                    </p:cTn>
                  </p:par>
                  <p:par>
                    <p:cTn id="22" fill="hold">
                      <p:stCondLst>
                        <p:cond delay="indefinite"/>
                      </p:stCondLst>
                      <p:childTnLst>
                        <p:par>
                          <p:cTn id="23" fill="hold">
                            <p:stCondLst>
                              <p:cond delay="0"/>
                            </p:stCondLst>
                            <p:childTnLst>
                              <p:par>
                                <p:cTn id="24" presetID="10" presetClass="exit" presetSubtype="0" fill="hold" grpId="1" nodeType="clickEffect">
                                  <p:stCondLst>
                                    <p:cond delay="0"/>
                                  </p:stCondLst>
                                  <p:childTnLst>
                                    <p:animEffect transition="out" filter="fade">
                                      <p:cBhvr>
                                        <p:cTn id="25" dur="500"/>
                                        <p:tgtEl>
                                          <p:spTgt spid="12"/>
                                        </p:tgtEl>
                                      </p:cBhvr>
                                    </p:animEffect>
                                    <p:set>
                                      <p:cBhvr>
                                        <p:cTn id="26" dur="1" fill="hold">
                                          <p:stCondLst>
                                            <p:cond delay="499"/>
                                          </p:stCondLst>
                                        </p:cTn>
                                        <p:tgtEl>
                                          <p:spTgt spid="12"/>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grpId="0" nodeType="afterEffect">
                                  <p:stCondLst>
                                    <p:cond delay="0"/>
                                  </p:stCondLst>
                                  <p:childTnLst>
                                    <p:set>
                                      <p:cBhvr>
                                        <p:cTn id="29" dur="1" fill="hold">
                                          <p:stCondLst>
                                            <p:cond delay="0"/>
                                          </p:stCondLst>
                                        </p:cTn>
                                        <p:tgtEl>
                                          <p:spTgt spid="13"/>
                                        </p:tgtEl>
                                        <p:attrNameLst>
                                          <p:attrName>style.visibility</p:attrName>
                                        </p:attrNameLst>
                                      </p:cBhvr>
                                      <p:to>
                                        <p:strVal val="visible"/>
                                      </p:to>
                                    </p:set>
                                    <p:animEffect transition="in" filter="fade">
                                      <p:cBhvr>
                                        <p:cTn id="30" dur="500"/>
                                        <p:tgtEl>
                                          <p:spTgt spid="13"/>
                                        </p:tgtEl>
                                      </p:cBhvr>
                                    </p:animEffect>
                                  </p:childTnLst>
                                </p:cTn>
                              </p:par>
                            </p:childTnLst>
                          </p:cTn>
                        </p:par>
                        <p:par>
                          <p:cTn id="31" fill="hold">
                            <p:stCondLst>
                              <p:cond delay="1000"/>
                            </p:stCondLst>
                            <p:childTnLst>
                              <p:par>
                                <p:cTn id="32" presetID="15" presetClass="emph" presetSubtype="0" grpId="0" nodeType="afterEffect">
                                  <p:stCondLst>
                                    <p:cond delay="0"/>
                                  </p:stCondLst>
                                  <p:iterate type="lt">
                                    <p:tmAbs val="25"/>
                                  </p:iterate>
                                  <p:childTnLst>
                                    <p:set>
                                      <p:cBhvr override="childStyle">
                                        <p:cTn id="33" dur="indefinite"/>
                                        <p:tgtEl>
                                          <p:spTgt spid="8"/>
                                        </p:tgtEl>
                                        <p:attrNameLst>
                                          <p:attrName>style.fontWeight</p:attrName>
                                        </p:attrNameLst>
                                      </p:cBhvr>
                                      <p:to>
                                        <p:strVal val="bold"/>
                                      </p:to>
                                    </p:set>
                                  </p:childTnLst>
                                </p:cTn>
                              </p:par>
                            </p:childTnLst>
                          </p:cTn>
                        </p:par>
                      </p:childTnLst>
                    </p:cTn>
                  </p:par>
                  <p:par>
                    <p:cTn id="34" fill="hold">
                      <p:stCondLst>
                        <p:cond delay="indefinite"/>
                      </p:stCondLst>
                      <p:childTnLst>
                        <p:par>
                          <p:cTn id="35" fill="hold">
                            <p:stCondLst>
                              <p:cond delay="0"/>
                            </p:stCondLst>
                            <p:childTnLst>
                              <p:par>
                                <p:cTn id="36" presetID="10" presetClass="exit" presetSubtype="0" fill="hold" grpId="1" nodeType="clickEffect">
                                  <p:stCondLst>
                                    <p:cond delay="0"/>
                                  </p:stCondLst>
                                  <p:childTnLst>
                                    <p:animEffect transition="out" filter="fade">
                                      <p:cBhvr>
                                        <p:cTn id="37" dur="500"/>
                                        <p:tgtEl>
                                          <p:spTgt spid="13"/>
                                        </p:tgtEl>
                                      </p:cBhvr>
                                    </p:animEffect>
                                    <p:set>
                                      <p:cBhvr>
                                        <p:cTn id="38" dur="1" fill="hold">
                                          <p:stCondLst>
                                            <p:cond delay="499"/>
                                          </p:stCondLst>
                                        </p:cTn>
                                        <p:tgtEl>
                                          <p:spTgt spid="13"/>
                                        </p:tgtEl>
                                        <p:attrNameLst>
                                          <p:attrName>style.visibility</p:attrName>
                                        </p:attrNameLst>
                                      </p:cBhvr>
                                      <p:to>
                                        <p:strVal val="hidden"/>
                                      </p:to>
                                    </p:set>
                                  </p:childTnLst>
                                </p:cTn>
                              </p:par>
                            </p:childTnLst>
                          </p:cTn>
                        </p:par>
                        <p:par>
                          <p:cTn id="39" fill="hold">
                            <p:stCondLst>
                              <p:cond delay="500"/>
                            </p:stCondLst>
                            <p:childTnLst>
                              <p:par>
                                <p:cTn id="40" presetID="10" presetClass="entr" presetSubtype="0" fill="hold" grpId="0" nodeType="after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fade">
                                      <p:cBhvr>
                                        <p:cTn id="42" dur="500"/>
                                        <p:tgtEl>
                                          <p:spTgt spid="14"/>
                                        </p:tgtEl>
                                      </p:cBhvr>
                                    </p:animEffect>
                                  </p:childTnLst>
                                </p:cTn>
                              </p:par>
                            </p:childTnLst>
                          </p:cTn>
                        </p:par>
                        <p:par>
                          <p:cTn id="43" fill="hold">
                            <p:stCondLst>
                              <p:cond delay="1000"/>
                            </p:stCondLst>
                            <p:childTnLst>
                              <p:par>
                                <p:cTn id="44" presetID="15" presetClass="emph" presetSubtype="0" grpId="0" nodeType="afterEffect">
                                  <p:stCondLst>
                                    <p:cond delay="0"/>
                                  </p:stCondLst>
                                  <p:iterate type="lt">
                                    <p:tmAbs val="25"/>
                                  </p:iterate>
                                  <p:childTnLst>
                                    <p:set>
                                      <p:cBhvr override="childStyle">
                                        <p:cTn id="45" dur="indefinite"/>
                                        <p:tgtEl>
                                          <p:spTgt spid="7"/>
                                        </p:tgtEl>
                                        <p:attrNameLst>
                                          <p:attrName>style.fontWeight</p:attrName>
                                        </p:attrNameLst>
                                      </p:cBhvr>
                                      <p:to>
                                        <p:strVal val="bold"/>
                                      </p:to>
                                    </p:set>
                                  </p:childTnLst>
                                </p:cTn>
                              </p:par>
                            </p:childTnLst>
                          </p:cTn>
                        </p:par>
                      </p:childTnLst>
                    </p:cTn>
                  </p:par>
                  <p:par>
                    <p:cTn id="46" fill="hold">
                      <p:stCondLst>
                        <p:cond delay="indefinite"/>
                      </p:stCondLst>
                      <p:childTnLst>
                        <p:par>
                          <p:cTn id="47" fill="hold">
                            <p:stCondLst>
                              <p:cond delay="0"/>
                            </p:stCondLst>
                            <p:childTnLst>
                              <p:par>
                                <p:cTn id="48" presetID="10" presetClass="exit" presetSubtype="0" fill="hold" grpId="1" nodeType="clickEffect">
                                  <p:stCondLst>
                                    <p:cond delay="0"/>
                                  </p:stCondLst>
                                  <p:childTnLst>
                                    <p:animEffect transition="out" filter="fade">
                                      <p:cBhvr>
                                        <p:cTn id="49" dur="500"/>
                                        <p:tgtEl>
                                          <p:spTgt spid="14"/>
                                        </p:tgtEl>
                                      </p:cBhvr>
                                    </p:animEffect>
                                    <p:set>
                                      <p:cBhvr>
                                        <p:cTn id="50" dur="1" fill="hold">
                                          <p:stCondLst>
                                            <p:cond delay="499"/>
                                          </p:stCondLst>
                                        </p:cTn>
                                        <p:tgtEl>
                                          <p:spTgt spid="1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P spid="10" grpId="0"/>
      <p:bldP spid="11" grpId="0" animBg="1"/>
      <p:bldP spid="11" grpId="1" animBg="1"/>
      <p:bldP spid="12" grpId="0" animBg="1"/>
      <p:bldP spid="12" grpId="1" animBg="1"/>
      <p:bldP spid="13" grpId="0" animBg="1"/>
      <p:bldP spid="13" grpId="1" animBg="1"/>
      <p:bldP spid="14" grpId="0" animBg="1"/>
      <p:bldP spid="14" grpId="1"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7768B-9C78-4866-92D1-711967FCE4ED}"/>
              </a:ext>
            </a:extLst>
          </p:cNvPr>
          <p:cNvSpPr>
            <a:spLocks noGrp="1"/>
          </p:cNvSpPr>
          <p:nvPr>
            <p:ph type="title"/>
          </p:nvPr>
        </p:nvSpPr>
        <p:spPr>
          <a:xfrm>
            <a:off x="755072" y="2717622"/>
            <a:ext cx="10515600" cy="1325563"/>
          </a:xfrm>
        </p:spPr>
        <p:txBody>
          <a:bodyPr/>
          <a:lstStyle/>
          <a:p>
            <a:r>
              <a:rPr lang="en-US" dirty="0"/>
              <a:t>Demo!</a:t>
            </a:r>
          </a:p>
        </p:txBody>
      </p:sp>
    </p:spTree>
    <p:extLst>
      <p:ext uri="{BB962C8B-B14F-4D97-AF65-F5344CB8AC3E}">
        <p14:creationId xmlns:p14="http://schemas.microsoft.com/office/powerpoint/2010/main" val="39499916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1CC42B6A-EFCE-46C9-B0BC-356962B8253A}"/>
              </a:ext>
            </a:extLst>
          </p:cNvPr>
          <p:cNvGrpSpPr/>
          <p:nvPr/>
        </p:nvGrpSpPr>
        <p:grpSpPr>
          <a:xfrm>
            <a:off x="3102023" y="1901761"/>
            <a:ext cx="2876550" cy="2871788"/>
            <a:chOff x="4657725" y="1533525"/>
            <a:chExt cx="2876550" cy="2871788"/>
          </a:xfrm>
        </p:grpSpPr>
        <p:sp>
          <p:nvSpPr>
            <p:cNvPr id="11" name="Freeform: Shape 10">
              <a:extLst>
                <a:ext uri="{FF2B5EF4-FFF2-40B4-BE49-F238E27FC236}">
                  <a16:creationId xmlns:a16="http://schemas.microsoft.com/office/drawing/2014/main" id="{766E293F-28B8-40F5-A9D6-D34AD0661506}"/>
                </a:ext>
              </a:extLst>
            </p:cNvPr>
            <p:cNvSpPr/>
            <p:nvPr/>
          </p:nvSpPr>
          <p:spPr>
            <a:xfrm>
              <a:off x="4657725" y="1533525"/>
              <a:ext cx="2876550" cy="2871788"/>
            </a:xfrm>
            <a:custGeom>
              <a:avLst/>
              <a:gdLst>
                <a:gd name="connsiteX0" fmla="*/ 319088 w 2876550"/>
                <a:gd name="connsiteY0" fmla="*/ 0 h 2871788"/>
                <a:gd name="connsiteX1" fmla="*/ 2552700 w 2876550"/>
                <a:gd name="connsiteY1" fmla="*/ 4763 h 2871788"/>
                <a:gd name="connsiteX2" fmla="*/ 2871788 w 2876550"/>
                <a:gd name="connsiteY2" fmla="*/ 328613 h 2871788"/>
                <a:gd name="connsiteX3" fmla="*/ 2876550 w 2876550"/>
                <a:gd name="connsiteY3" fmla="*/ 2538413 h 2871788"/>
                <a:gd name="connsiteX4" fmla="*/ 2562225 w 2876550"/>
                <a:gd name="connsiteY4" fmla="*/ 2871788 h 2871788"/>
                <a:gd name="connsiteX5" fmla="*/ 328613 w 2876550"/>
                <a:gd name="connsiteY5" fmla="*/ 2871788 h 2871788"/>
                <a:gd name="connsiteX6" fmla="*/ 0 w 2876550"/>
                <a:gd name="connsiteY6" fmla="*/ 2552700 h 2871788"/>
                <a:gd name="connsiteX7" fmla="*/ 4763 w 2876550"/>
                <a:gd name="connsiteY7" fmla="*/ 328613 h 2871788"/>
                <a:gd name="connsiteX8" fmla="*/ 319088 w 2876550"/>
                <a:gd name="connsiteY8" fmla="*/ 0 h 2871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6550" h="2871788">
                  <a:moveTo>
                    <a:pt x="319088" y="0"/>
                  </a:moveTo>
                  <a:lnTo>
                    <a:pt x="2552700" y="4763"/>
                  </a:lnTo>
                  <a:lnTo>
                    <a:pt x="2871788" y="328613"/>
                  </a:lnTo>
                  <a:cubicBezTo>
                    <a:pt x="2873375" y="1065213"/>
                    <a:pt x="2874963" y="1801813"/>
                    <a:pt x="2876550" y="2538413"/>
                  </a:cubicBezTo>
                  <a:lnTo>
                    <a:pt x="2562225" y="2871788"/>
                  </a:lnTo>
                  <a:lnTo>
                    <a:pt x="328613" y="2871788"/>
                  </a:lnTo>
                  <a:lnTo>
                    <a:pt x="0" y="2552700"/>
                  </a:lnTo>
                  <a:cubicBezTo>
                    <a:pt x="1588" y="1811338"/>
                    <a:pt x="3175" y="1069975"/>
                    <a:pt x="4763" y="328613"/>
                  </a:cubicBezTo>
                  <a:lnTo>
                    <a:pt x="319088" y="0"/>
                  </a:lnTo>
                  <a:close/>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2">
                    <a:lumMod val="75000"/>
                  </a:schemeClr>
                </a:solidFill>
              </a:endParaRPr>
            </a:p>
          </p:txBody>
        </p:sp>
        <p:sp>
          <p:nvSpPr>
            <p:cNvPr id="107" name="Rubrik 1">
              <a:extLst>
                <a:ext uri="{FF2B5EF4-FFF2-40B4-BE49-F238E27FC236}">
                  <a16:creationId xmlns:a16="http://schemas.microsoft.com/office/drawing/2014/main" id="{27740E61-938A-4342-9F34-442081FE8204}"/>
                </a:ext>
              </a:extLst>
            </p:cNvPr>
            <p:cNvSpPr txBox="1">
              <a:spLocks/>
            </p:cNvSpPr>
            <p:nvPr/>
          </p:nvSpPr>
          <p:spPr>
            <a:xfrm>
              <a:off x="4946644" y="4072658"/>
              <a:ext cx="2287013" cy="325036"/>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PROTOCOL”</a:t>
              </a:r>
            </a:p>
          </p:txBody>
        </p:sp>
        <p:sp>
          <p:nvSpPr>
            <p:cNvPr id="110" name="Rubrik 1">
              <a:extLst>
                <a:ext uri="{FF2B5EF4-FFF2-40B4-BE49-F238E27FC236}">
                  <a16:creationId xmlns:a16="http://schemas.microsoft.com/office/drawing/2014/main" id="{19E13C5A-8899-4BE0-83DE-C8F96615D068}"/>
                </a:ext>
              </a:extLst>
            </p:cNvPr>
            <p:cNvSpPr txBox="1">
              <a:spLocks/>
            </p:cNvSpPr>
            <p:nvPr/>
          </p:nvSpPr>
          <p:spPr>
            <a:xfrm>
              <a:off x="4952275" y="1781342"/>
              <a:ext cx="2281382" cy="91633"/>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a:t>
              </a:r>
              <a:r>
                <a:rPr kumimoji="0" lang="en-US" sz="1600" b="1" i="0" strike="noStrike" kern="1200" cap="all" spc="0" normalizeH="0" baseline="0" noProof="0" dirty="0" err="1">
                  <a:ln>
                    <a:noFill/>
                  </a:ln>
                  <a:solidFill>
                    <a:schemeClr val="accent2">
                      <a:lumMod val="75000"/>
                    </a:schemeClr>
                  </a:solidFill>
                  <a:effectLst/>
                  <a:uLnTx/>
                  <a:uFillTx/>
                  <a:latin typeface="Segoe UI"/>
                  <a:ea typeface="+mj-ea"/>
                  <a:cs typeface="+mj-cs"/>
                </a:rPr>
                <a:t>DEvice</a:t>
              </a: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t>
              </a:r>
            </a:p>
          </p:txBody>
        </p:sp>
        <p:pic>
          <p:nvPicPr>
            <p:cNvPr id="112" name="Picture 2" descr="Bildresultat för microservicebus">
              <a:extLst>
                <a:ext uri="{FF2B5EF4-FFF2-40B4-BE49-F238E27FC236}">
                  <a16:creationId xmlns:a16="http://schemas.microsoft.com/office/drawing/2014/main" id="{2E60779E-6CD1-49E8-8B75-108D57B467A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24328" y="2067182"/>
              <a:ext cx="1743343" cy="1743343"/>
            </a:xfrm>
            <a:prstGeom prst="rect">
              <a:avLst/>
            </a:prstGeom>
            <a:noFill/>
            <a:extLst>
              <a:ext uri="{909E8E84-426E-40DD-AFC4-6F175D3DCCD1}">
                <a14:hiddenFill xmlns:a14="http://schemas.microsoft.com/office/drawing/2010/main">
                  <a:solidFill>
                    <a:srgbClr val="FFFFFF"/>
                  </a:solidFill>
                </a14:hiddenFill>
              </a:ext>
            </a:extLst>
          </p:spPr>
        </p:pic>
        <p:sp>
          <p:nvSpPr>
            <p:cNvPr id="114" name="Rubrik 1">
              <a:extLst>
                <a:ext uri="{FF2B5EF4-FFF2-40B4-BE49-F238E27FC236}">
                  <a16:creationId xmlns:a16="http://schemas.microsoft.com/office/drawing/2014/main" id="{C3DF8A39-47D7-4F74-91AA-CC49BCEDBF83}"/>
                </a:ext>
              </a:extLst>
            </p:cNvPr>
            <p:cNvSpPr txBox="1">
              <a:spLocks/>
            </p:cNvSpPr>
            <p:nvPr/>
          </p:nvSpPr>
          <p:spPr>
            <a:xfrm rot="5400000">
              <a:off x="3576240" y="2852710"/>
              <a:ext cx="2346888" cy="139175"/>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Data Source”</a:t>
              </a:r>
            </a:p>
          </p:txBody>
        </p:sp>
        <p:sp>
          <p:nvSpPr>
            <p:cNvPr id="117" name="Rubrik 1">
              <a:extLst>
                <a:ext uri="{FF2B5EF4-FFF2-40B4-BE49-F238E27FC236}">
                  <a16:creationId xmlns:a16="http://schemas.microsoft.com/office/drawing/2014/main" id="{85D01752-60AA-4022-ADCB-2D1181F606D7}"/>
                </a:ext>
              </a:extLst>
            </p:cNvPr>
            <p:cNvSpPr txBox="1">
              <a:spLocks/>
            </p:cNvSpPr>
            <p:nvPr/>
          </p:nvSpPr>
          <p:spPr>
            <a:xfrm rot="16200000">
              <a:off x="6218975" y="2942718"/>
              <a:ext cx="2448097" cy="125346"/>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IoT platform”</a:t>
              </a:r>
            </a:p>
          </p:txBody>
        </p:sp>
      </p:grpSp>
      <p:pic>
        <p:nvPicPr>
          <p:cNvPr id="120" name="Bildobjekt 14">
            <a:extLst>
              <a:ext uri="{FF2B5EF4-FFF2-40B4-BE49-F238E27FC236}">
                <a16:creationId xmlns:a16="http://schemas.microsoft.com/office/drawing/2014/main" id="{94DF39C5-B515-4026-BE49-FD5F2A905C26}"/>
              </a:ext>
            </a:extLst>
          </p:cNvPr>
          <p:cNvPicPr>
            <a:picLocks noChangeAspect="1"/>
          </p:cNvPicPr>
          <p:nvPr/>
        </p:nvPicPr>
        <p:blipFill>
          <a:blip r:embed="rId4"/>
          <a:stretch>
            <a:fillRect/>
          </a:stretch>
        </p:blipFill>
        <p:spPr>
          <a:xfrm>
            <a:off x="3921533" y="2722207"/>
            <a:ext cx="1374344" cy="1403587"/>
          </a:xfrm>
          <a:prstGeom prst="rect">
            <a:avLst/>
          </a:prstGeom>
        </p:spPr>
      </p:pic>
      <p:sp>
        <p:nvSpPr>
          <p:cNvPr id="121" name="TextBox 33">
            <a:extLst>
              <a:ext uri="{FF2B5EF4-FFF2-40B4-BE49-F238E27FC236}">
                <a16:creationId xmlns:a16="http://schemas.microsoft.com/office/drawing/2014/main" id="{260798AB-83A7-4441-BD9D-C9949CC87DAA}"/>
              </a:ext>
            </a:extLst>
          </p:cNvPr>
          <p:cNvSpPr txBox="1"/>
          <p:nvPr/>
        </p:nvSpPr>
        <p:spPr>
          <a:xfrm>
            <a:off x="3261102" y="603324"/>
            <a:ext cx="3650710" cy="1822037"/>
          </a:xfrm>
          <a:prstGeom prst="rect">
            <a:avLst/>
          </a:prstGeom>
          <a:noFill/>
        </p:spPr>
        <p:txBody>
          <a:bodyPr wrap="square" lIns="182880" tIns="146304" rIns="182880" bIns="146304" rtlCol="0" anchor="t">
            <a:spAutoFit/>
          </a:bodyPr>
          <a:lstStyle/>
          <a:p>
            <a:pPr marL="0" marR="0" lvl="0" indent="0" algn="l" defTabSz="914400" rtl="0" eaLnBrk="1" fontAlgn="auto" latinLnBrk="0" hangingPunct="1">
              <a:lnSpc>
                <a:spcPct val="80000"/>
              </a:lnSpc>
              <a:spcBef>
                <a:spcPts val="0"/>
              </a:spcBef>
              <a:buClrTx/>
              <a:buSzTx/>
              <a:buFontTx/>
              <a:buNone/>
              <a:tabLst/>
              <a:defRPr/>
            </a:pPr>
            <a:r>
              <a:rPr kumimoji="0" lang="en-US" sz="2400" b="1" i="0" u="none" strike="noStrike" kern="0" cap="none" spc="0" normalizeH="0" baseline="0" noProof="0" dirty="0">
                <a:ln>
                  <a:noFill/>
                </a:ln>
                <a:solidFill>
                  <a:schemeClr val="tx2">
                    <a:lumMod val="75000"/>
                    <a:lumOff val="25000"/>
                  </a:schemeClr>
                </a:solidFill>
                <a:effectLst/>
                <a:uLnTx/>
                <a:uFillTx/>
                <a:latin typeface="Segoe UI"/>
                <a:ea typeface="+mn-ea"/>
                <a:cs typeface="+mn-cs"/>
              </a:rPr>
              <a:t>    Challenges</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Onboarding</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Hub independence</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Updates &amp; Patches</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Issue tracking</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Monitoring</a:t>
            </a:r>
          </a:p>
        </p:txBody>
      </p:sp>
      <p:cxnSp>
        <p:nvCxnSpPr>
          <p:cNvPr id="140" name="Rak pilkoppling 75">
            <a:extLst>
              <a:ext uri="{FF2B5EF4-FFF2-40B4-BE49-F238E27FC236}">
                <a16:creationId xmlns:a16="http://schemas.microsoft.com/office/drawing/2014/main" id="{E7643F97-6A1C-41F6-A892-C0F67C043EA0}"/>
              </a:ext>
            </a:extLst>
          </p:cNvPr>
          <p:cNvCxnSpPr>
            <a:cxnSpLocks/>
          </p:cNvCxnSpPr>
          <p:nvPr/>
        </p:nvCxnSpPr>
        <p:spPr>
          <a:xfrm>
            <a:off x="5331853" y="3629673"/>
            <a:ext cx="914400" cy="0"/>
          </a:xfrm>
          <a:prstGeom prst="straightConnector1">
            <a:avLst/>
          </a:prstGeom>
          <a:noFill/>
          <a:ln w="50800" cap="flat" cmpd="sng" algn="ctr">
            <a:solidFill>
              <a:srgbClr val="005EB8"/>
            </a:solidFill>
            <a:prstDash val="solid"/>
            <a:headEnd type="triangle" w="med" len="med"/>
            <a:tailEnd type="triangle" w="med" len="med"/>
          </a:ln>
          <a:effectLst>
            <a:outerShdw blurRad="40000" dist="20000" dir="5400000" rotWithShape="0">
              <a:srgbClr val="000000">
                <a:alpha val="38000"/>
              </a:srgbClr>
            </a:outerShdw>
          </a:effectLst>
        </p:spPr>
      </p:cxnSp>
      <p:cxnSp>
        <p:nvCxnSpPr>
          <p:cNvPr id="143" name="Rak pilkoppling 75">
            <a:extLst>
              <a:ext uri="{FF2B5EF4-FFF2-40B4-BE49-F238E27FC236}">
                <a16:creationId xmlns:a16="http://schemas.microsoft.com/office/drawing/2014/main" id="{20908B5E-D2C5-465B-A2EE-D75099E388D9}"/>
              </a:ext>
            </a:extLst>
          </p:cNvPr>
          <p:cNvCxnSpPr>
            <a:cxnSpLocks/>
          </p:cNvCxnSpPr>
          <p:nvPr/>
        </p:nvCxnSpPr>
        <p:spPr>
          <a:xfrm>
            <a:off x="2994212" y="3603248"/>
            <a:ext cx="893728" cy="26426"/>
          </a:xfrm>
          <a:prstGeom prst="straightConnector1">
            <a:avLst/>
          </a:prstGeom>
          <a:noFill/>
          <a:ln w="50800" cap="flat" cmpd="sng" algn="ctr">
            <a:solidFill>
              <a:srgbClr val="005EB8"/>
            </a:solidFill>
            <a:prstDash val="solid"/>
            <a:headEnd type="triangle" w="med" len="med"/>
            <a:tailEnd type="triangle" w="med" len="med"/>
          </a:ln>
          <a:effectLst>
            <a:outerShdw blurRad="40000" dist="20000" dir="5400000" rotWithShape="0">
              <a:srgbClr val="000000">
                <a:alpha val="38000"/>
              </a:srgbClr>
            </a:outerShdw>
          </a:effectLst>
        </p:spPr>
      </p:cxnSp>
      <p:grpSp>
        <p:nvGrpSpPr>
          <p:cNvPr id="152" name="Group 49">
            <a:extLst>
              <a:ext uri="{FF2B5EF4-FFF2-40B4-BE49-F238E27FC236}">
                <a16:creationId xmlns:a16="http://schemas.microsoft.com/office/drawing/2014/main" id="{938C5642-2FFD-4969-8734-4E4ED8864B8B}"/>
              </a:ext>
            </a:extLst>
          </p:cNvPr>
          <p:cNvGrpSpPr/>
          <p:nvPr/>
        </p:nvGrpSpPr>
        <p:grpSpPr>
          <a:xfrm>
            <a:off x="6565426" y="2210729"/>
            <a:ext cx="2459930" cy="2459929"/>
            <a:chOff x="4113771" y="1033079"/>
            <a:chExt cx="3813242" cy="3813242"/>
          </a:xfrm>
        </p:grpSpPr>
        <p:pic>
          <p:nvPicPr>
            <p:cNvPr id="154" name="Picture 8" descr="Bildresultat för microsoft cloud one drive">
              <a:extLst>
                <a:ext uri="{FF2B5EF4-FFF2-40B4-BE49-F238E27FC236}">
                  <a16:creationId xmlns:a16="http://schemas.microsoft.com/office/drawing/2014/main" id="{9B1C54D7-870D-4942-9338-5AAA16F5CE7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13771" y="1033079"/>
              <a:ext cx="3813242" cy="3813242"/>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55">
              <a:extLst>
                <a:ext uri="{FF2B5EF4-FFF2-40B4-BE49-F238E27FC236}">
                  <a16:creationId xmlns:a16="http://schemas.microsoft.com/office/drawing/2014/main" id="{9AF05AB0-81A4-411E-B99D-4149773294EF}"/>
                </a:ext>
              </a:extLst>
            </p:cNvPr>
            <p:cNvPicPr>
              <a:picLocks noChangeAspect="1"/>
            </p:cNvPicPr>
            <p:nvPr/>
          </p:nvPicPr>
          <p:blipFill>
            <a:blip r:embed="rId6"/>
            <a:stretch>
              <a:fillRect/>
            </a:stretch>
          </p:blipFill>
          <p:spPr>
            <a:xfrm>
              <a:off x="5494792" y="3034285"/>
              <a:ext cx="621753" cy="621753"/>
            </a:xfrm>
            <a:prstGeom prst="rect">
              <a:avLst/>
            </a:prstGeom>
          </p:spPr>
        </p:pic>
        <p:pic>
          <p:nvPicPr>
            <p:cNvPr id="156" name="Picture 57">
              <a:extLst>
                <a:ext uri="{FF2B5EF4-FFF2-40B4-BE49-F238E27FC236}">
                  <a16:creationId xmlns:a16="http://schemas.microsoft.com/office/drawing/2014/main" id="{12804536-2C67-47D1-BDC9-6A9461D69387}"/>
                </a:ext>
              </a:extLst>
            </p:cNvPr>
            <p:cNvPicPr>
              <a:picLocks noChangeAspect="1"/>
            </p:cNvPicPr>
            <p:nvPr/>
          </p:nvPicPr>
          <p:blipFill>
            <a:blip r:embed="rId7"/>
            <a:stretch>
              <a:fillRect/>
            </a:stretch>
          </p:blipFill>
          <p:spPr>
            <a:xfrm>
              <a:off x="6232767" y="3034285"/>
              <a:ext cx="831871" cy="642502"/>
            </a:xfrm>
            <a:prstGeom prst="rect">
              <a:avLst/>
            </a:prstGeom>
          </p:spPr>
        </p:pic>
      </p:grpSp>
      <p:grpSp>
        <p:nvGrpSpPr>
          <p:cNvPr id="30" name="Group 29">
            <a:extLst>
              <a:ext uri="{FF2B5EF4-FFF2-40B4-BE49-F238E27FC236}">
                <a16:creationId xmlns:a16="http://schemas.microsoft.com/office/drawing/2014/main" id="{ECDE4DDC-23E3-4689-9F6B-A692114C96AC}"/>
              </a:ext>
            </a:extLst>
          </p:cNvPr>
          <p:cNvGrpSpPr/>
          <p:nvPr/>
        </p:nvGrpSpPr>
        <p:grpSpPr>
          <a:xfrm>
            <a:off x="6756927" y="4941036"/>
            <a:ext cx="2091797" cy="1199189"/>
            <a:chOff x="6756927" y="4941036"/>
            <a:chExt cx="2091797" cy="1199189"/>
          </a:xfrm>
        </p:grpSpPr>
        <p:sp>
          <p:nvSpPr>
            <p:cNvPr id="123" name="Left Brace 34">
              <a:extLst>
                <a:ext uri="{FF2B5EF4-FFF2-40B4-BE49-F238E27FC236}">
                  <a16:creationId xmlns:a16="http://schemas.microsoft.com/office/drawing/2014/main" id="{0092E0FF-690A-4480-90CA-E27E3EF249DB}"/>
                </a:ext>
              </a:extLst>
            </p:cNvPr>
            <p:cNvSpPr/>
            <p:nvPr/>
          </p:nvSpPr>
          <p:spPr>
            <a:xfrm rot="5400000">
              <a:off x="7562536" y="4135427"/>
              <a:ext cx="480580" cy="2091797"/>
            </a:xfrm>
            <a:prstGeom prst="leftBrace">
              <a:avLst>
                <a:gd name="adj1" fmla="val 8333"/>
                <a:gd name="adj2" fmla="val 50090"/>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pic>
          <p:nvPicPr>
            <p:cNvPr id="138" name="Bildobjekt 62" descr="Image result for weather services icon png">
              <a:extLst>
                <a:ext uri="{FF2B5EF4-FFF2-40B4-BE49-F238E27FC236}">
                  <a16:creationId xmlns:a16="http://schemas.microsoft.com/office/drawing/2014/main" id="{CAB90086-D12D-4803-A8B2-441C7BAA241A}"/>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7963960" y="5411755"/>
              <a:ext cx="628972" cy="683234"/>
            </a:xfrm>
            <a:prstGeom prst="rect">
              <a:avLst/>
            </a:prstGeom>
            <a:noFill/>
            <a:ln>
              <a:noFill/>
            </a:ln>
          </p:spPr>
        </p:pic>
        <p:pic>
          <p:nvPicPr>
            <p:cNvPr id="171" name="Picture 24" descr="Bildresultat för price icon png">
              <a:extLst>
                <a:ext uri="{FF2B5EF4-FFF2-40B4-BE49-F238E27FC236}">
                  <a16:creationId xmlns:a16="http://schemas.microsoft.com/office/drawing/2014/main" id="{5ADF65E3-60E0-4A7F-B8D0-ACC34EA6AB7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051485" y="5393405"/>
              <a:ext cx="746820" cy="746820"/>
            </a:xfrm>
            <a:prstGeom prst="rect">
              <a:avLst/>
            </a:prstGeom>
            <a:noFill/>
            <a:extLst>
              <a:ext uri="{909E8E84-426E-40DD-AFC4-6F175D3DCCD1}">
                <a14:hiddenFill xmlns:a14="http://schemas.microsoft.com/office/drawing/2010/main">
                  <a:solidFill>
                    <a:srgbClr val="FFFFFF"/>
                  </a:solidFill>
                </a14:hiddenFill>
              </a:ext>
            </a:extLst>
          </p:spPr>
        </p:pic>
      </p:grpSp>
      <p:sp>
        <p:nvSpPr>
          <p:cNvPr id="164" name="Left Brace 34">
            <a:extLst>
              <a:ext uri="{FF2B5EF4-FFF2-40B4-BE49-F238E27FC236}">
                <a16:creationId xmlns:a16="http://schemas.microsoft.com/office/drawing/2014/main" id="{A0A2A1C6-FD40-4635-8652-05F2AB60B890}"/>
              </a:ext>
            </a:extLst>
          </p:cNvPr>
          <p:cNvSpPr/>
          <p:nvPr/>
        </p:nvSpPr>
        <p:spPr>
          <a:xfrm rot="10800000">
            <a:off x="2022720" y="1303105"/>
            <a:ext cx="329643" cy="4488298"/>
          </a:xfrm>
          <a:prstGeom prst="leftBrace">
            <a:avLst>
              <a:gd name="adj1" fmla="val 0"/>
              <a:gd name="adj2" fmla="val 47118"/>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B3C40"/>
              </a:solidFill>
              <a:effectLst/>
              <a:uLnTx/>
              <a:uFillTx/>
              <a:latin typeface="Segoe UI"/>
              <a:ea typeface="+mn-ea"/>
              <a:cs typeface="+mn-cs"/>
            </a:endParaRPr>
          </a:p>
        </p:txBody>
      </p:sp>
      <p:pic>
        <p:nvPicPr>
          <p:cNvPr id="166" name="Picture 14" descr="Bildresultat för Wind turbine icon png">
            <a:extLst>
              <a:ext uri="{FF2B5EF4-FFF2-40B4-BE49-F238E27FC236}">
                <a16:creationId xmlns:a16="http://schemas.microsoft.com/office/drawing/2014/main" id="{6345A6E5-15B4-4F93-A0A0-225882ADBD5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90550" y="4261006"/>
            <a:ext cx="694086" cy="694086"/>
          </a:xfrm>
          <a:prstGeom prst="rect">
            <a:avLst/>
          </a:prstGeom>
          <a:noFill/>
          <a:extLst>
            <a:ext uri="{909E8E84-426E-40DD-AFC4-6F175D3DCCD1}">
              <a14:hiddenFill xmlns:a14="http://schemas.microsoft.com/office/drawing/2010/main">
                <a:solidFill>
                  <a:srgbClr val="FFFFFF"/>
                </a:solidFill>
              </a14:hiddenFill>
            </a:ext>
          </a:extLst>
        </p:spPr>
      </p:pic>
      <p:pic>
        <p:nvPicPr>
          <p:cNvPr id="167" name="Picture 16" descr="Bildresultat för charging station icon png">
            <a:extLst>
              <a:ext uri="{FF2B5EF4-FFF2-40B4-BE49-F238E27FC236}">
                <a16:creationId xmlns:a16="http://schemas.microsoft.com/office/drawing/2014/main" id="{CC1A303D-0AC0-4BB6-AECB-D7E5734D119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89981" y="5046629"/>
            <a:ext cx="637090" cy="637090"/>
          </a:xfrm>
          <a:prstGeom prst="rect">
            <a:avLst/>
          </a:prstGeom>
          <a:noFill/>
          <a:extLst>
            <a:ext uri="{909E8E84-426E-40DD-AFC4-6F175D3DCCD1}">
              <a14:hiddenFill xmlns:a14="http://schemas.microsoft.com/office/drawing/2010/main">
                <a:solidFill>
                  <a:srgbClr val="FFFFFF"/>
                </a:solidFill>
              </a14:hiddenFill>
            </a:ext>
          </a:extLst>
        </p:spPr>
      </p:pic>
      <p:pic>
        <p:nvPicPr>
          <p:cNvPr id="169" name="Picture 18" descr="Relaterad bild">
            <a:extLst>
              <a:ext uri="{FF2B5EF4-FFF2-40B4-BE49-F238E27FC236}">
                <a16:creationId xmlns:a16="http://schemas.microsoft.com/office/drawing/2014/main" id="{FEE5A8F1-785E-4A81-8409-6CB479BB3E2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62108" y="1514343"/>
            <a:ext cx="601399" cy="462795"/>
          </a:xfrm>
          <a:prstGeom prst="rect">
            <a:avLst/>
          </a:prstGeom>
          <a:noFill/>
          <a:extLst>
            <a:ext uri="{909E8E84-426E-40DD-AFC4-6F175D3DCCD1}">
              <a14:hiddenFill xmlns:a14="http://schemas.microsoft.com/office/drawing/2010/main">
                <a:solidFill>
                  <a:srgbClr val="FFFFFF"/>
                </a:solidFill>
              </a14:hiddenFill>
            </a:ext>
          </a:extLst>
        </p:spPr>
      </p:pic>
      <p:pic>
        <p:nvPicPr>
          <p:cNvPr id="170" name="Picture 20" descr="Bildresultat för illumination icon png">
            <a:extLst>
              <a:ext uri="{FF2B5EF4-FFF2-40B4-BE49-F238E27FC236}">
                <a16:creationId xmlns:a16="http://schemas.microsoft.com/office/drawing/2014/main" id="{3ABF56DC-224E-4E1D-9FEF-FA69F61C0E6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65262" y="2046016"/>
            <a:ext cx="769707" cy="769707"/>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75811573-AC51-4903-8E05-4C4DF9D199C2}"/>
              </a:ext>
            </a:extLst>
          </p:cNvPr>
          <p:cNvPicPr>
            <a:picLocks noChangeAspect="1"/>
          </p:cNvPicPr>
          <p:nvPr/>
        </p:nvPicPr>
        <p:blipFill>
          <a:blip r:embed="rId14"/>
          <a:stretch>
            <a:fillRect/>
          </a:stretch>
        </p:blipFill>
        <p:spPr>
          <a:xfrm>
            <a:off x="1268808" y="2884601"/>
            <a:ext cx="562614" cy="479829"/>
          </a:xfrm>
          <a:prstGeom prst="rect">
            <a:avLst/>
          </a:prstGeom>
        </p:spPr>
      </p:pic>
      <p:pic>
        <p:nvPicPr>
          <p:cNvPr id="17" name="Picture 16">
            <a:extLst>
              <a:ext uri="{FF2B5EF4-FFF2-40B4-BE49-F238E27FC236}">
                <a16:creationId xmlns:a16="http://schemas.microsoft.com/office/drawing/2014/main" id="{CEFB99BF-0944-4971-B589-6FFB8F46D7D3}"/>
              </a:ext>
            </a:extLst>
          </p:cNvPr>
          <p:cNvPicPr>
            <a:picLocks noChangeAspect="1"/>
          </p:cNvPicPr>
          <p:nvPr/>
        </p:nvPicPr>
        <p:blipFill>
          <a:blip r:embed="rId15"/>
          <a:stretch>
            <a:fillRect/>
          </a:stretch>
        </p:blipFill>
        <p:spPr>
          <a:xfrm>
            <a:off x="1231436" y="3603248"/>
            <a:ext cx="582237" cy="497813"/>
          </a:xfrm>
          <a:prstGeom prst="rect">
            <a:avLst/>
          </a:prstGeom>
        </p:spPr>
      </p:pic>
      <p:grpSp>
        <p:nvGrpSpPr>
          <p:cNvPr id="21" name="Group 20">
            <a:extLst>
              <a:ext uri="{FF2B5EF4-FFF2-40B4-BE49-F238E27FC236}">
                <a16:creationId xmlns:a16="http://schemas.microsoft.com/office/drawing/2014/main" id="{3608D2A5-116D-4321-9C75-12BFD948D002}"/>
              </a:ext>
            </a:extLst>
          </p:cNvPr>
          <p:cNvGrpSpPr/>
          <p:nvPr/>
        </p:nvGrpSpPr>
        <p:grpSpPr>
          <a:xfrm>
            <a:off x="9528389" y="1398493"/>
            <a:ext cx="2591590" cy="4310407"/>
            <a:chOff x="9528389" y="1398493"/>
            <a:chExt cx="2591590" cy="4310407"/>
          </a:xfrm>
        </p:grpSpPr>
        <p:sp>
          <p:nvSpPr>
            <p:cNvPr id="128" name="TextBox 50">
              <a:extLst>
                <a:ext uri="{FF2B5EF4-FFF2-40B4-BE49-F238E27FC236}">
                  <a16:creationId xmlns:a16="http://schemas.microsoft.com/office/drawing/2014/main" id="{E52F765B-692B-4C0F-9189-6229BC70D0BF}"/>
                </a:ext>
              </a:extLst>
            </p:cNvPr>
            <p:cNvSpPr txBox="1"/>
            <p:nvPr/>
          </p:nvSpPr>
          <p:spPr>
            <a:xfrm>
              <a:off x="10792371" y="3464752"/>
              <a:ext cx="1327608"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Monitoring</a:t>
              </a:r>
            </a:p>
          </p:txBody>
        </p:sp>
        <p:sp>
          <p:nvSpPr>
            <p:cNvPr id="129" name="TextBox 50">
              <a:extLst>
                <a:ext uri="{FF2B5EF4-FFF2-40B4-BE49-F238E27FC236}">
                  <a16:creationId xmlns:a16="http://schemas.microsoft.com/office/drawing/2014/main" id="{61791761-DE47-4074-AD77-1C05A7003DB4}"/>
                </a:ext>
              </a:extLst>
            </p:cNvPr>
            <p:cNvSpPr txBox="1"/>
            <p:nvPr/>
          </p:nvSpPr>
          <p:spPr>
            <a:xfrm>
              <a:off x="10792371" y="4408570"/>
              <a:ext cx="1114408" cy="646331"/>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Machine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Learning</a:t>
              </a:r>
            </a:p>
          </p:txBody>
        </p:sp>
        <p:pic>
          <p:nvPicPr>
            <p:cNvPr id="132" name="Picture 131">
              <a:extLst>
                <a:ext uri="{FF2B5EF4-FFF2-40B4-BE49-F238E27FC236}">
                  <a16:creationId xmlns:a16="http://schemas.microsoft.com/office/drawing/2014/main" id="{D1E7D26C-D480-4570-8820-05482394B0F8}"/>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054594" y="1501273"/>
              <a:ext cx="682072" cy="682072"/>
            </a:xfrm>
            <a:prstGeom prst="rect">
              <a:avLst/>
            </a:prstGeom>
          </p:spPr>
        </p:pic>
        <p:pic>
          <p:nvPicPr>
            <p:cNvPr id="133" name="Picture 132">
              <a:extLst>
                <a:ext uri="{FF2B5EF4-FFF2-40B4-BE49-F238E27FC236}">
                  <a16:creationId xmlns:a16="http://schemas.microsoft.com/office/drawing/2014/main" id="{33DEE16D-581A-4406-BE2E-C30BFB4D80AD}"/>
                </a:ext>
              </a:extLst>
            </p:cNvPr>
            <p:cNvPicPr>
              <a:picLocks noChangeAspect="1"/>
            </p:cNvPicPr>
            <p:nvPr/>
          </p:nvPicPr>
          <p:blipFill>
            <a:blip r:embed="rId17"/>
            <a:stretch>
              <a:fillRect/>
            </a:stretch>
          </p:blipFill>
          <p:spPr>
            <a:xfrm>
              <a:off x="10053738" y="4266279"/>
              <a:ext cx="683784" cy="683784"/>
            </a:xfrm>
            <a:prstGeom prst="rect">
              <a:avLst/>
            </a:prstGeom>
          </p:spPr>
        </p:pic>
        <p:pic>
          <p:nvPicPr>
            <p:cNvPr id="134" name="Picture 133">
              <a:extLst>
                <a:ext uri="{FF2B5EF4-FFF2-40B4-BE49-F238E27FC236}">
                  <a16:creationId xmlns:a16="http://schemas.microsoft.com/office/drawing/2014/main" id="{AE50C5E4-3B94-4A9D-9B40-C348B7EDC923}"/>
                </a:ext>
              </a:extLst>
            </p:cNvPr>
            <p:cNvPicPr>
              <a:picLocks noChangeAspect="1"/>
            </p:cNvPicPr>
            <p:nvPr/>
          </p:nvPicPr>
          <p:blipFill>
            <a:blip r:embed="rId18"/>
            <a:stretch>
              <a:fillRect/>
            </a:stretch>
          </p:blipFill>
          <p:spPr>
            <a:xfrm>
              <a:off x="10059957" y="2353025"/>
              <a:ext cx="671347" cy="671345"/>
            </a:xfrm>
            <a:prstGeom prst="rect">
              <a:avLst/>
            </a:prstGeom>
          </p:spPr>
        </p:pic>
        <p:pic>
          <p:nvPicPr>
            <p:cNvPr id="135" name="Picture 134">
              <a:extLst>
                <a:ext uri="{FF2B5EF4-FFF2-40B4-BE49-F238E27FC236}">
                  <a16:creationId xmlns:a16="http://schemas.microsoft.com/office/drawing/2014/main" id="{E48DF4FD-D2F2-47C6-8D68-690242045A3F}"/>
                </a:ext>
              </a:extLst>
            </p:cNvPr>
            <p:cNvPicPr>
              <a:picLocks noChangeAspect="1"/>
            </p:cNvPicPr>
            <p:nvPr/>
          </p:nvPicPr>
          <p:blipFill>
            <a:blip r:embed="rId19"/>
            <a:stretch>
              <a:fillRect/>
            </a:stretch>
          </p:blipFill>
          <p:spPr>
            <a:xfrm>
              <a:off x="9944355" y="3194050"/>
              <a:ext cx="902549" cy="902549"/>
            </a:xfrm>
            <a:prstGeom prst="rect">
              <a:avLst/>
            </a:prstGeom>
          </p:spPr>
        </p:pic>
        <p:sp>
          <p:nvSpPr>
            <p:cNvPr id="136" name="TextBox 50">
              <a:extLst>
                <a:ext uri="{FF2B5EF4-FFF2-40B4-BE49-F238E27FC236}">
                  <a16:creationId xmlns:a16="http://schemas.microsoft.com/office/drawing/2014/main" id="{431DFEA4-AD6C-4269-8162-8F43F3535D06}"/>
                </a:ext>
              </a:extLst>
            </p:cNvPr>
            <p:cNvSpPr txBox="1"/>
            <p:nvPr/>
          </p:nvSpPr>
          <p:spPr>
            <a:xfrm>
              <a:off x="10793074" y="1642254"/>
              <a:ext cx="970137"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Reports</a:t>
              </a:r>
            </a:p>
          </p:txBody>
        </p:sp>
        <p:sp>
          <p:nvSpPr>
            <p:cNvPr id="137" name="TextBox 50">
              <a:extLst>
                <a:ext uri="{FF2B5EF4-FFF2-40B4-BE49-F238E27FC236}">
                  <a16:creationId xmlns:a16="http://schemas.microsoft.com/office/drawing/2014/main" id="{299133F5-D9A6-42C9-BF38-E634364A212D}"/>
                </a:ext>
              </a:extLst>
            </p:cNvPr>
            <p:cNvSpPr txBox="1"/>
            <p:nvPr/>
          </p:nvSpPr>
          <p:spPr>
            <a:xfrm>
              <a:off x="10793074" y="2586073"/>
              <a:ext cx="704039"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Apps</a:t>
              </a:r>
            </a:p>
          </p:txBody>
        </p:sp>
        <p:pic>
          <p:nvPicPr>
            <p:cNvPr id="127" name="Bildobjekt 6">
              <a:extLst>
                <a:ext uri="{FF2B5EF4-FFF2-40B4-BE49-F238E27FC236}">
                  <a16:creationId xmlns:a16="http://schemas.microsoft.com/office/drawing/2014/main" id="{FDCE6604-FF0C-46DE-BEC7-41D5FD6D3D91}"/>
                </a:ext>
              </a:extLst>
            </p:cNvPr>
            <p:cNvPicPr>
              <a:picLocks noChangeAspect="1"/>
            </p:cNvPicPr>
            <p:nvPr/>
          </p:nvPicPr>
          <p:blipFill>
            <a:blip r:embed="rId20"/>
            <a:stretch>
              <a:fillRect/>
            </a:stretch>
          </p:blipFill>
          <p:spPr>
            <a:xfrm>
              <a:off x="10137288" y="5214905"/>
              <a:ext cx="523825" cy="493560"/>
            </a:xfrm>
            <a:prstGeom prst="rect">
              <a:avLst/>
            </a:prstGeom>
          </p:spPr>
        </p:pic>
        <p:sp>
          <p:nvSpPr>
            <p:cNvPr id="197" name="Left Brace 34">
              <a:extLst>
                <a:ext uri="{FF2B5EF4-FFF2-40B4-BE49-F238E27FC236}">
                  <a16:creationId xmlns:a16="http://schemas.microsoft.com/office/drawing/2014/main" id="{9EED425A-0CE4-49D9-9A55-95B7BFC5F7C0}"/>
                </a:ext>
              </a:extLst>
            </p:cNvPr>
            <p:cNvSpPr/>
            <p:nvPr/>
          </p:nvSpPr>
          <p:spPr>
            <a:xfrm rot="10800000" flipH="1">
              <a:off x="9528389" y="1398493"/>
              <a:ext cx="329643" cy="4310407"/>
            </a:xfrm>
            <a:prstGeom prst="leftBrace">
              <a:avLst>
                <a:gd name="adj1" fmla="val 0"/>
                <a:gd name="adj2" fmla="val 47118"/>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B3C40"/>
                </a:solidFill>
                <a:effectLst/>
                <a:uLnTx/>
                <a:uFillTx/>
                <a:latin typeface="Segoe UI"/>
                <a:ea typeface="+mn-ea"/>
                <a:cs typeface="+mn-cs"/>
              </a:endParaRPr>
            </a:p>
          </p:txBody>
        </p:sp>
        <p:sp>
          <p:nvSpPr>
            <p:cNvPr id="198" name="TextBox 50">
              <a:extLst>
                <a:ext uri="{FF2B5EF4-FFF2-40B4-BE49-F238E27FC236}">
                  <a16:creationId xmlns:a16="http://schemas.microsoft.com/office/drawing/2014/main" id="{93530112-67AD-4253-BE3A-33EF890DE2B6}"/>
                </a:ext>
              </a:extLst>
            </p:cNvPr>
            <p:cNvSpPr txBox="1"/>
            <p:nvPr/>
          </p:nvSpPr>
          <p:spPr>
            <a:xfrm>
              <a:off x="10846904" y="5260055"/>
              <a:ext cx="601447"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LOB</a:t>
              </a:r>
            </a:p>
          </p:txBody>
        </p:sp>
      </p:grpSp>
      <p:grpSp>
        <p:nvGrpSpPr>
          <p:cNvPr id="29" name="Group 28">
            <a:extLst>
              <a:ext uri="{FF2B5EF4-FFF2-40B4-BE49-F238E27FC236}">
                <a16:creationId xmlns:a16="http://schemas.microsoft.com/office/drawing/2014/main" id="{E783611A-6798-4C0C-AC8F-9C802C7344B1}"/>
              </a:ext>
            </a:extLst>
          </p:cNvPr>
          <p:cNvGrpSpPr/>
          <p:nvPr/>
        </p:nvGrpSpPr>
        <p:grpSpPr>
          <a:xfrm>
            <a:off x="2844452" y="4937365"/>
            <a:ext cx="3342987" cy="1232566"/>
            <a:chOff x="2844452" y="4937365"/>
            <a:chExt cx="3342987" cy="1232566"/>
          </a:xfrm>
        </p:grpSpPr>
        <p:sp>
          <p:nvSpPr>
            <p:cNvPr id="160" name="Left Brace 34">
              <a:extLst>
                <a:ext uri="{FF2B5EF4-FFF2-40B4-BE49-F238E27FC236}">
                  <a16:creationId xmlns:a16="http://schemas.microsoft.com/office/drawing/2014/main" id="{DFCFBAB7-61AE-41F7-A5F4-5AEE9E2FDC83}"/>
                </a:ext>
              </a:extLst>
            </p:cNvPr>
            <p:cNvSpPr/>
            <p:nvPr/>
          </p:nvSpPr>
          <p:spPr>
            <a:xfrm rot="5400000">
              <a:off x="4305448" y="3476369"/>
              <a:ext cx="420996" cy="3342987"/>
            </a:xfrm>
            <a:prstGeom prst="leftBrace">
              <a:avLst>
                <a:gd name="adj1" fmla="val 8333"/>
                <a:gd name="adj2" fmla="val 49469"/>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B3C40"/>
                </a:solidFill>
                <a:effectLst/>
                <a:uLnTx/>
                <a:uFillTx/>
                <a:latin typeface="Segoe UI"/>
                <a:ea typeface="+mn-ea"/>
                <a:cs typeface="+mn-cs"/>
              </a:endParaRPr>
            </a:p>
          </p:txBody>
        </p:sp>
        <p:pic>
          <p:nvPicPr>
            <p:cNvPr id="23" name="Picture 22">
              <a:extLst>
                <a:ext uri="{FF2B5EF4-FFF2-40B4-BE49-F238E27FC236}">
                  <a16:creationId xmlns:a16="http://schemas.microsoft.com/office/drawing/2014/main" id="{DC245A47-1247-475E-9F5B-4BE8AFC41296}"/>
                </a:ext>
              </a:extLst>
            </p:cNvPr>
            <p:cNvPicPr>
              <a:picLocks noChangeAspect="1"/>
            </p:cNvPicPr>
            <p:nvPr/>
          </p:nvPicPr>
          <p:blipFill>
            <a:blip r:embed="rId21"/>
            <a:stretch>
              <a:fillRect/>
            </a:stretch>
          </p:blipFill>
          <p:spPr>
            <a:xfrm>
              <a:off x="3014354" y="5358361"/>
              <a:ext cx="486066" cy="484330"/>
            </a:xfrm>
            <a:prstGeom prst="rect">
              <a:avLst/>
            </a:prstGeom>
          </p:spPr>
        </p:pic>
        <p:pic>
          <p:nvPicPr>
            <p:cNvPr id="24" name="Picture 23">
              <a:extLst>
                <a:ext uri="{FF2B5EF4-FFF2-40B4-BE49-F238E27FC236}">
                  <a16:creationId xmlns:a16="http://schemas.microsoft.com/office/drawing/2014/main" id="{C58F3F33-54A4-4D6C-B2E9-899AA3B5D67B}"/>
                </a:ext>
              </a:extLst>
            </p:cNvPr>
            <p:cNvPicPr>
              <a:picLocks noChangeAspect="1"/>
            </p:cNvPicPr>
            <p:nvPr/>
          </p:nvPicPr>
          <p:blipFill>
            <a:blip r:embed="rId22"/>
            <a:stretch>
              <a:fillRect/>
            </a:stretch>
          </p:blipFill>
          <p:spPr>
            <a:xfrm rot="16200000">
              <a:off x="3838098" y="5308584"/>
              <a:ext cx="420997" cy="592059"/>
            </a:xfrm>
            <a:prstGeom prst="rect">
              <a:avLst/>
            </a:prstGeom>
          </p:spPr>
        </p:pic>
        <p:pic>
          <p:nvPicPr>
            <p:cNvPr id="25" name="Picture 24">
              <a:extLst>
                <a:ext uri="{FF2B5EF4-FFF2-40B4-BE49-F238E27FC236}">
                  <a16:creationId xmlns:a16="http://schemas.microsoft.com/office/drawing/2014/main" id="{839DFE84-2E2E-4F7C-A167-9F8754A8FF82}"/>
                </a:ext>
              </a:extLst>
            </p:cNvPr>
            <p:cNvPicPr>
              <a:picLocks noChangeAspect="1"/>
            </p:cNvPicPr>
            <p:nvPr/>
          </p:nvPicPr>
          <p:blipFill>
            <a:blip r:embed="rId23"/>
            <a:stretch>
              <a:fillRect/>
            </a:stretch>
          </p:blipFill>
          <p:spPr>
            <a:xfrm>
              <a:off x="4546551" y="5341195"/>
              <a:ext cx="568361" cy="509671"/>
            </a:xfrm>
            <a:prstGeom prst="rect">
              <a:avLst/>
            </a:prstGeom>
          </p:spPr>
        </p:pic>
        <p:pic>
          <p:nvPicPr>
            <p:cNvPr id="26" name="Picture 25">
              <a:extLst>
                <a:ext uri="{FF2B5EF4-FFF2-40B4-BE49-F238E27FC236}">
                  <a16:creationId xmlns:a16="http://schemas.microsoft.com/office/drawing/2014/main" id="{2705B6FC-C2DC-4462-910A-BEAAE3BC0ED1}"/>
                </a:ext>
              </a:extLst>
            </p:cNvPr>
            <p:cNvPicPr>
              <a:picLocks noChangeAspect="1"/>
            </p:cNvPicPr>
            <p:nvPr/>
          </p:nvPicPr>
          <p:blipFill>
            <a:blip r:embed="rId24"/>
            <a:stretch>
              <a:fillRect/>
            </a:stretch>
          </p:blipFill>
          <p:spPr>
            <a:xfrm rot="5400000">
              <a:off x="5468223" y="5181850"/>
              <a:ext cx="493146" cy="811836"/>
            </a:xfrm>
            <a:prstGeom prst="rect">
              <a:avLst/>
            </a:prstGeom>
          </p:spPr>
        </p:pic>
        <p:sp>
          <p:nvSpPr>
            <p:cNvPr id="27" name="TextBox 26">
              <a:extLst>
                <a:ext uri="{FF2B5EF4-FFF2-40B4-BE49-F238E27FC236}">
                  <a16:creationId xmlns:a16="http://schemas.microsoft.com/office/drawing/2014/main" id="{CF33F825-D0FF-4F71-819B-39961286B65C}"/>
                </a:ext>
              </a:extLst>
            </p:cNvPr>
            <p:cNvSpPr txBox="1"/>
            <p:nvPr/>
          </p:nvSpPr>
          <p:spPr>
            <a:xfrm>
              <a:off x="2844453" y="5874120"/>
              <a:ext cx="745717" cy="276999"/>
            </a:xfrm>
            <a:prstGeom prst="rect">
              <a:avLst/>
            </a:prstGeom>
            <a:noFill/>
          </p:spPr>
          <p:txBody>
            <a:bodyPr wrap="none" rtlCol="0">
              <a:spAutoFit/>
            </a:bodyPr>
            <a:lstStyle/>
            <a:p>
              <a:r>
                <a:rPr lang="sv-SE" sz="1200" kern="0" dirty="0" err="1">
                  <a:solidFill>
                    <a:sysClr val="windowText" lastClr="000000"/>
                  </a:solidFill>
                  <a:latin typeface="Segoe UI"/>
                </a:rPr>
                <a:t>Modbus</a:t>
              </a:r>
              <a:endParaRPr lang="en-US" sz="1200" kern="0" dirty="0">
                <a:solidFill>
                  <a:sysClr val="windowText" lastClr="000000"/>
                </a:solidFill>
                <a:latin typeface="Segoe UI"/>
              </a:endParaRPr>
            </a:p>
          </p:txBody>
        </p:sp>
        <p:sp>
          <p:nvSpPr>
            <p:cNvPr id="199" name="TextBox 198">
              <a:extLst>
                <a:ext uri="{FF2B5EF4-FFF2-40B4-BE49-F238E27FC236}">
                  <a16:creationId xmlns:a16="http://schemas.microsoft.com/office/drawing/2014/main" id="{9AD1E990-5879-4A00-8813-D00DBF5A73F0}"/>
                </a:ext>
              </a:extLst>
            </p:cNvPr>
            <p:cNvSpPr txBox="1"/>
            <p:nvPr/>
          </p:nvSpPr>
          <p:spPr>
            <a:xfrm>
              <a:off x="3752567" y="5892932"/>
              <a:ext cx="538930" cy="276999"/>
            </a:xfrm>
            <a:prstGeom prst="rect">
              <a:avLst/>
            </a:prstGeom>
            <a:noFill/>
          </p:spPr>
          <p:txBody>
            <a:bodyPr wrap="none" rtlCol="0">
              <a:spAutoFit/>
            </a:bodyPr>
            <a:lstStyle/>
            <a:p>
              <a:r>
                <a:rPr lang="sv-SE" sz="1200" kern="0" dirty="0">
                  <a:solidFill>
                    <a:sysClr val="windowText" lastClr="000000"/>
                  </a:solidFill>
                  <a:latin typeface="Segoe UI"/>
                </a:rPr>
                <a:t>Wi-Fi</a:t>
              </a:r>
              <a:endParaRPr lang="en-US" sz="1200" kern="0" dirty="0">
                <a:solidFill>
                  <a:sysClr val="windowText" lastClr="000000"/>
                </a:solidFill>
                <a:latin typeface="Segoe UI"/>
              </a:endParaRPr>
            </a:p>
          </p:txBody>
        </p:sp>
        <p:sp>
          <p:nvSpPr>
            <p:cNvPr id="200" name="TextBox 199">
              <a:extLst>
                <a:ext uri="{FF2B5EF4-FFF2-40B4-BE49-F238E27FC236}">
                  <a16:creationId xmlns:a16="http://schemas.microsoft.com/office/drawing/2014/main" id="{1A711A52-BD9C-47A0-97EF-8837E193DBB8}"/>
                </a:ext>
              </a:extLst>
            </p:cNvPr>
            <p:cNvSpPr txBox="1"/>
            <p:nvPr/>
          </p:nvSpPr>
          <p:spPr>
            <a:xfrm>
              <a:off x="4569969" y="5878439"/>
              <a:ext cx="516488" cy="276999"/>
            </a:xfrm>
            <a:prstGeom prst="rect">
              <a:avLst/>
            </a:prstGeom>
            <a:noFill/>
          </p:spPr>
          <p:txBody>
            <a:bodyPr wrap="none" rtlCol="0">
              <a:spAutoFit/>
            </a:bodyPr>
            <a:lstStyle/>
            <a:p>
              <a:r>
                <a:rPr lang="sv-SE" sz="1200" kern="0" dirty="0">
                  <a:solidFill>
                    <a:sysClr val="windowText" lastClr="000000"/>
                  </a:solidFill>
                  <a:latin typeface="Segoe UI"/>
                </a:rPr>
                <a:t>LoRa</a:t>
              </a:r>
              <a:endParaRPr lang="en-US" sz="1200" kern="0" dirty="0">
                <a:solidFill>
                  <a:sysClr val="windowText" lastClr="000000"/>
                </a:solidFill>
                <a:latin typeface="Segoe UI"/>
              </a:endParaRPr>
            </a:p>
          </p:txBody>
        </p:sp>
        <p:sp>
          <p:nvSpPr>
            <p:cNvPr id="201" name="TextBox 200">
              <a:extLst>
                <a:ext uri="{FF2B5EF4-FFF2-40B4-BE49-F238E27FC236}">
                  <a16:creationId xmlns:a16="http://schemas.microsoft.com/office/drawing/2014/main" id="{26B2FB84-4557-4AFC-AE0A-8B44E18DE2B7}"/>
                </a:ext>
              </a:extLst>
            </p:cNvPr>
            <p:cNvSpPr txBox="1"/>
            <p:nvPr/>
          </p:nvSpPr>
          <p:spPr>
            <a:xfrm>
              <a:off x="5411702" y="5881376"/>
              <a:ext cx="551754" cy="276999"/>
            </a:xfrm>
            <a:prstGeom prst="rect">
              <a:avLst/>
            </a:prstGeom>
            <a:noFill/>
          </p:spPr>
          <p:txBody>
            <a:bodyPr wrap="none" rtlCol="0">
              <a:spAutoFit/>
            </a:bodyPr>
            <a:lstStyle/>
            <a:p>
              <a:r>
                <a:rPr lang="sv-SE" sz="1200" kern="0" dirty="0" err="1">
                  <a:solidFill>
                    <a:sysClr val="windowText" lastClr="000000"/>
                  </a:solidFill>
                  <a:latin typeface="Segoe UI"/>
                </a:rPr>
                <a:t>Serial</a:t>
              </a:r>
              <a:endParaRPr lang="en-US" sz="1200" kern="0" dirty="0">
                <a:solidFill>
                  <a:sysClr val="windowText" lastClr="000000"/>
                </a:solidFill>
                <a:latin typeface="Segoe UI"/>
              </a:endParaRPr>
            </a:p>
          </p:txBody>
        </p:sp>
      </p:grpSp>
      <p:sp>
        <p:nvSpPr>
          <p:cNvPr id="202" name="Rubrik 1">
            <a:extLst>
              <a:ext uri="{FF2B5EF4-FFF2-40B4-BE49-F238E27FC236}">
                <a16:creationId xmlns:a16="http://schemas.microsoft.com/office/drawing/2014/main" id="{A19EA8AC-0412-402A-B398-41CD3D14E137}"/>
              </a:ext>
            </a:extLst>
          </p:cNvPr>
          <p:cNvSpPr txBox="1">
            <a:spLocks/>
          </p:cNvSpPr>
          <p:nvPr/>
        </p:nvSpPr>
        <p:spPr>
          <a:xfrm rot="5400000">
            <a:off x="-774745" y="3017650"/>
            <a:ext cx="4512007" cy="1082919"/>
          </a:xfrm>
          <a:prstGeom prst="rect">
            <a:avLst/>
          </a:prstGeom>
          <a:solidFill>
            <a:schemeClr val="bg1">
              <a:alpha val="95000"/>
            </a:schemeClr>
          </a:solidFill>
        </p:spPr>
        <p:txBody>
          <a:bodyPr vert="horz" lIns="121920" tIns="60960" rIns="121920" bIns="60960" rtlCol="0" anchor="ctr">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800" b="1" i="0" u="none" strike="noStrike" kern="1200" cap="all" spc="0" normalizeH="0" baseline="0" noProof="0" dirty="0">
                <a:ln>
                  <a:noFill/>
                </a:ln>
                <a:solidFill>
                  <a:srgbClr val="2350A2"/>
                </a:solidFill>
                <a:effectLst/>
                <a:uLnTx/>
                <a:uFillTx/>
                <a:latin typeface="Segoe UI"/>
                <a:ea typeface="+mj-ea"/>
                <a:cs typeface="+mj-cs"/>
              </a:rPr>
              <a:t>DATA</a:t>
            </a:r>
          </a:p>
        </p:txBody>
      </p:sp>
      <p:sp>
        <p:nvSpPr>
          <p:cNvPr id="203" name="Rubrik 1">
            <a:extLst>
              <a:ext uri="{FF2B5EF4-FFF2-40B4-BE49-F238E27FC236}">
                <a16:creationId xmlns:a16="http://schemas.microsoft.com/office/drawing/2014/main" id="{8DDB14B0-042D-4E84-8CC3-0385666E117C}"/>
              </a:ext>
            </a:extLst>
          </p:cNvPr>
          <p:cNvSpPr txBox="1">
            <a:spLocks/>
          </p:cNvSpPr>
          <p:nvPr/>
        </p:nvSpPr>
        <p:spPr>
          <a:xfrm rot="5400000">
            <a:off x="8889552" y="2453295"/>
            <a:ext cx="4285226" cy="2175623"/>
          </a:xfrm>
          <a:prstGeom prst="rect">
            <a:avLst/>
          </a:prstGeom>
          <a:solidFill>
            <a:schemeClr val="bg1">
              <a:alpha val="97000"/>
            </a:schemeClr>
          </a:solidFill>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800" b="1" i="0" u="none" strike="noStrike" kern="1200" cap="all" spc="0" normalizeH="0" baseline="0" noProof="0" dirty="0">
                <a:ln>
                  <a:noFill/>
                </a:ln>
                <a:solidFill>
                  <a:srgbClr val="2350A2"/>
                </a:solidFill>
                <a:effectLst/>
                <a:uLnTx/>
                <a:uFillTx/>
                <a:latin typeface="Segoe UI"/>
                <a:ea typeface="+mj-ea"/>
                <a:cs typeface="+mj-cs"/>
              </a:rPr>
              <a:t>Value</a:t>
            </a:r>
          </a:p>
        </p:txBody>
      </p:sp>
      <p:sp>
        <p:nvSpPr>
          <p:cNvPr id="204" name="Rubrik 1">
            <a:extLst>
              <a:ext uri="{FF2B5EF4-FFF2-40B4-BE49-F238E27FC236}">
                <a16:creationId xmlns:a16="http://schemas.microsoft.com/office/drawing/2014/main" id="{F915BD47-8FBD-4B9A-B285-DC34E6862D2B}"/>
              </a:ext>
            </a:extLst>
          </p:cNvPr>
          <p:cNvSpPr txBox="1">
            <a:spLocks/>
          </p:cNvSpPr>
          <p:nvPr/>
        </p:nvSpPr>
        <p:spPr>
          <a:xfrm>
            <a:off x="6870499" y="5282658"/>
            <a:ext cx="1877322" cy="1182923"/>
          </a:xfrm>
          <a:prstGeom prst="rect">
            <a:avLst/>
          </a:prstGeom>
          <a:solidFill>
            <a:schemeClr val="bg1">
              <a:alpha val="95000"/>
            </a:schemeClr>
          </a:solidFill>
        </p:spPr>
        <p:txBody>
          <a:bodyPr vert="horz" lIns="121920" tIns="60960" rIns="121920" bIns="60960" rtlCol="0" anchor="ctr">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800" b="1" i="0" u="none" strike="noStrike" kern="1200" cap="all" spc="0" normalizeH="0" baseline="0" noProof="0" dirty="0">
                <a:ln>
                  <a:noFill/>
                </a:ln>
                <a:solidFill>
                  <a:srgbClr val="2350A2"/>
                </a:solidFill>
                <a:effectLst/>
                <a:uLnTx/>
                <a:uFillTx/>
                <a:latin typeface="Segoe UI"/>
                <a:ea typeface="+mj-ea"/>
                <a:cs typeface="+mj-cs"/>
              </a:rPr>
              <a:t>DATA</a:t>
            </a:r>
          </a:p>
        </p:txBody>
      </p:sp>
      <p:sp>
        <p:nvSpPr>
          <p:cNvPr id="205" name="Rubrik 1">
            <a:extLst>
              <a:ext uri="{FF2B5EF4-FFF2-40B4-BE49-F238E27FC236}">
                <a16:creationId xmlns:a16="http://schemas.microsoft.com/office/drawing/2014/main" id="{59F037F3-5E96-48B8-96F3-F1194DAC95B6}"/>
              </a:ext>
            </a:extLst>
          </p:cNvPr>
          <p:cNvSpPr txBox="1">
            <a:spLocks/>
          </p:cNvSpPr>
          <p:nvPr/>
        </p:nvSpPr>
        <p:spPr>
          <a:xfrm>
            <a:off x="2946282" y="5270990"/>
            <a:ext cx="3174431" cy="1182923"/>
          </a:xfrm>
          <a:prstGeom prst="rect">
            <a:avLst/>
          </a:prstGeom>
          <a:solidFill>
            <a:schemeClr val="bg1">
              <a:alpha val="95000"/>
            </a:schemeClr>
          </a:solidFill>
        </p:spPr>
        <p:txBody>
          <a:bodyPr vert="horz" lIns="121920" tIns="60960" rIns="121920" bIns="60960" rtlCol="0" anchor="ctr">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400" b="1" i="0" u="none" strike="noStrike" kern="1200" cap="all" spc="0" normalizeH="0" baseline="0" noProof="0" dirty="0">
                <a:ln>
                  <a:noFill/>
                </a:ln>
                <a:solidFill>
                  <a:srgbClr val="2350A2"/>
                </a:solidFill>
                <a:effectLst/>
                <a:uLnTx/>
                <a:uFillTx/>
                <a:latin typeface="Segoe UI"/>
                <a:ea typeface="+mj-ea"/>
                <a:cs typeface="+mj-cs"/>
              </a:rPr>
              <a:t>PROTOCOL</a:t>
            </a:r>
          </a:p>
        </p:txBody>
      </p:sp>
      <p:pic>
        <p:nvPicPr>
          <p:cNvPr id="208" name="Picture 12" descr="Bildresultat för Actemium logo png">
            <a:extLst>
              <a:ext uri="{FF2B5EF4-FFF2-40B4-BE49-F238E27FC236}">
                <a16:creationId xmlns:a16="http://schemas.microsoft.com/office/drawing/2014/main" id="{C8034D69-4538-404D-AF49-CCEE3E8DF2D1}"/>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3132220" y="6081220"/>
            <a:ext cx="2631433" cy="626026"/>
          </a:xfrm>
          <a:prstGeom prst="rect">
            <a:avLst/>
          </a:prstGeom>
          <a:noFill/>
          <a:extLst>
            <a:ext uri="{909E8E84-426E-40DD-AFC4-6F175D3DCCD1}">
              <a14:hiddenFill xmlns:a14="http://schemas.microsoft.com/office/drawing/2010/main">
                <a:solidFill>
                  <a:srgbClr val="FFFFFF"/>
                </a:solidFill>
              </a14:hiddenFill>
            </a:ext>
          </a:extLst>
        </p:spPr>
      </p:pic>
      <p:grpSp>
        <p:nvGrpSpPr>
          <p:cNvPr id="33" name="Group 32">
            <a:extLst>
              <a:ext uri="{FF2B5EF4-FFF2-40B4-BE49-F238E27FC236}">
                <a16:creationId xmlns:a16="http://schemas.microsoft.com/office/drawing/2014/main" id="{7E539017-4560-443F-9D96-3C562031FCCE}"/>
              </a:ext>
            </a:extLst>
          </p:cNvPr>
          <p:cNvGrpSpPr/>
          <p:nvPr/>
        </p:nvGrpSpPr>
        <p:grpSpPr>
          <a:xfrm>
            <a:off x="4428" y="2283802"/>
            <a:ext cx="1285218" cy="2631433"/>
            <a:chOff x="-668461" y="2583471"/>
            <a:chExt cx="1285218" cy="2631433"/>
          </a:xfrm>
        </p:grpSpPr>
        <p:grpSp>
          <p:nvGrpSpPr>
            <p:cNvPr id="31" name="Group 30">
              <a:extLst>
                <a:ext uri="{FF2B5EF4-FFF2-40B4-BE49-F238E27FC236}">
                  <a16:creationId xmlns:a16="http://schemas.microsoft.com/office/drawing/2014/main" id="{5237B636-1EB3-451C-87AA-A36583BF7205}"/>
                </a:ext>
              </a:extLst>
            </p:cNvPr>
            <p:cNvGrpSpPr/>
            <p:nvPr/>
          </p:nvGrpSpPr>
          <p:grpSpPr>
            <a:xfrm rot="5400000">
              <a:off x="-1298408" y="3299740"/>
              <a:ext cx="2631433" cy="1198896"/>
              <a:chOff x="-2452706" y="5405405"/>
              <a:chExt cx="2631433" cy="1198896"/>
            </a:xfrm>
          </p:grpSpPr>
          <p:pic>
            <p:nvPicPr>
              <p:cNvPr id="206" name="Picture 12" descr="Bildresultat för Actemium logo png">
                <a:extLst>
                  <a:ext uri="{FF2B5EF4-FFF2-40B4-BE49-F238E27FC236}">
                    <a16:creationId xmlns:a16="http://schemas.microsoft.com/office/drawing/2014/main" id="{D7625771-8EC2-48B1-9FDC-379F95DC3EEE}"/>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2452706" y="5405405"/>
                <a:ext cx="2631433" cy="626026"/>
              </a:xfrm>
              <a:prstGeom prst="rect">
                <a:avLst/>
              </a:prstGeom>
              <a:noFill/>
              <a:extLst>
                <a:ext uri="{909E8E84-426E-40DD-AFC4-6F175D3DCCD1}">
                  <a14:hiddenFill xmlns:a14="http://schemas.microsoft.com/office/drawing/2010/main">
                    <a:solidFill>
                      <a:srgbClr val="FFFFFF"/>
                    </a:solidFill>
                  </a14:hiddenFill>
                </a:ext>
              </a:extLst>
            </p:spPr>
          </p:pic>
          <p:pic>
            <p:nvPicPr>
              <p:cNvPr id="207" name="Picture 4" descr="Bildresultat för omexom logo png">
                <a:extLst>
                  <a:ext uri="{FF2B5EF4-FFF2-40B4-BE49-F238E27FC236}">
                    <a16:creationId xmlns:a16="http://schemas.microsoft.com/office/drawing/2014/main" id="{DECBD692-FA4D-4000-BF32-69BD0FE735B8}"/>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099488" y="6165412"/>
                <a:ext cx="1924997" cy="438889"/>
              </a:xfrm>
              <a:prstGeom prst="rect">
                <a:avLst/>
              </a:prstGeom>
              <a:noFill/>
              <a:extLst>
                <a:ext uri="{909E8E84-426E-40DD-AFC4-6F175D3DCCD1}">
                  <a14:hiddenFill xmlns:a14="http://schemas.microsoft.com/office/drawing/2010/main">
                    <a:solidFill>
                      <a:srgbClr val="FFFFFF"/>
                    </a:solidFill>
                  </a14:hiddenFill>
                </a:ext>
              </a:extLst>
            </p:spPr>
          </p:pic>
        </p:grpSp>
        <p:sp>
          <p:nvSpPr>
            <p:cNvPr id="32" name="Rectangle 31">
              <a:extLst>
                <a:ext uri="{FF2B5EF4-FFF2-40B4-BE49-F238E27FC236}">
                  <a16:creationId xmlns:a16="http://schemas.microsoft.com/office/drawing/2014/main" id="{27EA4468-D513-4045-9E82-F8EB95A202B7}"/>
                </a:ext>
              </a:extLst>
            </p:cNvPr>
            <p:cNvSpPr/>
            <p:nvPr/>
          </p:nvSpPr>
          <p:spPr>
            <a:xfrm>
              <a:off x="-668461" y="3603248"/>
              <a:ext cx="236539" cy="13341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pic>
        <p:nvPicPr>
          <p:cNvPr id="209" name="Bildobjekt 101">
            <a:extLst>
              <a:ext uri="{FF2B5EF4-FFF2-40B4-BE49-F238E27FC236}">
                <a16:creationId xmlns:a16="http://schemas.microsoft.com/office/drawing/2014/main" id="{939AC2B5-FC2B-4EE1-B59C-F661C6A12EBB}"/>
              </a:ext>
            </a:extLst>
          </p:cNvPr>
          <p:cNvPicPr>
            <a:picLocks noChangeAspect="1"/>
          </p:cNvPicPr>
          <p:nvPr/>
        </p:nvPicPr>
        <p:blipFill>
          <a:blip r:embed="rId27"/>
          <a:stretch>
            <a:fillRect/>
          </a:stretch>
        </p:blipFill>
        <p:spPr>
          <a:xfrm>
            <a:off x="7017649" y="6269322"/>
            <a:ext cx="1654456" cy="302012"/>
          </a:xfrm>
          <a:prstGeom prst="rect">
            <a:avLst/>
          </a:prstGeom>
        </p:spPr>
      </p:pic>
      <p:pic>
        <p:nvPicPr>
          <p:cNvPr id="210" name="Picture 8" descr="Bildresultat för vinci energies logo png">
            <a:extLst>
              <a:ext uri="{FF2B5EF4-FFF2-40B4-BE49-F238E27FC236}">
                <a16:creationId xmlns:a16="http://schemas.microsoft.com/office/drawing/2014/main" id="{930949A6-2A5A-4E54-915A-61DDDF0F3408}"/>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rot="5400000">
            <a:off x="9267643" y="3087432"/>
            <a:ext cx="4392042" cy="11348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100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0"/>
                                        </p:tgtEl>
                                        <p:attrNameLst>
                                          <p:attrName>style.visibility</p:attrName>
                                        </p:attrNameLst>
                                      </p:cBhvr>
                                      <p:to>
                                        <p:strVal val="visible"/>
                                      </p:to>
                                    </p:set>
                                    <p:animEffect transition="in" filter="fade">
                                      <p:cBhvr>
                                        <p:cTn id="7" dur="500"/>
                                        <p:tgtEl>
                                          <p:spTgt spid="14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52"/>
                                        </p:tgtEl>
                                        <p:attrNameLst>
                                          <p:attrName>style.visibility</p:attrName>
                                        </p:attrNameLst>
                                      </p:cBhvr>
                                      <p:to>
                                        <p:strVal val="visible"/>
                                      </p:to>
                                    </p:set>
                                    <p:animEffect transition="in" filter="fade">
                                      <p:cBhvr>
                                        <p:cTn id="11" dur="500"/>
                                        <p:tgtEl>
                                          <p:spTgt spid="152"/>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21"/>
                                        </p:tgtEl>
                                        <p:attrNameLst>
                                          <p:attrName>style.visibility</p:attrName>
                                        </p:attrNameLst>
                                      </p:cBhvr>
                                      <p:to>
                                        <p:strVal val="visible"/>
                                      </p:to>
                                    </p:set>
                                    <p:animEffect transition="in" filter="fade">
                                      <p:cBhvr>
                                        <p:cTn id="16" dur="500"/>
                                        <p:tgtEl>
                                          <p:spTgt spid="21"/>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29"/>
                                        </p:tgtEl>
                                        <p:attrNameLst>
                                          <p:attrName>style.visibility</p:attrName>
                                        </p:attrNameLst>
                                      </p:cBhvr>
                                      <p:to>
                                        <p:strVal val="visible"/>
                                      </p:to>
                                    </p:set>
                                    <p:animEffect transition="in" filter="fade">
                                      <p:cBhvr>
                                        <p:cTn id="26" dur="500"/>
                                        <p:tgtEl>
                                          <p:spTgt spid="29"/>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21"/>
                                        </p:tgtEl>
                                        <p:attrNameLst>
                                          <p:attrName>style.visibility</p:attrName>
                                        </p:attrNameLst>
                                      </p:cBhvr>
                                      <p:to>
                                        <p:strVal val="visible"/>
                                      </p:to>
                                    </p:set>
                                    <p:animEffect transition="in" filter="fade">
                                      <p:cBhvr>
                                        <p:cTn id="31" dur="500"/>
                                        <p:tgtEl>
                                          <p:spTgt spid="121"/>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202"/>
                                        </p:tgtEl>
                                        <p:attrNameLst>
                                          <p:attrName>style.visibility</p:attrName>
                                        </p:attrNameLst>
                                      </p:cBhvr>
                                      <p:to>
                                        <p:strVal val="visible"/>
                                      </p:to>
                                    </p:set>
                                    <p:animEffect transition="in" filter="fade">
                                      <p:cBhvr>
                                        <p:cTn id="36" dur="500"/>
                                        <p:tgtEl>
                                          <p:spTgt spid="202"/>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03"/>
                                        </p:tgtEl>
                                        <p:attrNameLst>
                                          <p:attrName>style.visibility</p:attrName>
                                        </p:attrNameLst>
                                      </p:cBhvr>
                                      <p:to>
                                        <p:strVal val="visible"/>
                                      </p:to>
                                    </p:set>
                                    <p:animEffect transition="in" filter="fade">
                                      <p:cBhvr>
                                        <p:cTn id="39" dur="500"/>
                                        <p:tgtEl>
                                          <p:spTgt spid="203"/>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04"/>
                                        </p:tgtEl>
                                        <p:attrNameLst>
                                          <p:attrName>style.visibility</p:attrName>
                                        </p:attrNameLst>
                                      </p:cBhvr>
                                      <p:to>
                                        <p:strVal val="visible"/>
                                      </p:to>
                                    </p:set>
                                    <p:animEffect transition="in" filter="fade">
                                      <p:cBhvr>
                                        <p:cTn id="42" dur="500"/>
                                        <p:tgtEl>
                                          <p:spTgt spid="204"/>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05"/>
                                        </p:tgtEl>
                                        <p:attrNameLst>
                                          <p:attrName>style.visibility</p:attrName>
                                        </p:attrNameLst>
                                      </p:cBhvr>
                                      <p:to>
                                        <p:strVal val="visible"/>
                                      </p:to>
                                    </p:set>
                                    <p:animEffect transition="in" filter="fade">
                                      <p:cBhvr>
                                        <p:cTn id="45" dur="500"/>
                                        <p:tgtEl>
                                          <p:spTgt spid="205"/>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33"/>
                                        </p:tgtEl>
                                        <p:attrNameLst>
                                          <p:attrName>style.visibility</p:attrName>
                                        </p:attrNameLst>
                                      </p:cBhvr>
                                      <p:to>
                                        <p:strVal val="visible"/>
                                      </p:to>
                                    </p:set>
                                    <p:animEffect transition="in" filter="fade">
                                      <p:cBhvr>
                                        <p:cTn id="50" dur="500"/>
                                        <p:tgtEl>
                                          <p:spTgt spid="33"/>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208"/>
                                        </p:tgtEl>
                                        <p:attrNameLst>
                                          <p:attrName>style.visibility</p:attrName>
                                        </p:attrNameLst>
                                      </p:cBhvr>
                                      <p:to>
                                        <p:strVal val="visible"/>
                                      </p:to>
                                    </p:set>
                                    <p:animEffect transition="in" filter="fade">
                                      <p:cBhvr>
                                        <p:cTn id="55" dur="500"/>
                                        <p:tgtEl>
                                          <p:spTgt spid="208"/>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0"/>
                                  </p:stCondLst>
                                  <p:childTnLst>
                                    <p:set>
                                      <p:cBhvr>
                                        <p:cTn id="59" dur="1" fill="hold">
                                          <p:stCondLst>
                                            <p:cond delay="0"/>
                                          </p:stCondLst>
                                        </p:cTn>
                                        <p:tgtEl>
                                          <p:spTgt spid="209"/>
                                        </p:tgtEl>
                                        <p:attrNameLst>
                                          <p:attrName>style.visibility</p:attrName>
                                        </p:attrNameLst>
                                      </p:cBhvr>
                                      <p:to>
                                        <p:strVal val="visible"/>
                                      </p:to>
                                    </p:set>
                                    <p:animEffect transition="in" filter="fade">
                                      <p:cBhvr>
                                        <p:cTn id="60" dur="500"/>
                                        <p:tgtEl>
                                          <p:spTgt spid="209"/>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nodeType="clickEffect">
                                  <p:stCondLst>
                                    <p:cond delay="0"/>
                                  </p:stCondLst>
                                  <p:childTnLst>
                                    <p:set>
                                      <p:cBhvr>
                                        <p:cTn id="64" dur="1" fill="hold">
                                          <p:stCondLst>
                                            <p:cond delay="0"/>
                                          </p:stCondLst>
                                        </p:cTn>
                                        <p:tgtEl>
                                          <p:spTgt spid="210"/>
                                        </p:tgtEl>
                                        <p:attrNameLst>
                                          <p:attrName>style.visibility</p:attrName>
                                        </p:attrNameLst>
                                      </p:cBhvr>
                                      <p:to>
                                        <p:strVal val="visible"/>
                                      </p:to>
                                    </p:set>
                                    <p:animEffect transition="in" filter="fade">
                                      <p:cBhvr>
                                        <p:cTn id="65" dur="500"/>
                                        <p:tgtEl>
                                          <p:spTgt spid="210"/>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xit" presetSubtype="0" fill="hold" grpId="1" nodeType="clickEffect">
                                  <p:stCondLst>
                                    <p:cond delay="0"/>
                                  </p:stCondLst>
                                  <p:childTnLst>
                                    <p:animEffect transition="out" filter="fade">
                                      <p:cBhvr>
                                        <p:cTn id="69" dur="500"/>
                                        <p:tgtEl>
                                          <p:spTgt spid="121"/>
                                        </p:tgtEl>
                                      </p:cBhvr>
                                    </p:animEffect>
                                    <p:set>
                                      <p:cBhvr>
                                        <p:cTn id="70" dur="1" fill="hold">
                                          <p:stCondLst>
                                            <p:cond delay="499"/>
                                          </p:stCondLst>
                                        </p:cTn>
                                        <p:tgtEl>
                                          <p:spTgt spid="121"/>
                                        </p:tgtEl>
                                        <p:attrNameLst>
                                          <p:attrName>style.visibility</p:attrName>
                                        </p:attrNameLst>
                                      </p:cBhvr>
                                      <p:to>
                                        <p:strVal val="hidden"/>
                                      </p:to>
                                    </p:set>
                                  </p:childTnLst>
                                </p:cTn>
                              </p:par>
                            </p:childTnLst>
                          </p:cTn>
                        </p:par>
                      </p:childTnLst>
                    </p:cTn>
                  </p:par>
                  <p:par>
                    <p:cTn id="71" fill="hold">
                      <p:stCondLst>
                        <p:cond delay="indefinite"/>
                      </p:stCondLst>
                      <p:childTnLst>
                        <p:par>
                          <p:cTn id="72" fill="hold">
                            <p:stCondLst>
                              <p:cond delay="0"/>
                            </p:stCondLst>
                            <p:childTnLst>
                              <p:par>
                                <p:cTn id="73" presetID="10" presetClass="exit" presetSubtype="0" fill="hold" nodeType="clickEffect">
                                  <p:stCondLst>
                                    <p:cond delay="0"/>
                                  </p:stCondLst>
                                  <p:childTnLst>
                                    <p:animEffect transition="out" filter="fade">
                                      <p:cBhvr>
                                        <p:cTn id="74" dur="500"/>
                                        <p:tgtEl>
                                          <p:spTgt spid="120"/>
                                        </p:tgtEl>
                                      </p:cBhvr>
                                    </p:animEffect>
                                    <p:set>
                                      <p:cBhvr>
                                        <p:cTn id="75" dur="1" fill="hold">
                                          <p:stCondLst>
                                            <p:cond delay="499"/>
                                          </p:stCondLst>
                                        </p:cTn>
                                        <p:tgtEl>
                                          <p:spTgt spid="120"/>
                                        </p:tgtEl>
                                        <p:attrNameLst>
                                          <p:attrName>style.visibility</p:attrName>
                                        </p:attrNameLst>
                                      </p:cBhvr>
                                      <p:to>
                                        <p:strVal val="hidden"/>
                                      </p:to>
                                    </p:set>
                                  </p:childTnLst>
                                </p:cTn>
                              </p:par>
                              <p:par>
                                <p:cTn id="76" presetID="10" presetClass="exit" presetSubtype="0" fill="hold" nodeType="withEffect">
                                  <p:stCondLst>
                                    <p:cond delay="0"/>
                                  </p:stCondLst>
                                  <p:childTnLst>
                                    <p:animEffect transition="out" filter="fade">
                                      <p:cBhvr>
                                        <p:cTn id="77" dur="500"/>
                                        <p:tgtEl>
                                          <p:spTgt spid="143"/>
                                        </p:tgtEl>
                                      </p:cBhvr>
                                    </p:animEffect>
                                    <p:set>
                                      <p:cBhvr>
                                        <p:cTn id="78" dur="1" fill="hold">
                                          <p:stCondLst>
                                            <p:cond delay="499"/>
                                          </p:stCondLst>
                                        </p:cTn>
                                        <p:tgtEl>
                                          <p:spTgt spid="143"/>
                                        </p:tgtEl>
                                        <p:attrNameLst>
                                          <p:attrName>style.visibility</p:attrName>
                                        </p:attrNameLst>
                                      </p:cBhvr>
                                      <p:to>
                                        <p:strVal val="hidden"/>
                                      </p:to>
                                    </p:set>
                                  </p:childTnLst>
                                </p:cTn>
                              </p:par>
                              <p:par>
                                <p:cTn id="79" presetID="10" presetClass="exit" presetSubtype="0" fill="hold" nodeType="withEffect">
                                  <p:stCondLst>
                                    <p:cond delay="0"/>
                                  </p:stCondLst>
                                  <p:childTnLst>
                                    <p:animEffect transition="out" filter="fade">
                                      <p:cBhvr>
                                        <p:cTn id="80" dur="500"/>
                                        <p:tgtEl>
                                          <p:spTgt spid="140"/>
                                        </p:tgtEl>
                                      </p:cBhvr>
                                    </p:animEffect>
                                    <p:set>
                                      <p:cBhvr>
                                        <p:cTn id="81" dur="1" fill="hold">
                                          <p:stCondLst>
                                            <p:cond delay="499"/>
                                          </p:stCondLst>
                                        </p:cTn>
                                        <p:tgtEl>
                                          <p:spTgt spid="140"/>
                                        </p:tgtEl>
                                        <p:attrNameLst>
                                          <p:attrName>style.visibility</p:attrName>
                                        </p:attrNameLst>
                                      </p:cBhvr>
                                      <p:to>
                                        <p:strVal val="hidden"/>
                                      </p:to>
                                    </p:se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nodeType="clickEffect">
                                  <p:stCondLst>
                                    <p:cond delay="0"/>
                                  </p:stCondLst>
                                  <p:childTnLst>
                                    <p:set>
                                      <p:cBhvr>
                                        <p:cTn id="85" dur="1" fill="hold">
                                          <p:stCondLst>
                                            <p:cond delay="0"/>
                                          </p:stCondLst>
                                        </p:cTn>
                                        <p:tgtEl>
                                          <p:spTgt spid="15"/>
                                        </p:tgtEl>
                                        <p:attrNameLst>
                                          <p:attrName>style.visibility</p:attrName>
                                        </p:attrNameLst>
                                      </p:cBhvr>
                                      <p:to>
                                        <p:strVal val="visible"/>
                                      </p:to>
                                    </p:set>
                                    <p:animEffect transition="in" filter="fade">
                                      <p:cBhvr>
                                        <p:cTn id="86"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1" grpId="0"/>
      <p:bldP spid="121" grpId="1"/>
      <p:bldP spid="202" grpId="0" animBg="1"/>
      <p:bldP spid="203" grpId="0" animBg="1"/>
      <p:bldP spid="204" grpId="0" animBg="1"/>
      <p:bldP spid="205"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microServiceBus Architecture </a:t>
            </a:r>
            <a:endParaRPr lang="sv-SE" dirty="0"/>
          </a:p>
        </p:txBody>
      </p:sp>
      <p:sp>
        <p:nvSpPr>
          <p:cNvPr id="10" name="Rectangle 9">
            <a:extLst>
              <a:ext uri="{FF2B5EF4-FFF2-40B4-BE49-F238E27FC236}">
                <a16:creationId xmlns:a16="http://schemas.microsoft.com/office/drawing/2014/main" id="{C8A0B451-ED5F-4ADD-8392-4E96C749009F}"/>
              </a:ext>
            </a:extLst>
          </p:cNvPr>
          <p:cNvSpPr/>
          <p:nvPr/>
        </p:nvSpPr>
        <p:spPr>
          <a:xfrm>
            <a:off x="5054566" y="1690688"/>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microServiceBus.com</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grpSp>
        <p:nvGrpSpPr>
          <p:cNvPr id="35" name="Group 34">
            <a:extLst>
              <a:ext uri="{FF2B5EF4-FFF2-40B4-BE49-F238E27FC236}">
                <a16:creationId xmlns:a16="http://schemas.microsoft.com/office/drawing/2014/main" id="{489A5E0D-4B5D-4C86-8A0C-4D2A70653FC0}"/>
              </a:ext>
            </a:extLst>
          </p:cNvPr>
          <p:cNvGrpSpPr/>
          <p:nvPr/>
        </p:nvGrpSpPr>
        <p:grpSpPr>
          <a:xfrm>
            <a:off x="5285859" y="1869167"/>
            <a:ext cx="1912314" cy="1704235"/>
            <a:chOff x="4409853" y="2678169"/>
            <a:chExt cx="2356294" cy="2099906"/>
          </a:xfrm>
        </p:grpSpPr>
        <p:pic>
          <p:nvPicPr>
            <p:cNvPr id="12" name="Picture 11">
              <a:extLst>
                <a:ext uri="{FF2B5EF4-FFF2-40B4-BE49-F238E27FC236}">
                  <a16:creationId xmlns:a16="http://schemas.microsoft.com/office/drawing/2014/main" id="{BA817890-821C-4D6F-B5F9-1E93C8F190A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09853" y="2685447"/>
              <a:ext cx="591306" cy="591306"/>
            </a:xfrm>
            <a:prstGeom prst="rect">
              <a:avLst/>
            </a:prstGeom>
          </p:spPr>
        </p:pic>
        <p:pic>
          <p:nvPicPr>
            <p:cNvPr id="14" name="Picture 13">
              <a:extLst>
                <a:ext uri="{FF2B5EF4-FFF2-40B4-BE49-F238E27FC236}">
                  <a16:creationId xmlns:a16="http://schemas.microsoft.com/office/drawing/2014/main" id="{D63A6F30-CB82-42C9-B205-E5A70C449F0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9853" y="3436108"/>
              <a:ext cx="591306" cy="591306"/>
            </a:xfrm>
            <a:prstGeom prst="rect">
              <a:avLst/>
            </a:prstGeom>
          </p:spPr>
        </p:pic>
        <p:pic>
          <p:nvPicPr>
            <p:cNvPr id="16" name="Picture 15">
              <a:extLst>
                <a:ext uri="{FF2B5EF4-FFF2-40B4-BE49-F238E27FC236}">
                  <a16:creationId xmlns:a16="http://schemas.microsoft.com/office/drawing/2014/main" id="{96628F06-4E43-4843-89FE-4831A904B8A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92347" y="3417814"/>
              <a:ext cx="591306" cy="591306"/>
            </a:xfrm>
            <a:prstGeom prst="rect">
              <a:avLst/>
            </a:prstGeom>
          </p:spPr>
        </p:pic>
        <p:pic>
          <p:nvPicPr>
            <p:cNvPr id="18" name="Picture 17">
              <a:extLst>
                <a:ext uri="{FF2B5EF4-FFF2-40B4-BE49-F238E27FC236}">
                  <a16:creationId xmlns:a16="http://schemas.microsoft.com/office/drawing/2014/main" id="{9795AD0A-748D-4334-9534-B944C5C4FAA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09853" y="4186769"/>
              <a:ext cx="591306" cy="591306"/>
            </a:xfrm>
            <a:prstGeom prst="rect">
              <a:avLst/>
            </a:prstGeom>
          </p:spPr>
        </p:pic>
        <p:pic>
          <p:nvPicPr>
            <p:cNvPr id="20" name="Picture 19">
              <a:extLst>
                <a:ext uri="{FF2B5EF4-FFF2-40B4-BE49-F238E27FC236}">
                  <a16:creationId xmlns:a16="http://schemas.microsoft.com/office/drawing/2014/main" id="{7079A76C-BBC7-4C40-84E0-7F685A6C89D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92347" y="4150181"/>
              <a:ext cx="591306" cy="591306"/>
            </a:xfrm>
            <a:prstGeom prst="rect">
              <a:avLst/>
            </a:prstGeom>
          </p:spPr>
        </p:pic>
        <p:pic>
          <p:nvPicPr>
            <p:cNvPr id="22" name="Picture 21">
              <a:extLst>
                <a:ext uri="{FF2B5EF4-FFF2-40B4-BE49-F238E27FC236}">
                  <a16:creationId xmlns:a16="http://schemas.microsoft.com/office/drawing/2014/main" id="{139E3D0C-F199-47BC-89F7-870898321CC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174841" y="4150181"/>
              <a:ext cx="591306" cy="591306"/>
            </a:xfrm>
            <a:prstGeom prst="rect">
              <a:avLst/>
            </a:prstGeom>
          </p:spPr>
        </p:pic>
        <p:pic>
          <p:nvPicPr>
            <p:cNvPr id="24" name="Picture 23">
              <a:extLst>
                <a:ext uri="{FF2B5EF4-FFF2-40B4-BE49-F238E27FC236}">
                  <a16:creationId xmlns:a16="http://schemas.microsoft.com/office/drawing/2014/main" id="{31C4ABD4-3D8C-4DB5-AFA6-5E2A69A2369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36055" y="2678169"/>
              <a:ext cx="591306" cy="591306"/>
            </a:xfrm>
            <a:prstGeom prst="rect">
              <a:avLst/>
            </a:prstGeom>
          </p:spPr>
        </p:pic>
        <p:pic>
          <p:nvPicPr>
            <p:cNvPr id="26" name="Picture 25">
              <a:extLst>
                <a:ext uri="{FF2B5EF4-FFF2-40B4-BE49-F238E27FC236}">
                  <a16:creationId xmlns:a16="http://schemas.microsoft.com/office/drawing/2014/main" id="{AE96057D-BF63-4535-84E5-3496C3BFF45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238536" y="2685447"/>
              <a:ext cx="591306" cy="591306"/>
            </a:xfrm>
            <a:prstGeom prst="rect">
              <a:avLst/>
            </a:prstGeom>
          </p:spPr>
        </p:pic>
        <p:pic>
          <p:nvPicPr>
            <p:cNvPr id="32" name="Picture 31">
              <a:extLst>
                <a:ext uri="{FF2B5EF4-FFF2-40B4-BE49-F238E27FC236}">
                  <a16:creationId xmlns:a16="http://schemas.microsoft.com/office/drawing/2014/main" id="{E7A2D023-C8E8-4EA0-A5F7-8E867A2B4E2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096000" y="3417814"/>
              <a:ext cx="591306" cy="591306"/>
            </a:xfrm>
            <a:prstGeom prst="rect">
              <a:avLst/>
            </a:prstGeom>
          </p:spPr>
        </p:pic>
      </p:grpSp>
      <p:grpSp>
        <p:nvGrpSpPr>
          <p:cNvPr id="38" name="Group 37">
            <a:extLst>
              <a:ext uri="{FF2B5EF4-FFF2-40B4-BE49-F238E27FC236}">
                <a16:creationId xmlns:a16="http://schemas.microsoft.com/office/drawing/2014/main" id="{3A749C9A-2D9D-466C-AF62-8F3213021330}"/>
              </a:ext>
            </a:extLst>
          </p:cNvPr>
          <p:cNvGrpSpPr/>
          <p:nvPr/>
        </p:nvGrpSpPr>
        <p:grpSpPr>
          <a:xfrm>
            <a:off x="5633065" y="5151190"/>
            <a:ext cx="1194335" cy="1086059"/>
            <a:chOff x="1262428" y="4214604"/>
            <a:chExt cx="1194335" cy="1086059"/>
          </a:xfrm>
        </p:grpSpPr>
        <p:sp>
          <p:nvSpPr>
            <p:cNvPr id="65" name="Field gateway">
              <a:extLst>
                <a:ext uri="{FF2B5EF4-FFF2-40B4-BE49-F238E27FC236}">
                  <a16:creationId xmlns:a16="http://schemas.microsoft.com/office/drawing/2014/main" id="{F40F73A7-856B-4948-9354-E0021336A6B0}"/>
                </a:ext>
              </a:extLst>
            </p:cNvPr>
            <p:cNvSpPr/>
            <p:nvPr/>
          </p:nvSpPr>
          <p:spPr>
            <a:xfrm>
              <a:off x="1262428" y="4214604"/>
              <a:ext cx="1194335" cy="1086059"/>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700"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66" name="Picture 65">
              <a:extLst>
                <a:ext uri="{FF2B5EF4-FFF2-40B4-BE49-F238E27FC236}">
                  <a16:creationId xmlns:a16="http://schemas.microsoft.com/office/drawing/2014/main" id="{26F871FA-8632-4DDC-831F-90C5D7D8FEE8}"/>
                </a:ext>
              </a:extLst>
            </p:cNvPr>
            <p:cNvPicPr>
              <a:picLocks noChangeAspect="1"/>
            </p:cNvPicPr>
            <p:nvPr/>
          </p:nvPicPr>
          <p:blipFill>
            <a:blip r:embed="rId11"/>
            <a:stretch>
              <a:fillRect/>
            </a:stretch>
          </p:blipFill>
          <p:spPr>
            <a:xfrm>
              <a:off x="2139950" y="4255459"/>
              <a:ext cx="279347" cy="200495"/>
            </a:xfrm>
            <a:prstGeom prst="rect">
              <a:avLst/>
            </a:prstGeom>
          </p:spPr>
        </p:pic>
        <p:pic>
          <p:nvPicPr>
            <p:cNvPr id="92" name="Picture 91">
              <a:extLst>
                <a:ext uri="{FF2B5EF4-FFF2-40B4-BE49-F238E27FC236}">
                  <a16:creationId xmlns:a16="http://schemas.microsoft.com/office/drawing/2014/main" id="{9EEF9F88-576E-41E7-98BB-A3F93C493B82}"/>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518233" y="4496809"/>
              <a:ext cx="682723" cy="560348"/>
            </a:xfrm>
            <a:prstGeom prst="rect">
              <a:avLst/>
            </a:prstGeom>
          </p:spPr>
        </p:pic>
      </p:grpSp>
      <p:grpSp>
        <p:nvGrpSpPr>
          <p:cNvPr id="271" name="Group 270">
            <a:extLst>
              <a:ext uri="{FF2B5EF4-FFF2-40B4-BE49-F238E27FC236}">
                <a16:creationId xmlns:a16="http://schemas.microsoft.com/office/drawing/2014/main" id="{FBFEB596-10F2-4127-8D83-BF3FB4BB5F68}"/>
              </a:ext>
            </a:extLst>
          </p:cNvPr>
          <p:cNvGrpSpPr/>
          <p:nvPr/>
        </p:nvGrpSpPr>
        <p:grpSpPr>
          <a:xfrm>
            <a:off x="1456608" y="1690688"/>
            <a:ext cx="2339975" cy="2278320"/>
            <a:chOff x="1252955" y="1942407"/>
            <a:chExt cx="2339975" cy="2278320"/>
          </a:xfrm>
        </p:grpSpPr>
        <p:sp>
          <p:nvSpPr>
            <p:cNvPr id="100" name="Rectangle 99">
              <a:extLst>
                <a:ext uri="{FF2B5EF4-FFF2-40B4-BE49-F238E27FC236}">
                  <a16:creationId xmlns:a16="http://schemas.microsoft.com/office/drawing/2014/main" id="{3DA9703C-732A-40F0-BF75-F92B220D0720}"/>
                </a:ext>
              </a:extLst>
            </p:cNvPr>
            <p:cNvSpPr/>
            <p:nvPr/>
          </p:nvSpPr>
          <p:spPr>
            <a:xfrm>
              <a:off x="1252955" y="1942407"/>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IoT </a:t>
              </a:r>
              <a:r>
                <a:rPr kumimoji="0" lang="sv-SE" sz="1800"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Hub</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230" name="Picture 4" descr="Related image">
              <a:extLst>
                <a:ext uri="{FF2B5EF4-FFF2-40B4-BE49-F238E27FC236}">
                  <a16:creationId xmlns:a16="http://schemas.microsoft.com/office/drawing/2014/main" id="{471AF768-4CC8-464D-B87F-437608EF8D0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256087" y="2575097"/>
              <a:ext cx="418541" cy="506470"/>
            </a:xfrm>
            <a:prstGeom prst="rect">
              <a:avLst/>
            </a:prstGeom>
            <a:noFill/>
            <a:extLst>
              <a:ext uri="{909E8E84-426E-40DD-AFC4-6F175D3DCCD1}">
                <a14:hiddenFill xmlns:a14="http://schemas.microsoft.com/office/drawing/2010/main">
                  <a:solidFill>
                    <a:srgbClr val="FFFFFF"/>
                  </a:solidFill>
                </a14:hiddenFill>
              </a:ext>
            </a:extLst>
          </p:spPr>
        </p:pic>
        <p:pic>
          <p:nvPicPr>
            <p:cNvPr id="248" name="Picture 10" descr="Image result for ibm IOT logo">
              <a:extLst>
                <a:ext uri="{FF2B5EF4-FFF2-40B4-BE49-F238E27FC236}">
                  <a16:creationId xmlns:a16="http://schemas.microsoft.com/office/drawing/2014/main" id="{B3B69772-8A25-49E0-8C03-EDEDEF7F92A7}"/>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891862" y="2575097"/>
              <a:ext cx="523165" cy="512702"/>
            </a:xfrm>
            <a:prstGeom prst="rect">
              <a:avLst/>
            </a:prstGeom>
            <a:noFill/>
            <a:extLst>
              <a:ext uri="{909E8E84-426E-40DD-AFC4-6F175D3DCCD1}">
                <a14:hiddenFill xmlns:a14="http://schemas.microsoft.com/office/drawing/2010/main">
                  <a:solidFill>
                    <a:srgbClr val="FFFFFF"/>
                  </a:solidFill>
                </a14:hiddenFill>
              </a:ext>
            </a:extLst>
          </p:spPr>
        </p:pic>
        <p:grpSp>
          <p:nvGrpSpPr>
            <p:cNvPr id="266" name="Group 265">
              <a:extLst>
                <a:ext uri="{FF2B5EF4-FFF2-40B4-BE49-F238E27FC236}">
                  <a16:creationId xmlns:a16="http://schemas.microsoft.com/office/drawing/2014/main" id="{0A65420A-CB3D-4FC0-978F-05DFD1E7255D}"/>
                </a:ext>
              </a:extLst>
            </p:cNvPr>
            <p:cNvGrpSpPr/>
            <p:nvPr/>
          </p:nvGrpSpPr>
          <p:grpSpPr>
            <a:xfrm>
              <a:off x="1476780" y="2577132"/>
              <a:ext cx="576692" cy="509588"/>
              <a:chOff x="5498091" y="4114800"/>
              <a:chExt cx="576692" cy="509588"/>
            </a:xfrm>
          </p:grpSpPr>
          <p:sp>
            <p:nvSpPr>
              <p:cNvPr id="267" name="Oval 266">
                <a:extLst>
                  <a:ext uri="{FF2B5EF4-FFF2-40B4-BE49-F238E27FC236}">
                    <a16:creationId xmlns:a16="http://schemas.microsoft.com/office/drawing/2014/main" id="{49B47EB1-957A-4198-8462-27F10F2D9FC8}"/>
                  </a:ext>
                </a:extLst>
              </p:cNvPr>
              <p:cNvSpPr/>
              <p:nvPr/>
            </p:nvSpPr>
            <p:spPr>
              <a:xfrm>
                <a:off x="5534025" y="4114800"/>
                <a:ext cx="504825" cy="509588"/>
              </a:xfrm>
              <a:prstGeom prst="ellipse">
                <a:avLst/>
              </a:prstGeom>
              <a:solidFill>
                <a:sysClr val="window" lastClr="FFFFFF"/>
              </a:solidFill>
              <a:ln w="12700" cap="flat" cmpd="sng" algn="ctr">
                <a:solidFill>
                  <a:srgbClr val="5B9BD5">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268" name="Picture 8" descr="Image result for AZURE IOT">
                <a:extLst>
                  <a:ext uri="{FF2B5EF4-FFF2-40B4-BE49-F238E27FC236}">
                    <a16:creationId xmlns:a16="http://schemas.microsoft.com/office/drawing/2014/main" id="{53D99B28-64E7-47AF-B8C8-118F5FE65601}"/>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269" name="Rectangle 268">
            <a:extLst>
              <a:ext uri="{FF2B5EF4-FFF2-40B4-BE49-F238E27FC236}">
                <a16:creationId xmlns:a16="http://schemas.microsoft.com/office/drawing/2014/main" id="{D806B3A5-E322-4674-A9F3-FD513960D2AE}"/>
              </a:ext>
            </a:extLst>
          </p:cNvPr>
          <p:cNvSpPr/>
          <p:nvPr/>
        </p:nvSpPr>
        <p:spPr>
          <a:xfrm>
            <a:off x="8131281" y="1690688"/>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Issue</a:t>
            </a:r>
            <a:r>
              <a:rPr kumimoji="0" lang="sv-SE"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a:t>
            </a:r>
            <a:r>
              <a:rPr kumimoji="0" lang="sv-SE" sz="1800"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tracking</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273" name="Rectangle 272">
            <a:extLst>
              <a:ext uri="{FF2B5EF4-FFF2-40B4-BE49-F238E27FC236}">
                <a16:creationId xmlns:a16="http://schemas.microsoft.com/office/drawing/2014/main" id="{019B1F82-AA98-4A7A-BA52-2A93F4D59750}"/>
              </a:ext>
            </a:extLst>
          </p:cNvPr>
          <p:cNvSpPr/>
          <p:nvPr/>
        </p:nvSpPr>
        <p:spPr>
          <a:xfrm>
            <a:off x="1281643" y="1482567"/>
            <a:ext cx="9630146" cy="2737601"/>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0" name="Picture 8" descr="Bildresultat för microsoft cloud one drive">
            <a:extLst>
              <a:ext uri="{FF2B5EF4-FFF2-40B4-BE49-F238E27FC236}">
                <a16:creationId xmlns:a16="http://schemas.microsoft.com/office/drawing/2014/main" id="{68FBA8E8-72DE-4B0F-804C-3D45770A97E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032223" y="490746"/>
            <a:ext cx="1585913" cy="1585912"/>
          </a:xfrm>
          <a:prstGeom prst="rect">
            <a:avLst/>
          </a:prstGeom>
          <a:noFill/>
          <a:extLst>
            <a:ext uri="{909E8E84-426E-40DD-AFC4-6F175D3DCCD1}">
              <a14:hiddenFill xmlns:a14="http://schemas.microsoft.com/office/drawing/2010/main">
                <a:solidFill>
                  <a:srgbClr val="FFFFFF"/>
                </a:solidFill>
              </a14:hiddenFill>
            </a:ext>
          </a:extLst>
        </p:spPr>
      </p:pic>
      <p:cxnSp>
        <p:nvCxnSpPr>
          <p:cNvPr id="277" name="Connector: Elbow 276">
            <a:extLst>
              <a:ext uri="{FF2B5EF4-FFF2-40B4-BE49-F238E27FC236}">
                <a16:creationId xmlns:a16="http://schemas.microsoft.com/office/drawing/2014/main" id="{E649AC76-FDC4-46B3-8B30-D683EF42CFB9}"/>
              </a:ext>
            </a:extLst>
          </p:cNvPr>
          <p:cNvCxnSpPr>
            <a:stCxn id="65" idx="1"/>
            <a:endCxn id="100" idx="2"/>
          </p:cNvCxnSpPr>
          <p:nvPr/>
        </p:nvCxnSpPr>
        <p:spPr>
          <a:xfrm rot="10800000">
            <a:off x="2626597" y="3969008"/>
            <a:ext cx="3006469" cy="1725212"/>
          </a:xfrm>
          <a:prstGeom prst="bentConnector2">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79" name="Straight Arrow Connector 278">
            <a:extLst>
              <a:ext uri="{FF2B5EF4-FFF2-40B4-BE49-F238E27FC236}">
                <a16:creationId xmlns:a16="http://schemas.microsoft.com/office/drawing/2014/main" id="{CCDD3DD8-2928-4568-AFB2-0584DA5B175B}"/>
              </a:ext>
            </a:extLst>
          </p:cNvPr>
          <p:cNvCxnSpPr>
            <a:stCxn id="65" idx="0"/>
            <a:endCxn id="10" idx="2"/>
          </p:cNvCxnSpPr>
          <p:nvPr/>
        </p:nvCxnSpPr>
        <p:spPr>
          <a:xfrm flipH="1" flipV="1">
            <a:off x="6224554" y="3969008"/>
            <a:ext cx="5679" cy="1182182"/>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81" name="Straight Arrow Connector 280">
            <a:extLst>
              <a:ext uri="{FF2B5EF4-FFF2-40B4-BE49-F238E27FC236}">
                <a16:creationId xmlns:a16="http://schemas.microsoft.com/office/drawing/2014/main" id="{C2639AA1-0896-4214-8A2D-1BDBC648118F}"/>
              </a:ext>
            </a:extLst>
          </p:cNvPr>
          <p:cNvCxnSpPr>
            <a:stCxn id="269" idx="1"/>
            <a:endCxn id="10" idx="3"/>
          </p:cNvCxnSpPr>
          <p:nvPr/>
        </p:nvCxnSpPr>
        <p:spPr>
          <a:xfrm flipH="1">
            <a:off x="7394541" y="2829848"/>
            <a:ext cx="736740" cy="0"/>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3" name="Straight Arrow Connector 282">
            <a:extLst>
              <a:ext uri="{FF2B5EF4-FFF2-40B4-BE49-F238E27FC236}">
                <a16:creationId xmlns:a16="http://schemas.microsoft.com/office/drawing/2014/main" id="{F8271ACB-5E3B-41BE-9297-56506E6BCACB}"/>
              </a:ext>
            </a:extLst>
          </p:cNvPr>
          <p:cNvCxnSpPr>
            <a:stCxn id="10" idx="1"/>
            <a:endCxn id="100" idx="3"/>
          </p:cNvCxnSpPr>
          <p:nvPr/>
        </p:nvCxnSpPr>
        <p:spPr>
          <a:xfrm flipH="1">
            <a:off x="3796583" y="2829848"/>
            <a:ext cx="1257983"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pic>
        <p:nvPicPr>
          <p:cNvPr id="36" name="Picture 2" descr="https://microservicebus.com/Images/ServiceNowLogo.png">
            <a:extLst>
              <a:ext uri="{FF2B5EF4-FFF2-40B4-BE49-F238E27FC236}">
                <a16:creationId xmlns:a16="http://schemas.microsoft.com/office/drawing/2014/main" id="{491BB979-05D6-4599-B211-A0283426591B}"/>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348768" y="2608105"/>
            <a:ext cx="1905000" cy="4000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350248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CC0843B-1394-43C8-8024-E83262E6D349}"/>
              </a:ext>
            </a:extLst>
          </p:cNvPr>
          <p:cNvSpPr>
            <a:spLocks noGrp="1"/>
          </p:cNvSpPr>
          <p:nvPr>
            <p:ph type="title"/>
          </p:nvPr>
        </p:nvSpPr>
        <p:spPr/>
        <p:txBody>
          <a:bodyPr/>
          <a:lstStyle/>
          <a:p>
            <a:r>
              <a:rPr lang="en-US" dirty="0"/>
              <a:t>ServiceNow integration</a:t>
            </a:r>
          </a:p>
        </p:txBody>
      </p:sp>
      <p:sp>
        <p:nvSpPr>
          <p:cNvPr id="40" name="Rectangle 39">
            <a:extLst>
              <a:ext uri="{FF2B5EF4-FFF2-40B4-BE49-F238E27FC236}">
                <a16:creationId xmlns:a16="http://schemas.microsoft.com/office/drawing/2014/main" id="{D0FD0B23-2DA1-4C47-B172-4959C76E8A33}"/>
              </a:ext>
            </a:extLst>
          </p:cNvPr>
          <p:cNvSpPr/>
          <p:nvPr/>
        </p:nvSpPr>
        <p:spPr>
          <a:xfrm>
            <a:off x="1518877" y="1690688"/>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microServiceBus.com</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grpSp>
        <p:nvGrpSpPr>
          <p:cNvPr id="43" name="Group 42">
            <a:extLst>
              <a:ext uri="{FF2B5EF4-FFF2-40B4-BE49-F238E27FC236}">
                <a16:creationId xmlns:a16="http://schemas.microsoft.com/office/drawing/2014/main" id="{9BA4D84A-092B-41FD-B150-449DC392E2EE}"/>
              </a:ext>
            </a:extLst>
          </p:cNvPr>
          <p:cNvGrpSpPr/>
          <p:nvPr/>
        </p:nvGrpSpPr>
        <p:grpSpPr>
          <a:xfrm>
            <a:off x="1750170" y="1869167"/>
            <a:ext cx="1912314" cy="1704235"/>
            <a:chOff x="4409853" y="2678169"/>
            <a:chExt cx="2356294" cy="2099906"/>
          </a:xfrm>
        </p:grpSpPr>
        <p:pic>
          <p:nvPicPr>
            <p:cNvPr id="44" name="Picture 43">
              <a:extLst>
                <a:ext uri="{FF2B5EF4-FFF2-40B4-BE49-F238E27FC236}">
                  <a16:creationId xmlns:a16="http://schemas.microsoft.com/office/drawing/2014/main" id="{3CFC4952-7D09-494A-AC0C-2EDF731FE4C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09853" y="2685447"/>
              <a:ext cx="591306" cy="591306"/>
            </a:xfrm>
            <a:prstGeom prst="rect">
              <a:avLst/>
            </a:prstGeom>
          </p:spPr>
        </p:pic>
        <p:pic>
          <p:nvPicPr>
            <p:cNvPr id="46" name="Picture 45">
              <a:extLst>
                <a:ext uri="{FF2B5EF4-FFF2-40B4-BE49-F238E27FC236}">
                  <a16:creationId xmlns:a16="http://schemas.microsoft.com/office/drawing/2014/main" id="{1B87EEC0-77D7-4B4A-B44D-44860F2D8BC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9853" y="3436108"/>
              <a:ext cx="591306" cy="591306"/>
            </a:xfrm>
            <a:prstGeom prst="rect">
              <a:avLst/>
            </a:prstGeom>
          </p:spPr>
        </p:pic>
        <p:pic>
          <p:nvPicPr>
            <p:cNvPr id="48" name="Picture 47">
              <a:extLst>
                <a:ext uri="{FF2B5EF4-FFF2-40B4-BE49-F238E27FC236}">
                  <a16:creationId xmlns:a16="http://schemas.microsoft.com/office/drawing/2014/main" id="{34A90483-EAA4-4B50-8F92-F00A6DB00D5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92347" y="3417814"/>
              <a:ext cx="591306" cy="591306"/>
            </a:xfrm>
            <a:prstGeom prst="rect">
              <a:avLst/>
            </a:prstGeom>
          </p:spPr>
        </p:pic>
        <p:pic>
          <p:nvPicPr>
            <p:cNvPr id="50" name="Picture 49">
              <a:extLst>
                <a:ext uri="{FF2B5EF4-FFF2-40B4-BE49-F238E27FC236}">
                  <a16:creationId xmlns:a16="http://schemas.microsoft.com/office/drawing/2014/main" id="{93627FDA-8992-4554-87F1-56634ECFC50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09853" y="4186769"/>
              <a:ext cx="591306" cy="591306"/>
            </a:xfrm>
            <a:prstGeom prst="rect">
              <a:avLst/>
            </a:prstGeom>
          </p:spPr>
        </p:pic>
        <p:pic>
          <p:nvPicPr>
            <p:cNvPr id="51" name="Picture 50">
              <a:extLst>
                <a:ext uri="{FF2B5EF4-FFF2-40B4-BE49-F238E27FC236}">
                  <a16:creationId xmlns:a16="http://schemas.microsoft.com/office/drawing/2014/main" id="{3CB9F603-08AA-4422-A931-1110CD30161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92347" y="4150181"/>
              <a:ext cx="591306" cy="591306"/>
            </a:xfrm>
            <a:prstGeom prst="rect">
              <a:avLst/>
            </a:prstGeom>
          </p:spPr>
        </p:pic>
        <p:pic>
          <p:nvPicPr>
            <p:cNvPr id="52" name="Picture 51">
              <a:extLst>
                <a:ext uri="{FF2B5EF4-FFF2-40B4-BE49-F238E27FC236}">
                  <a16:creationId xmlns:a16="http://schemas.microsoft.com/office/drawing/2014/main" id="{6F591CB4-801F-4FC3-9BD3-E8AD31D5378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174841" y="4150181"/>
              <a:ext cx="591306" cy="591306"/>
            </a:xfrm>
            <a:prstGeom prst="rect">
              <a:avLst/>
            </a:prstGeom>
          </p:spPr>
        </p:pic>
        <p:pic>
          <p:nvPicPr>
            <p:cNvPr id="53" name="Picture 52">
              <a:extLst>
                <a:ext uri="{FF2B5EF4-FFF2-40B4-BE49-F238E27FC236}">
                  <a16:creationId xmlns:a16="http://schemas.microsoft.com/office/drawing/2014/main" id="{680C5C8F-4F1D-4C0C-A216-136813DE14C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36055" y="2678169"/>
              <a:ext cx="591306" cy="591306"/>
            </a:xfrm>
            <a:prstGeom prst="rect">
              <a:avLst/>
            </a:prstGeom>
          </p:spPr>
        </p:pic>
        <p:pic>
          <p:nvPicPr>
            <p:cNvPr id="54" name="Picture 53">
              <a:extLst>
                <a:ext uri="{FF2B5EF4-FFF2-40B4-BE49-F238E27FC236}">
                  <a16:creationId xmlns:a16="http://schemas.microsoft.com/office/drawing/2014/main" id="{C2DF3CEA-0389-4243-97AC-DE4EFF71F6B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238536" y="2685447"/>
              <a:ext cx="591306" cy="591306"/>
            </a:xfrm>
            <a:prstGeom prst="rect">
              <a:avLst/>
            </a:prstGeom>
          </p:spPr>
        </p:pic>
        <p:pic>
          <p:nvPicPr>
            <p:cNvPr id="55" name="Picture 54">
              <a:extLst>
                <a:ext uri="{FF2B5EF4-FFF2-40B4-BE49-F238E27FC236}">
                  <a16:creationId xmlns:a16="http://schemas.microsoft.com/office/drawing/2014/main" id="{C22E3C3E-0603-4C0A-92F7-291C0F26CF5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096000" y="3417814"/>
              <a:ext cx="591306" cy="591306"/>
            </a:xfrm>
            <a:prstGeom prst="rect">
              <a:avLst/>
            </a:prstGeom>
          </p:spPr>
        </p:pic>
      </p:grpSp>
      <p:grpSp>
        <p:nvGrpSpPr>
          <p:cNvPr id="56" name="Group 55">
            <a:extLst>
              <a:ext uri="{FF2B5EF4-FFF2-40B4-BE49-F238E27FC236}">
                <a16:creationId xmlns:a16="http://schemas.microsoft.com/office/drawing/2014/main" id="{95A905F6-3EA5-40EB-AF5A-ADCEF48C36D5}"/>
              </a:ext>
            </a:extLst>
          </p:cNvPr>
          <p:cNvGrpSpPr/>
          <p:nvPr/>
        </p:nvGrpSpPr>
        <p:grpSpPr>
          <a:xfrm>
            <a:off x="2097376" y="5151190"/>
            <a:ext cx="1194335" cy="1086059"/>
            <a:chOff x="1262428" y="4214604"/>
            <a:chExt cx="1194335" cy="1086059"/>
          </a:xfrm>
        </p:grpSpPr>
        <p:sp>
          <p:nvSpPr>
            <p:cNvPr id="57" name="Field gateway">
              <a:extLst>
                <a:ext uri="{FF2B5EF4-FFF2-40B4-BE49-F238E27FC236}">
                  <a16:creationId xmlns:a16="http://schemas.microsoft.com/office/drawing/2014/main" id="{A7BCEC8F-FEEA-4844-B474-F3D715AF3B9C}"/>
                </a:ext>
              </a:extLst>
            </p:cNvPr>
            <p:cNvSpPr/>
            <p:nvPr/>
          </p:nvSpPr>
          <p:spPr>
            <a:xfrm>
              <a:off x="1262428" y="4214604"/>
              <a:ext cx="1194335" cy="1086059"/>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700"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58" name="Picture 57">
              <a:extLst>
                <a:ext uri="{FF2B5EF4-FFF2-40B4-BE49-F238E27FC236}">
                  <a16:creationId xmlns:a16="http://schemas.microsoft.com/office/drawing/2014/main" id="{43294D83-E683-4D34-A69A-7F0778924848}"/>
                </a:ext>
              </a:extLst>
            </p:cNvPr>
            <p:cNvPicPr>
              <a:picLocks noChangeAspect="1"/>
            </p:cNvPicPr>
            <p:nvPr/>
          </p:nvPicPr>
          <p:blipFill>
            <a:blip r:embed="rId11"/>
            <a:stretch>
              <a:fillRect/>
            </a:stretch>
          </p:blipFill>
          <p:spPr>
            <a:xfrm>
              <a:off x="2139950" y="4255459"/>
              <a:ext cx="279347" cy="200495"/>
            </a:xfrm>
            <a:prstGeom prst="rect">
              <a:avLst/>
            </a:prstGeom>
          </p:spPr>
        </p:pic>
        <p:pic>
          <p:nvPicPr>
            <p:cNvPr id="59" name="Picture 58">
              <a:extLst>
                <a:ext uri="{FF2B5EF4-FFF2-40B4-BE49-F238E27FC236}">
                  <a16:creationId xmlns:a16="http://schemas.microsoft.com/office/drawing/2014/main" id="{A3044F70-730E-45C3-987C-C92A31434CCF}"/>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518233" y="4496809"/>
              <a:ext cx="682723" cy="560348"/>
            </a:xfrm>
            <a:prstGeom prst="rect">
              <a:avLst/>
            </a:prstGeom>
          </p:spPr>
        </p:pic>
      </p:grpSp>
      <p:sp>
        <p:nvSpPr>
          <p:cNvPr id="60" name="Rectangle 59">
            <a:extLst>
              <a:ext uri="{FF2B5EF4-FFF2-40B4-BE49-F238E27FC236}">
                <a16:creationId xmlns:a16="http://schemas.microsoft.com/office/drawing/2014/main" id="{9AD0558B-52B3-41B1-AE9B-401E665FA66C}"/>
              </a:ext>
            </a:extLst>
          </p:cNvPr>
          <p:cNvSpPr/>
          <p:nvPr/>
        </p:nvSpPr>
        <p:spPr>
          <a:xfrm>
            <a:off x="8131281" y="1690688"/>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Issue</a:t>
            </a:r>
            <a:r>
              <a:rPr kumimoji="0" lang="sv-SE"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a:t>
            </a:r>
            <a:r>
              <a:rPr kumimoji="0" lang="sv-SE" sz="1800"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tracking</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cxnSp>
        <p:nvCxnSpPr>
          <p:cNvPr id="62" name="Straight Arrow Connector 61">
            <a:extLst>
              <a:ext uri="{FF2B5EF4-FFF2-40B4-BE49-F238E27FC236}">
                <a16:creationId xmlns:a16="http://schemas.microsoft.com/office/drawing/2014/main" id="{D4B448E4-D90E-4A30-8247-26FF3218893B}"/>
              </a:ext>
            </a:extLst>
          </p:cNvPr>
          <p:cNvCxnSpPr>
            <a:stCxn id="57" idx="0"/>
            <a:endCxn id="40" idx="2"/>
          </p:cNvCxnSpPr>
          <p:nvPr/>
        </p:nvCxnSpPr>
        <p:spPr>
          <a:xfrm flipH="1" flipV="1">
            <a:off x="2688865" y="3969008"/>
            <a:ext cx="5679" cy="1182182"/>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pic>
        <p:nvPicPr>
          <p:cNvPr id="64" name="Picture 2" descr="https://microservicebus.com/Images/ServiceNowLogo.png">
            <a:extLst>
              <a:ext uri="{FF2B5EF4-FFF2-40B4-BE49-F238E27FC236}">
                <a16:creationId xmlns:a16="http://schemas.microsoft.com/office/drawing/2014/main" id="{8369914D-3747-46B5-BA88-D7BB71859301}"/>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348768" y="2608105"/>
            <a:ext cx="1905000" cy="400050"/>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Arrow Connector 7">
            <a:extLst>
              <a:ext uri="{FF2B5EF4-FFF2-40B4-BE49-F238E27FC236}">
                <a16:creationId xmlns:a16="http://schemas.microsoft.com/office/drawing/2014/main" id="{982570AE-CA4D-4A59-8FA4-E49FC7A80D56}"/>
              </a:ext>
            </a:extLst>
          </p:cNvPr>
          <p:cNvCxnSpPr>
            <a:cxnSpLocks/>
          </p:cNvCxnSpPr>
          <p:nvPr/>
        </p:nvCxnSpPr>
        <p:spPr>
          <a:xfrm>
            <a:off x="3858852" y="2228958"/>
            <a:ext cx="4272429"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6D4A2F4-26EE-4A87-A307-1460E4AA5817}"/>
              </a:ext>
            </a:extLst>
          </p:cNvPr>
          <p:cNvSpPr txBox="1"/>
          <p:nvPr/>
        </p:nvSpPr>
        <p:spPr>
          <a:xfrm>
            <a:off x="5357728" y="2044292"/>
            <a:ext cx="1177310" cy="369332"/>
          </a:xfrm>
          <a:prstGeom prst="rect">
            <a:avLst/>
          </a:prstGeom>
          <a:solidFill>
            <a:schemeClr val="tx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Create CI}</a:t>
            </a:r>
          </a:p>
        </p:txBody>
      </p:sp>
      <p:cxnSp>
        <p:nvCxnSpPr>
          <p:cNvPr id="66" name="Straight Arrow Connector 65">
            <a:extLst>
              <a:ext uri="{FF2B5EF4-FFF2-40B4-BE49-F238E27FC236}">
                <a16:creationId xmlns:a16="http://schemas.microsoft.com/office/drawing/2014/main" id="{3C87C71C-7D7D-4142-B9FD-A21DEA5F6615}"/>
              </a:ext>
            </a:extLst>
          </p:cNvPr>
          <p:cNvCxnSpPr>
            <a:cxnSpLocks/>
          </p:cNvCxnSpPr>
          <p:nvPr/>
        </p:nvCxnSpPr>
        <p:spPr>
          <a:xfrm>
            <a:off x="3858851" y="3455383"/>
            <a:ext cx="4272429"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6A6D499E-627F-44B3-9CF0-715A04C689BE}"/>
              </a:ext>
            </a:extLst>
          </p:cNvPr>
          <p:cNvSpPr txBox="1"/>
          <p:nvPr/>
        </p:nvSpPr>
        <p:spPr>
          <a:xfrm>
            <a:off x="4781303" y="3270363"/>
            <a:ext cx="2427524" cy="369332"/>
          </a:xfrm>
          <a:prstGeom prst="rect">
            <a:avLst/>
          </a:prstGeom>
          <a:solidFill>
            <a:schemeClr val="tx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Creat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Create</a:t>
            </a: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 Incident}</a:t>
            </a:r>
          </a:p>
        </p:txBody>
      </p:sp>
      <p:sp>
        <p:nvSpPr>
          <p:cNvPr id="67" name="TextBox 66">
            <a:extLst>
              <a:ext uri="{FF2B5EF4-FFF2-40B4-BE49-F238E27FC236}">
                <a16:creationId xmlns:a16="http://schemas.microsoft.com/office/drawing/2014/main" id="{AC25D983-3A1F-4D2D-96A1-46DCFF705081}"/>
              </a:ext>
            </a:extLst>
          </p:cNvPr>
          <p:cNvSpPr txBox="1"/>
          <p:nvPr/>
        </p:nvSpPr>
        <p:spPr>
          <a:xfrm>
            <a:off x="2167525" y="4406698"/>
            <a:ext cx="1077603" cy="369332"/>
          </a:xfrm>
          <a:prstGeom prst="rect">
            <a:avLst/>
          </a:prstGeom>
          <a:solidFill>
            <a:schemeClr val="tx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tracking}</a:t>
            </a:r>
          </a:p>
        </p:txBody>
      </p:sp>
      <p:cxnSp>
        <p:nvCxnSpPr>
          <p:cNvPr id="11" name="Connector: Elbow 10">
            <a:extLst>
              <a:ext uri="{FF2B5EF4-FFF2-40B4-BE49-F238E27FC236}">
                <a16:creationId xmlns:a16="http://schemas.microsoft.com/office/drawing/2014/main" id="{432A5036-0791-448A-90FD-8714D37F9240}"/>
              </a:ext>
            </a:extLst>
          </p:cNvPr>
          <p:cNvCxnSpPr>
            <a:stCxn id="40" idx="3"/>
            <a:endCxn id="65" idx="0"/>
          </p:cNvCxnSpPr>
          <p:nvPr/>
        </p:nvCxnSpPr>
        <p:spPr>
          <a:xfrm>
            <a:off x="3858852" y="2829848"/>
            <a:ext cx="2136213" cy="440515"/>
          </a:xfrm>
          <a:prstGeom prst="bentConnector2">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8F0F40D4-AC23-4E2B-BAA1-2654630151A0}"/>
              </a:ext>
            </a:extLst>
          </p:cNvPr>
          <p:cNvSpPr txBox="1"/>
          <p:nvPr/>
        </p:nvSpPr>
        <p:spPr>
          <a:xfrm>
            <a:off x="4405160" y="2623464"/>
            <a:ext cx="1466427" cy="369332"/>
          </a:xfrm>
          <a:prstGeom prst="rect">
            <a:avLst/>
          </a:prstGeom>
          <a:solidFill>
            <a:schemeClr val="tx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offline node}</a:t>
            </a:r>
          </a:p>
        </p:txBody>
      </p:sp>
    </p:spTree>
    <p:extLst>
      <p:ext uri="{BB962C8B-B14F-4D97-AF65-F5344CB8AC3E}">
        <p14:creationId xmlns:p14="http://schemas.microsoft.com/office/powerpoint/2010/main" val="300718239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microServiceBus Architecture </a:t>
            </a:r>
            <a:endParaRPr lang="sv-SE" dirty="0"/>
          </a:p>
        </p:txBody>
      </p:sp>
      <p:sp>
        <p:nvSpPr>
          <p:cNvPr id="10" name="Rectangle 9">
            <a:extLst>
              <a:ext uri="{FF2B5EF4-FFF2-40B4-BE49-F238E27FC236}">
                <a16:creationId xmlns:a16="http://schemas.microsoft.com/office/drawing/2014/main" id="{C8A0B451-ED5F-4ADD-8392-4E96C749009F}"/>
              </a:ext>
            </a:extLst>
          </p:cNvPr>
          <p:cNvSpPr/>
          <p:nvPr/>
        </p:nvSpPr>
        <p:spPr>
          <a:xfrm>
            <a:off x="5071983" y="1690688"/>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microServiceBus.com</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grpSp>
        <p:nvGrpSpPr>
          <p:cNvPr id="35" name="Group 34">
            <a:extLst>
              <a:ext uri="{FF2B5EF4-FFF2-40B4-BE49-F238E27FC236}">
                <a16:creationId xmlns:a16="http://schemas.microsoft.com/office/drawing/2014/main" id="{489A5E0D-4B5D-4C86-8A0C-4D2A70653FC0}"/>
              </a:ext>
            </a:extLst>
          </p:cNvPr>
          <p:cNvGrpSpPr/>
          <p:nvPr/>
        </p:nvGrpSpPr>
        <p:grpSpPr>
          <a:xfrm>
            <a:off x="5303276" y="1869167"/>
            <a:ext cx="1912314" cy="1704235"/>
            <a:chOff x="4409853" y="2678169"/>
            <a:chExt cx="2356294" cy="2099906"/>
          </a:xfrm>
        </p:grpSpPr>
        <p:pic>
          <p:nvPicPr>
            <p:cNvPr id="12" name="Picture 11">
              <a:extLst>
                <a:ext uri="{FF2B5EF4-FFF2-40B4-BE49-F238E27FC236}">
                  <a16:creationId xmlns:a16="http://schemas.microsoft.com/office/drawing/2014/main" id="{BA817890-821C-4D6F-B5F9-1E93C8F190A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09853" y="2685447"/>
              <a:ext cx="591306" cy="591306"/>
            </a:xfrm>
            <a:prstGeom prst="rect">
              <a:avLst/>
            </a:prstGeom>
          </p:spPr>
        </p:pic>
        <p:pic>
          <p:nvPicPr>
            <p:cNvPr id="14" name="Picture 13">
              <a:extLst>
                <a:ext uri="{FF2B5EF4-FFF2-40B4-BE49-F238E27FC236}">
                  <a16:creationId xmlns:a16="http://schemas.microsoft.com/office/drawing/2014/main" id="{D63A6F30-CB82-42C9-B205-E5A70C449F0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9853" y="3436108"/>
              <a:ext cx="591306" cy="591306"/>
            </a:xfrm>
            <a:prstGeom prst="rect">
              <a:avLst/>
            </a:prstGeom>
          </p:spPr>
        </p:pic>
        <p:pic>
          <p:nvPicPr>
            <p:cNvPr id="16" name="Picture 15">
              <a:extLst>
                <a:ext uri="{FF2B5EF4-FFF2-40B4-BE49-F238E27FC236}">
                  <a16:creationId xmlns:a16="http://schemas.microsoft.com/office/drawing/2014/main" id="{96628F06-4E43-4843-89FE-4831A904B8A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92347" y="3417814"/>
              <a:ext cx="591306" cy="591306"/>
            </a:xfrm>
            <a:prstGeom prst="rect">
              <a:avLst/>
            </a:prstGeom>
          </p:spPr>
        </p:pic>
        <p:pic>
          <p:nvPicPr>
            <p:cNvPr id="18" name="Picture 17">
              <a:extLst>
                <a:ext uri="{FF2B5EF4-FFF2-40B4-BE49-F238E27FC236}">
                  <a16:creationId xmlns:a16="http://schemas.microsoft.com/office/drawing/2014/main" id="{9795AD0A-748D-4334-9534-B944C5C4FAA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09853" y="4186769"/>
              <a:ext cx="591306" cy="591306"/>
            </a:xfrm>
            <a:prstGeom prst="rect">
              <a:avLst/>
            </a:prstGeom>
          </p:spPr>
        </p:pic>
        <p:pic>
          <p:nvPicPr>
            <p:cNvPr id="20" name="Picture 19">
              <a:extLst>
                <a:ext uri="{FF2B5EF4-FFF2-40B4-BE49-F238E27FC236}">
                  <a16:creationId xmlns:a16="http://schemas.microsoft.com/office/drawing/2014/main" id="{7079A76C-BBC7-4C40-84E0-7F685A6C89D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92347" y="4150181"/>
              <a:ext cx="591306" cy="591306"/>
            </a:xfrm>
            <a:prstGeom prst="rect">
              <a:avLst/>
            </a:prstGeom>
          </p:spPr>
        </p:pic>
        <p:pic>
          <p:nvPicPr>
            <p:cNvPr id="22" name="Picture 21">
              <a:extLst>
                <a:ext uri="{FF2B5EF4-FFF2-40B4-BE49-F238E27FC236}">
                  <a16:creationId xmlns:a16="http://schemas.microsoft.com/office/drawing/2014/main" id="{139E3D0C-F199-47BC-89F7-870898321CC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174841" y="4150181"/>
              <a:ext cx="591306" cy="591306"/>
            </a:xfrm>
            <a:prstGeom prst="rect">
              <a:avLst/>
            </a:prstGeom>
          </p:spPr>
        </p:pic>
        <p:pic>
          <p:nvPicPr>
            <p:cNvPr id="24" name="Picture 23">
              <a:extLst>
                <a:ext uri="{FF2B5EF4-FFF2-40B4-BE49-F238E27FC236}">
                  <a16:creationId xmlns:a16="http://schemas.microsoft.com/office/drawing/2014/main" id="{31C4ABD4-3D8C-4DB5-AFA6-5E2A69A2369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36055" y="2678169"/>
              <a:ext cx="591306" cy="591306"/>
            </a:xfrm>
            <a:prstGeom prst="rect">
              <a:avLst/>
            </a:prstGeom>
          </p:spPr>
        </p:pic>
        <p:pic>
          <p:nvPicPr>
            <p:cNvPr id="26" name="Picture 25">
              <a:extLst>
                <a:ext uri="{FF2B5EF4-FFF2-40B4-BE49-F238E27FC236}">
                  <a16:creationId xmlns:a16="http://schemas.microsoft.com/office/drawing/2014/main" id="{AE96057D-BF63-4535-84E5-3496C3BFF45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238536" y="2685447"/>
              <a:ext cx="591306" cy="591306"/>
            </a:xfrm>
            <a:prstGeom prst="rect">
              <a:avLst/>
            </a:prstGeom>
          </p:spPr>
        </p:pic>
        <p:pic>
          <p:nvPicPr>
            <p:cNvPr id="32" name="Picture 31">
              <a:extLst>
                <a:ext uri="{FF2B5EF4-FFF2-40B4-BE49-F238E27FC236}">
                  <a16:creationId xmlns:a16="http://schemas.microsoft.com/office/drawing/2014/main" id="{E7A2D023-C8E8-4EA0-A5F7-8E867A2B4E2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096000" y="3417814"/>
              <a:ext cx="591306" cy="591306"/>
            </a:xfrm>
            <a:prstGeom prst="rect">
              <a:avLst/>
            </a:prstGeom>
          </p:spPr>
        </p:pic>
      </p:grpSp>
      <p:grpSp>
        <p:nvGrpSpPr>
          <p:cNvPr id="38" name="Group 37">
            <a:extLst>
              <a:ext uri="{FF2B5EF4-FFF2-40B4-BE49-F238E27FC236}">
                <a16:creationId xmlns:a16="http://schemas.microsoft.com/office/drawing/2014/main" id="{3A749C9A-2D9D-466C-AF62-8F3213021330}"/>
              </a:ext>
            </a:extLst>
          </p:cNvPr>
          <p:cNvGrpSpPr/>
          <p:nvPr/>
        </p:nvGrpSpPr>
        <p:grpSpPr>
          <a:xfrm>
            <a:off x="5650482" y="5151190"/>
            <a:ext cx="1194335" cy="1086059"/>
            <a:chOff x="1262428" y="4214604"/>
            <a:chExt cx="1194335" cy="1086059"/>
          </a:xfrm>
        </p:grpSpPr>
        <p:sp>
          <p:nvSpPr>
            <p:cNvPr id="65" name="Field gateway">
              <a:extLst>
                <a:ext uri="{FF2B5EF4-FFF2-40B4-BE49-F238E27FC236}">
                  <a16:creationId xmlns:a16="http://schemas.microsoft.com/office/drawing/2014/main" id="{F40F73A7-856B-4948-9354-E0021336A6B0}"/>
                </a:ext>
              </a:extLst>
            </p:cNvPr>
            <p:cNvSpPr/>
            <p:nvPr/>
          </p:nvSpPr>
          <p:spPr>
            <a:xfrm>
              <a:off x="1262428" y="4214604"/>
              <a:ext cx="1194335" cy="1086059"/>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700"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66" name="Picture 65">
              <a:extLst>
                <a:ext uri="{FF2B5EF4-FFF2-40B4-BE49-F238E27FC236}">
                  <a16:creationId xmlns:a16="http://schemas.microsoft.com/office/drawing/2014/main" id="{26F871FA-8632-4DDC-831F-90C5D7D8FEE8}"/>
                </a:ext>
              </a:extLst>
            </p:cNvPr>
            <p:cNvPicPr>
              <a:picLocks noChangeAspect="1"/>
            </p:cNvPicPr>
            <p:nvPr/>
          </p:nvPicPr>
          <p:blipFill>
            <a:blip r:embed="rId11"/>
            <a:stretch>
              <a:fillRect/>
            </a:stretch>
          </p:blipFill>
          <p:spPr>
            <a:xfrm>
              <a:off x="2139950" y="4255459"/>
              <a:ext cx="279347" cy="200495"/>
            </a:xfrm>
            <a:prstGeom prst="rect">
              <a:avLst/>
            </a:prstGeom>
          </p:spPr>
        </p:pic>
        <p:pic>
          <p:nvPicPr>
            <p:cNvPr id="92" name="Picture 91">
              <a:extLst>
                <a:ext uri="{FF2B5EF4-FFF2-40B4-BE49-F238E27FC236}">
                  <a16:creationId xmlns:a16="http://schemas.microsoft.com/office/drawing/2014/main" id="{9EEF9F88-576E-41E7-98BB-A3F93C493B82}"/>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518233" y="4496809"/>
              <a:ext cx="682723" cy="560348"/>
            </a:xfrm>
            <a:prstGeom prst="rect">
              <a:avLst/>
            </a:prstGeom>
          </p:spPr>
        </p:pic>
      </p:grpSp>
      <p:grpSp>
        <p:nvGrpSpPr>
          <p:cNvPr id="271" name="Group 270">
            <a:extLst>
              <a:ext uri="{FF2B5EF4-FFF2-40B4-BE49-F238E27FC236}">
                <a16:creationId xmlns:a16="http://schemas.microsoft.com/office/drawing/2014/main" id="{FBFEB596-10F2-4127-8D83-BF3FB4BB5F68}"/>
              </a:ext>
            </a:extLst>
          </p:cNvPr>
          <p:cNvGrpSpPr/>
          <p:nvPr/>
        </p:nvGrpSpPr>
        <p:grpSpPr>
          <a:xfrm>
            <a:off x="1474025" y="1690688"/>
            <a:ext cx="2339975" cy="2278320"/>
            <a:chOff x="1252955" y="1942407"/>
            <a:chExt cx="2339975" cy="2278320"/>
          </a:xfrm>
        </p:grpSpPr>
        <p:sp>
          <p:nvSpPr>
            <p:cNvPr id="100" name="Rectangle 99">
              <a:extLst>
                <a:ext uri="{FF2B5EF4-FFF2-40B4-BE49-F238E27FC236}">
                  <a16:creationId xmlns:a16="http://schemas.microsoft.com/office/drawing/2014/main" id="{3DA9703C-732A-40F0-BF75-F92B220D0720}"/>
                </a:ext>
              </a:extLst>
            </p:cNvPr>
            <p:cNvSpPr/>
            <p:nvPr/>
          </p:nvSpPr>
          <p:spPr>
            <a:xfrm>
              <a:off x="1252955" y="1942407"/>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IoT </a:t>
              </a:r>
              <a:r>
                <a:rPr kumimoji="0" lang="sv-SE" sz="1800"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Hub</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230" name="Picture 4" descr="Related image">
              <a:extLst>
                <a:ext uri="{FF2B5EF4-FFF2-40B4-BE49-F238E27FC236}">
                  <a16:creationId xmlns:a16="http://schemas.microsoft.com/office/drawing/2014/main" id="{471AF768-4CC8-464D-B87F-437608EF8D0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256087" y="2575097"/>
              <a:ext cx="418541" cy="506470"/>
            </a:xfrm>
            <a:prstGeom prst="rect">
              <a:avLst/>
            </a:prstGeom>
            <a:noFill/>
            <a:extLst>
              <a:ext uri="{909E8E84-426E-40DD-AFC4-6F175D3DCCD1}">
                <a14:hiddenFill xmlns:a14="http://schemas.microsoft.com/office/drawing/2010/main">
                  <a:solidFill>
                    <a:srgbClr val="FFFFFF"/>
                  </a:solidFill>
                </a14:hiddenFill>
              </a:ext>
            </a:extLst>
          </p:spPr>
        </p:pic>
        <p:pic>
          <p:nvPicPr>
            <p:cNvPr id="248" name="Picture 10" descr="Image result for ibm IOT logo">
              <a:extLst>
                <a:ext uri="{FF2B5EF4-FFF2-40B4-BE49-F238E27FC236}">
                  <a16:creationId xmlns:a16="http://schemas.microsoft.com/office/drawing/2014/main" id="{B3B69772-8A25-49E0-8C03-EDEDEF7F92A7}"/>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891862" y="2575097"/>
              <a:ext cx="523165" cy="512702"/>
            </a:xfrm>
            <a:prstGeom prst="rect">
              <a:avLst/>
            </a:prstGeom>
            <a:noFill/>
            <a:extLst>
              <a:ext uri="{909E8E84-426E-40DD-AFC4-6F175D3DCCD1}">
                <a14:hiddenFill xmlns:a14="http://schemas.microsoft.com/office/drawing/2010/main">
                  <a:solidFill>
                    <a:srgbClr val="FFFFFF"/>
                  </a:solidFill>
                </a14:hiddenFill>
              </a:ext>
            </a:extLst>
          </p:spPr>
        </p:pic>
        <p:grpSp>
          <p:nvGrpSpPr>
            <p:cNvPr id="266" name="Group 265">
              <a:extLst>
                <a:ext uri="{FF2B5EF4-FFF2-40B4-BE49-F238E27FC236}">
                  <a16:creationId xmlns:a16="http://schemas.microsoft.com/office/drawing/2014/main" id="{0A65420A-CB3D-4FC0-978F-05DFD1E7255D}"/>
                </a:ext>
              </a:extLst>
            </p:cNvPr>
            <p:cNvGrpSpPr/>
            <p:nvPr/>
          </p:nvGrpSpPr>
          <p:grpSpPr>
            <a:xfrm>
              <a:off x="1476780" y="2577132"/>
              <a:ext cx="576692" cy="509588"/>
              <a:chOff x="5498091" y="4114800"/>
              <a:chExt cx="576692" cy="509588"/>
            </a:xfrm>
          </p:grpSpPr>
          <p:sp>
            <p:nvSpPr>
              <p:cNvPr id="267" name="Oval 266">
                <a:extLst>
                  <a:ext uri="{FF2B5EF4-FFF2-40B4-BE49-F238E27FC236}">
                    <a16:creationId xmlns:a16="http://schemas.microsoft.com/office/drawing/2014/main" id="{49B47EB1-957A-4198-8462-27F10F2D9FC8}"/>
                  </a:ext>
                </a:extLst>
              </p:cNvPr>
              <p:cNvSpPr/>
              <p:nvPr/>
            </p:nvSpPr>
            <p:spPr>
              <a:xfrm>
                <a:off x="5534025" y="4114800"/>
                <a:ext cx="504825" cy="509588"/>
              </a:xfrm>
              <a:prstGeom prst="ellipse">
                <a:avLst/>
              </a:prstGeom>
              <a:solidFill>
                <a:sysClr val="window" lastClr="FFFFFF"/>
              </a:solidFill>
              <a:ln w="12700" cap="flat" cmpd="sng" algn="ctr">
                <a:solidFill>
                  <a:srgbClr val="5B9BD5">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268" name="Picture 8" descr="Image result for AZURE IOT">
                <a:extLst>
                  <a:ext uri="{FF2B5EF4-FFF2-40B4-BE49-F238E27FC236}">
                    <a16:creationId xmlns:a16="http://schemas.microsoft.com/office/drawing/2014/main" id="{53D99B28-64E7-47AF-B8C8-118F5FE65601}"/>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72" name="Group 271">
            <a:extLst>
              <a:ext uri="{FF2B5EF4-FFF2-40B4-BE49-F238E27FC236}">
                <a16:creationId xmlns:a16="http://schemas.microsoft.com/office/drawing/2014/main" id="{8BDB20CA-A5AB-42F6-ABD0-D594C7F5CD1C}"/>
              </a:ext>
            </a:extLst>
          </p:cNvPr>
          <p:cNvGrpSpPr/>
          <p:nvPr/>
        </p:nvGrpSpPr>
        <p:grpSpPr>
          <a:xfrm>
            <a:off x="8148698" y="1690688"/>
            <a:ext cx="2339975" cy="2278320"/>
            <a:chOff x="8231837" y="1942407"/>
            <a:chExt cx="2339975" cy="2278320"/>
          </a:xfrm>
        </p:grpSpPr>
        <p:sp>
          <p:nvSpPr>
            <p:cNvPr id="269" name="Rectangle 268">
              <a:extLst>
                <a:ext uri="{FF2B5EF4-FFF2-40B4-BE49-F238E27FC236}">
                  <a16:creationId xmlns:a16="http://schemas.microsoft.com/office/drawing/2014/main" id="{D806B3A5-E322-4674-A9F3-FD513960D2AE}"/>
                </a:ext>
              </a:extLst>
            </p:cNvPr>
            <p:cNvSpPr/>
            <p:nvPr/>
          </p:nvSpPr>
          <p:spPr>
            <a:xfrm>
              <a:off x="8231837" y="1942407"/>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Sim </a:t>
              </a:r>
              <a:r>
                <a:rPr kumimoji="0" lang="sv-SE" sz="1800"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card</a:t>
              </a:r>
              <a:r>
                <a:rPr kumimoji="0" lang="sv-SE"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a:t>
              </a:r>
              <a:r>
                <a:rPr kumimoji="0" lang="sv-SE" sz="1800"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mgmt</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270" name="Picture 269">
              <a:extLst>
                <a:ext uri="{FF2B5EF4-FFF2-40B4-BE49-F238E27FC236}">
                  <a16:creationId xmlns:a16="http://schemas.microsoft.com/office/drawing/2014/main" id="{99613FC0-8A9B-464A-94B4-3D9B11DBB791}"/>
                </a:ext>
              </a:extLst>
            </p:cNvPr>
            <p:cNvPicPr>
              <a:picLocks noChangeAspect="1"/>
            </p:cNvPicPr>
            <p:nvPr/>
          </p:nvPicPr>
          <p:blipFill>
            <a:blip r:embed="rId16"/>
            <a:stretch>
              <a:fillRect/>
            </a:stretch>
          </p:blipFill>
          <p:spPr>
            <a:xfrm>
              <a:off x="8429156" y="2819421"/>
              <a:ext cx="1945336" cy="457154"/>
            </a:xfrm>
            <a:prstGeom prst="rect">
              <a:avLst/>
            </a:prstGeom>
          </p:spPr>
        </p:pic>
      </p:grpSp>
      <p:sp>
        <p:nvSpPr>
          <p:cNvPr id="273" name="Rectangle 272">
            <a:extLst>
              <a:ext uri="{FF2B5EF4-FFF2-40B4-BE49-F238E27FC236}">
                <a16:creationId xmlns:a16="http://schemas.microsoft.com/office/drawing/2014/main" id="{019B1F82-AA98-4A7A-BA52-2A93F4D59750}"/>
              </a:ext>
            </a:extLst>
          </p:cNvPr>
          <p:cNvSpPr/>
          <p:nvPr/>
        </p:nvSpPr>
        <p:spPr>
          <a:xfrm>
            <a:off x="1299060" y="1482567"/>
            <a:ext cx="9630146" cy="2737601"/>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0" name="Picture 8" descr="Bildresultat för microsoft cloud one drive">
            <a:extLst>
              <a:ext uri="{FF2B5EF4-FFF2-40B4-BE49-F238E27FC236}">
                <a16:creationId xmlns:a16="http://schemas.microsoft.com/office/drawing/2014/main" id="{68FBA8E8-72DE-4B0F-804C-3D45770A97E8}"/>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0032223" y="490746"/>
            <a:ext cx="1585913" cy="1585912"/>
          </a:xfrm>
          <a:prstGeom prst="rect">
            <a:avLst/>
          </a:prstGeom>
          <a:noFill/>
          <a:extLst>
            <a:ext uri="{909E8E84-426E-40DD-AFC4-6F175D3DCCD1}">
              <a14:hiddenFill xmlns:a14="http://schemas.microsoft.com/office/drawing/2010/main">
                <a:solidFill>
                  <a:srgbClr val="FFFFFF"/>
                </a:solidFill>
              </a14:hiddenFill>
            </a:ext>
          </a:extLst>
        </p:spPr>
      </p:pic>
      <p:cxnSp>
        <p:nvCxnSpPr>
          <p:cNvPr id="275" name="Connector: Elbow 274">
            <a:extLst>
              <a:ext uri="{FF2B5EF4-FFF2-40B4-BE49-F238E27FC236}">
                <a16:creationId xmlns:a16="http://schemas.microsoft.com/office/drawing/2014/main" id="{1858AFCF-3D6D-40C9-A4EA-6EE2058AE1E6}"/>
              </a:ext>
            </a:extLst>
          </p:cNvPr>
          <p:cNvCxnSpPr>
            <a:stCxn id="65" idx="3"/>
            <a:endCxn id="269" idx="2"/>
          </p:cNvCxnSpPr>
          <p:nvPr/>
        </p:nvCxnSpPr>
        <p:spPr>
          <a:xfrm flipV="1">
            <a:off x="6844817" y="3969008"/>
            <a:ext cx="2473869" cy="1725212"/>
          </a:xfrm>
          <a:prstGeom prst="bentConnector2">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77" name="Connector: Elbow 276">
            <a:extLst>
              <a:ext uri="{FF2B5EF4-FFF2-40B4-BE49-F238E27FC236}">
                <a16:creationId xmlns:a16="http://schemas.microsoft.com/office/drawing/2014/main" id="{E649AC76-FDC4-46B3-8B30-D683EF42CFB9}"/>
              </a:ext>
            </a:extLst>
          </p:cNvPr>
          <p:cNvCxnSpPr>
            <a:stCxn id="65" idx="1"/>
            <a:endCxn id="100" idx="2"/>
          </p:cNvCxnSpPr>
          <p:nvPr/>
        </p:nvCxnSpPr>
        <p:spPr>
          <a:xfrm rot="10800000">
            <a:off x="2644014" y="3969008"/>
            <a:ext cx="3006469" cy="1725212"/>
          </a:xfrm>
          <a:prstGeom prst="bentConnector2">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79" name="Straight Arrow Connector 278">
            <a:extLst>
              <a:ext uri="{FF2B5EF4-FFF2-40B4-BE49-F238E27FC236}">
                <a16:creationId xmlns:a16="http://schemas.microsoft.com/office/drawing/2014/main" id="{CCDD3DD8-2928-4568-AFB2-0584DA5B175B}"/>
              </a:ext>
            </a:extLst>
          </p:cNvPr>
          <p:cNvCxnSpPr>
            <a:stCxn id="65" idx="0"/>
            <a:endCxn id="10" idx="2"/>
          </p:cNvCxnSpPr>
          <p:nvPr/>
        </p:nvCxnSpPr>
        <p:spPr>
          <a:xfrm flipH="1" flipV="1">
            <a:off x="6241971" y="3969008"/>
            <a:ext cx="5679" cy="1182182"/>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81" name="Straight Arrow Connector 280">
            <a:extLst>
              <a:ext uri="{FF2B5EF4-FFF2-40B4-BE49-F238E27FC236}">
                <a16:creationId xmlns:a16="http://schemas.microsoft.com/office/drawing/2014/main" id="{C2639AA1-0896-4214-8A2D-1BDBC648118F}"/>
              </a:ext>
            </a:extLst>
          </p:cNvPr>
          <p:cNvCxnSpPr>
            <a:stCxn id="269" idx="1"/>
            <a:endCxn id="10" idx="3"/>
          </p:cNvCxnSpPr>
          <p:nvPr/>
        </p:nvCxnSpPr>
        <p:spPr>
          <a:xfrm flipH="1">
            <a:off x="7411958" y="2829848"/>
            <a:ext cx="736740" cy="0"/>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3" name="Straight Arrow Connector 282">
            <a:extLst>
              <a:ext uri="{FF2B5EF4-FFF2-40B4-BE49-F238E27FC236}">
                <a16:creationId xmlns:a16="http://schemas.microsoft.com/office/drawing/2014/main" id="{F8271ACB-5E3B-41BE-9297-56506E6BCACB}"/>
              </a:ext>
            </a:extLst>
          </p:cNvPr>
          <p:cNvCxnSpPr>
            <a:stCxn id="10" idx="1"/>
            <a:endCxn id="100" idx="3"/>
          </p:cNvCxnSpPr>
          <p:nvPr/>
        </p:nvCxnSpPr>
        <p:spPr>
          <a:xfrm flipH="1">
            <a:off x="3814000" y="2829848"/>
            <a:ext cx="1257983"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4252811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CC0843B-1394-43C8-8024-E83262E6D349}"/>
              </a:ext>
            </a:extLst>
          </p:cNvPr>
          <p:cNvSpPr>
            <a:spLocks noGrp="1"/>
          </p:cNvSpPr>
          <p:nvPr>
            <p:ph type="title"/>
          </p:nvPr>
        </p:nvSpPr>
        <p:spPr/>
        <p:txBody>
          <a:bodyPr/>
          <a:lstStyle/>
          <a:p>
            <a:r>
              <a:rPr lang="en-US" dirty="0"/>
              <a:t>On-boarding</a:t>
            </a:r>
          </a:p>
        </p:txBody>
      </p:sp>
      <p:grpSp>
        <p:nvGrpSpPr>
          <p:cNvPr id="37" name="Group 36">
            <a:extLst>
              <a:ext uri="{FF2B5EF4-FFF2-40B4-BE49-F238E27FC236}">
                <a16:creationId xmlns:a16="http://schemas.microsoft.com/office/drawing/2014/main" id="{3D7C7D19-77AA-4FFD-9BE1-BC97013B32E9}"/>
              </a:ext>
            </a:extLst>
          </p:cNvPr>
          <p:cNvGrpSpPr/>
          <p:nvPr/>
        </p:nvGrpSpPr>
        <p:grpSpPr>
          <a:xfrm>
            <a:off x="9225112" y="1847435"/>
            <a:ext cx="2461800" cy="1570854"/>
            <a:chOff x="9225112" y="1847435"/>
            <a:chExt cx="2461800" cy="1570854"/>
          </a:xfrm>
        </p:grpSpPr>
        <p:sp>
          <p:nvSpPr>
            <p:cNvPr id="4" name="Rectangle: Rounded Corners 4">
              <a:extLst>
                <a:ext uri="{FF2B5EF4-FFF2-40B4-BE49-F238E27FC236}">
                  <a16:creationId xmlns:a16="http://schemas.microsoft.com/office/drawing/2014/main" id="{730CEEA5-76EB-43F2-849A-50049C49175C}"/>
                </a:ext>
              </a:extLst>
            </p:cNvPr>
            <p:cNvSpPr/>
            <p:nvPr/>
          </p:nvSpPr>
          <p:spPr bwMode="auto">
            <a:xfrm>
              <a:off x="9225112" y="1847435"/>
              <a:ext cx="2461800" cy="1570854"/>
            </a:xfrm>
            <a:prstGeom prst="roundRect">
              <a:avLst>
                <a:gd name="adj" fmla="val 0"/>
              </a:avLst>
            </a:prstGeom>
            <a:solidFill>
              <a:sysClr val="window" lastClr="FFFFFF"/>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sv-SE"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pic>
          <p:nvPicPr>
            <p:cNvPr id="5" name="Picture 3">
              <a:extLst>
                <a:ext uri="{FF2B5EF4-FFF2-40B4-BE49-F238E27FC236}">
                  <a16:creationId xmlns:a16="http://schemas.microsoft.com/office/drawing/2014/main" id="{83DDD89F-6767-4F52-8433-931EB05E214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12158" y="2414119"/>
              <a:ext cx="1905770" cy="400212"/>
            </a:xfrm>
            <a:prstGeom prst="rect">
              <a:avLst/>
            </a:prstGeom>
          </p:spPr>
        </p:pic>
      </p:grpSp>
      <p:grpSp>
        <p:nvGrpSpPr>
          <p:cNvPr id="38" name="Group 37">
            <a:extLst>
              <a:ext uri="{FF2B5EF4-FFF2-40B4-BE49-F238E27FC236}">
                <a16:creationId xmlns:a16="http://schemas.microsoft.com/office/drawing/2014/main" id="{7931146E-922A-445D-AFE7-EAE5F3640667}"/>
              </a:ext>
            </a:extLst>
          </p:cNvPr>
          <p:cNvGrpSpPr/>
          <p:nvPr/>
        </p:nvGrpSpPr>
        <p:grpSpPr>
          <a:xfrm>
            <a:off x="1171627" y="1847435"/>
            <a:ext cx="2461800" cy="1570854"/>
            <a:chOff x="1171627" y="1847435"/>
            <a:chExt cx="2461800" cy="1570854"/>
          </a:xfrm>
        </p:grpSpPr>
        <p:sp>
          <p:nvSpPr>
            <p:cNvPr id="6" name="Rectangle 24">
              <a:extLst>
                <a:ext uri="{FF2B5EF4-FFF2-40B4-BE49-F238E27FC236}">
                  <a16:creationId xmlns:a16="http://schemas.microsoft.com/office/drawing/2014/main" id="{CF023058-9494-46D5-9803-1165A15FC0D4}"/>
                </a:ext>
              </a:extLst>
            </p:cNvPr>
            <p:cNvSpPr/>
            <p:nvPr/>
          </p:nvSpPr>
          <p:spPr>
            <a:xfrm>
              <a:off x="1171627" y="1847435"/>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IoT Hub</a:t>
              </a:r>
            </a:p>
          </p:txBody>
        </p:sp>
        <p:pic>
          <p:nvPicPr>
            <p:cNvPr id="12" name="Picture 11">
              <a:extLst>
                <a:ext uri="{FF2B5EF4-FFF2-40B4-BE49-F238E27FC236}">
                  <a16:creationId xmlns:a16="http://schemas.microsoft.com/office/drawing/2014/main" id="{FB4AA1E9-9A74-4552-9794-794E5E45B22A}"/>
                </a:ext>
              </a:extLst>
            </p:cNvPr>
            <p:cNvPicPr>
              <a:picLocks noChangeAspect="1"/>
            </p:cNvPicPr>
            <p:nvPr/>
          </p:nvPicPr>
          <p:blipFill>
            <a:blip r:embed="rId3"/>
            <a:stretch>
              <a:fillRect/>
            </a:stretch>
          </p:blipFill>
          <p:spPr>
            <a:xfrm>
              <a:off x="1879107" y="2184581"/>
              <a:ext cx="1046840" cy="859288"/>
            </a:xfrm>
            <a:prstGeom prst="rect">
              <a:avLst/>
            </a:prstGeom>
          </p:spPr>
        </p:pic>
      </p:grpSp>
      <p:grpSp>
        <p:nvGrpSpPr>
          <p:cNvPr id="13" name="Group 9">
            <a:extLst>
              <a:ext uri="{FF2B5EF4-FFF2-40B4-BE49-F238E27FC236}">
                <a16:creationId xmlns:a16="http://schemas.microsoft.com/office/drawing/2014/main" id="{44E4FFC1-1D55-42E9-9B7F-56FE6D203D17}"/>
              </a:ext>
            </a:extLst>
          </p:cNvPr>
          <p:cNvGrpSpPr/>
          <p:nvPr/>
        </p:nvGrpSpPr>
        <p:grpSpPr>
          <a:xfrm>
            <a:off x="5204008" y="1847435"/>
            <a:ext cx="2461800" cy="1570854"/>
            <a:chOff x="2843978" y="2057254"/>
            <a:chExt cx="2461800" cy="1570854"/>
          </a:xfrm>
        </p:grpSpPr>
        <p:sp>
          <p:nvSpPr>
            <p:cNvPr id="14" name="Rectangle 7">
              <a:extLst>
                <a:ext uri="{FF2B5EF4-FFF2-40B4-BE49-F238E27FC236}">
                  <a16:creationId xmlns:a16="http://schemas.microsoft.com/office/drawing/2014/main" id="{A8FE68E9-2D3B-467F-9790-4C44E62F2BEC}"/>
                </a:ext>
              </a:extLst>
            </p:cNvPr>
            <p:cNvSpPr/>
            <p:nvPr/>
          </p:nvSpPr>
          <p:spPr>
            <a:xfrm>
              <a:off x="2843978" y="2057254"/>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microServiceBus.com</a:t>
              </a:r>
            </a:p>
          </p:txBody>
        </p:sp>
        <p:pic>
          <p:nvPicPr>
            <p:cNvPr id="15" name="Picture 8">
              <a:extLst>
                <a:ext uri="{FF2B5EF4-FFF2-40B4-BE49-F238E27FC236}">
                  <a16:creationId xmlns:a16="http://schemas.microsoft.com/office/drawing/2014/main" id="{FBDBDF87-6B26-4C9C-85B7-A286C83473C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35044" y="2434752"/>
              <a:ext cx="879667" cy="721991"/>
            </a:xfrm>
            <a:prstGeom prst="rect">
              <a:avLst/>
            </a:prstGeom>
          </p:spPr>
        </p:pic>
      </p:grpSp>
      <p:pic>
        <p:nvPicPr>
          <p:cNvPr id="17" name="Picture 16">
            <a:extLst>
              <a:ext uri="{FF2B5EF4-FFF2-40B4-BE49-F238E27FC236}">
                <a16:creationId xmlns:a16="http://schemas.microsoft.com/office/drawing/2014/main" id="{91A27C0A-1BF9-4049-84C4-CD189C3A1DC7}"/>
              </a:ext>
            </a:extLst>
          </p:cNvPr>
          <p:cNvPicPr>
            <a:picLocks noChangeAspect="1"/>
          </p:cNvPicPr>
          <p:nvPr/>
        </p:nvPicPr>
        <p:blipFill>
          <a:blip r:embed="rId5"/>
          <a:stretch>
            <a:fillRect/>
          </a:stretch>
        </p:blipFill>
        <p:spPr>
          <a:xfrm>
            <a:off x="5628610" y="4914941"/>
            <a:ext cx="1612593" cy="1333767"/>
          </a:xfrm>
          <a:prstGeom prst="rect">
            <a:avLst/>
          </a:prstGeom>
        </p:spPr>
      </p:pic>
      <p:sp>
        <p:nvSpPr>
          <p:cNvPr id="18" name="Rectangle 24">
            <a:extLst>
              <a:ext uri="{FF2B5EF4-FFF2-40B4-BE49-F238E27FC236}">
                <a16:creationId xmlns:a16="http://schemas.microsoft.com/office/drawing/2014/main" id="{1DF8D479-BADF-477D-A768-5E890C76D7C4}"/>
              </a:ext>
            </a:extLst>
          </p:cNvPr>
          <p:cNvSpPr/>
          <p:nvPr/>
        </p:nvSpPr>
        <p:spPr>
          <a:xfrm>
            <a:off x="1173378" y="1847064"/>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IOT HUB</a:t>
            </a:r>
          </a:p>
        </p:txBody>
      </p:sp>
      <p:sp>
        <p:nvSpPr>
          <p:cNvPr id="19" name="Rectangle 24">
            <a:extLst>
              <a:ext uri="{FF2B5EF4-FFF2-40B4-BE49-F238E27FC236}">
                <a16:creationId xmlns:a16="http://schemas.microsoft.com/office/drawing/2014/main" id="{7620A679-7A13-4807-9A97-C9561DD5CE1D}"/>
              </a:ext>
            </a:extLst>
          </p:cNvPr>
          <p:cNvSpPr/>
          <p:nvPr/>
        </p:nvSpPr>
        <p:spPr>
          <a:xfrm>
            <a:off x="5205759" y="1847522"/>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DEVICE MANAGEMENT</a:t>
            </a:r>
          </a:p>
        </p:txBody>
      </p:sp>
      <p:sp>
        <p:nvSpPr>
          <p:cNvPr id="20" name="Rectangle 24">
            <a:extLst>
              <a:ext uri="{FF2B5EF4-FFF2-40B4-BE49-F238E27FC236}">
                <a16:creationId xmlns:a16="http://schemas.microsoft.com/office/drawing/2014/main" id="{D0EA35BE-3059-488D-BDE0-F1CFD13C2753}"/>
              </a:ext>
            </a:extLst>
          </p:cNvPr>
          <p:cNvSpPr/>
          <p:nvPr/>
        </p:nvSpPr>
        <p:spPr>
          <a:xfrm>
            <a:off x="9225112" y="1842301"/>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SIM CARD MANAGEMENT</a:t>
            </a:r>
          </a:p>
        </p:txBody>
      </p:sp>
      <p:cxnSp>
        <p:nvCxnSpPr>
          <p:cNvPr id="22" name="Connector: Elbow 21">
            <a:extLst>
              <a:ext uri="{FF2B5EF4-FFF2-40B4-BE49-F238E27FC236}">
                <a16:creationId xmlns:a16="http://schemas.microsoft.com/office/drawing/2014/main" id="{5B0DC1C9-E7A9-4F65-AFA0-305B14EFDE34}"/>
              </a:ext>
            </a:extLst>
          </p:cNvPr>
          <p:cNvCxnSpPr>
            <a:stCxn id="17" idx="3"/>
            <a:endCxn id="4" idx="2"/>
          </p:cNvCxnSpPr>
          <p:nvPr/>
        </p:nvCxnSpPr>
        <p:spPr>
          <a:xfrm flipV="1">
            <a:off x="7241203" y="3418289"/>
            <a:ext cx="3214809" cy="2163536"/>
          </a:xfrm>
          <a:prstGeom prst="bentConnector2">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74E517B8-3C24-4DED-B12D-AC4F01C106B7}"/>
              </a:ext>
            </a:extLst>
          </p:cNvPr>
          <p:cNvSpPr txBox="1"/>
          <p:nvPr/>
        </p:nvSpPr>
        <p:spPr>
          <a:xfrm>
            <a:off x="7895998" y="5724118"/>
            <a:ext cx="265822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1. Activate SIM card</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5F459B95-58FD-454D-9A5B-D2E5591AF6BD}"/>
              </a:ext>
            </a:extLst>
          </p:cNvPr>
          <p:cNvSpPr txBox="1"/>
          <p:nvPr/>
        </p:nvSpPr>
        <p:spPr>
          <a:xfrm>
            <a:off x="6874741" y="4017225"/>
            <a:ext cx="2325893"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2. Request config</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26" name="Straight Arrow Connector 25">
            <a:extLst>
              <a:ext uri="{FF2B5EF4-FFF2-40B4-BE49-F238E27FC236}">
                <a16:creationId xmlns:a16="http://schemas.microsoft.com/office/drawing/2014/main" id="{4FC4FAD5-A348-4742-A5A0-E53EE763037A}"/>
              </a:ext>
            </a:extLst>
          </p:cNvPr>
          <p:cNvCxnSpPr/>
          <p:nvPr/>
        </p:nvCxnSpPr>
        <p:spPr>
          <a:xfrm flipV="1">
            <a:off x="6756400" y="3423139"/>
            <a:ext cx="0" cy="1484996"/>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D980A0D2-4837-48BF-984A-EE23620E6580}"/>
              </a:ext>
            </a:extLst>
          </p:cNvPr>
          <p:cNvCxnSpPr>
            <a:cxnSpLocks/>
          </p:cNvCxnSpPr>
          <p:nvPr/>
        </p:nvCxnSpPr>
        <p:spPr>
          <a:xfrm flipH="1">
            <a:off x="7665808" y="2099462"/>
            <a:ext cx="1559304" cy="0"/>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BE18FEB5-7905-4A04-814C-7B9B67DBCA47}"/>
              </a:ext>
            </a:extLst>
          </p:cNvPr>
          <p:cNvSpPr txBox="1"/>
          <p:nvPr/>
        </p:nvSpPr>
        <p:spPr>
          <a:xfrm>
            <a:off x="8015469" y="1223889"/>
            <a:ext cx="1953740"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3. Notification</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31" name="Straight Arrow Connector 30">
            <a:extLst>
              <a:ext uri="{FF2B5EF4-FFF2-40B4-BE49-F238E27FC236}">
                <a16:creationId xmlns:a16="http://schemas.microsoft.com/office/drawing/2014/main" id="{B843DAE2-ABF4-4B13-9E36-D8A035A3FF90}"/>
              </a:ext>
            </a:extLst>
          </p:cNvPr>
          <p:cNvCxnSpPr>
            <a:cxnSpLocks/>
          </p:cNvCxnSpPr>
          <p:nvPr/>
        </p:nvCxnSpPr>
        <p:spPr>
          <a:xfrm flipH="1">
            <a:off x="3644704" y="2095804"/>
            <a:ext cx="1559304" cy="0"/>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2A297812-2B7C-46DF-9824-AD98FD5F58A6}"/>
              </a:ext>
            </a:extLst>
          </p:cNvPr>
          <p:cNvSpPr txBox="1"/>
          <p:nvPr/>
        </p:nvSpPr>
        <p:spPr>
          <a:xfrm>
            <a:off x="3900669" y="1231448"/>
            <a:ext cx="2370329"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4. Register device</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33" name="Straight Arrow Connector 32">
            <a:extLst>
              <a:ext uri="{FF2B5EF4-FFF2-40B4-BE49-F238E27FC236}">
                <a16:creationId xmlns:a16="http://schemas.microsoft.com/office/drawing/2014/main" id="{6E86D54F-76B9-46FE-A864-A7D573399625}"/>
              </a:ext>
            </a:extLst>
          </p:cNvPr>
          <p:cNvCxnSpPr>
            <a:cxnSpLocks/>
          </p:cNvCxnSpPr>
          <p:nvPr/>
        </p:nvCxnSpPr>
        <p:spPr>
          <a:xfrm>
            <a:off x="3633427" y="3081969"/>
            <a:ext cx="1559304" cy="0"/>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4D734326-B0EE-4713-92F9-B1FC7EEAD6FD}"/>
              </a:ext>
            </a:extLst>
          </p:cNvPr>
          <p:cNvSpPr txBox="1"/>
          <p:nvPr/>
        </p:nvSpPr>
        <p:spPr>
          <a:xfrm>
            <a:off x="3900669" y="3448566"/>
            <a:ext cx="1892954"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5. Credentials</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35" name="Straight Arrow Connector 34">
            <a:extLst>
              <a:ext uri="{FF2B5EF4-FFF2-40B4-BE49-F238E27FC236}">
                <a16:creationId xmlns:a16="http://schemas.microsoft.com/office/drawing/2014/main" id="{B99915A8-035E-4F94-BB1E-2958E1471F5D}"/>
              </a:ext>
            </a:extLst>
          </p:cNvPr>
          <p:cNvCxnSpPr>
            <a:cxnSpLocks/>
          </p:cNvCxnSpPr>
          <p:nvPr/>
        </p:nvCxnSpPr>
        <p:spPr>
          <a:xfrm>
            <a:off x="5995074" y="3423139"/>
            <a:ext cx="0" cy="1484996"/>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0066F67A-B755-4A34-AFB8-AC1C16F688EC}"/>
              </a:ext>
            </a:extLst>
          </p:cNvPr>
          <p:cNvSpPr txBox="1"/>
          <p:nvPr/>
        </p:nvSpPr>
        <p:spPr>
          <a:xfrm>
            <a:off x="4445369" y="4009471"/>
            <a:ext cx="128092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6. Config</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9" name="TextBox 38">
            <a:extLst>
              <a:ext uri="{FF2B5EF4-FFF2-40B4-BE49-F238E27FC236}">
                <a16:creationId xmlns:a16="http://schemas.microsoft.com/office/drawing/2014/main" id="{55B05269-FFED-4BC9-84E8-BDF5610AD8E2}"/>
              </a:ext>
            </a:extLst>
          </p:cNvPr>
          <p:cNvSpPr txBox="1"/>
          <p:nvPr/>
        </p:nvSpPr>
        <p:spPr>
          <a:xfrm>
            <a:off x="5726297" y="6315427"/>
            <a:ext cx="134524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IOT DEVICE</a:t>
            </a:r>
          </a:p>
        </p:txBody>
      </p:sp>
      <p:cxnSp>
        <p:nvCxnSpPr>
          <p:cNvPr id="41" name="Connector: Elbow 40">
            <a:extLst>
              <a:ext uri="{FF2B5EF4-FFF2-40B4-BE49-F238E27FC236}">
                <a16:creationId xmlns:a16="http://schemas.microsoft.com/office/drawing/2014/main" id="{4A7438CF-77F9-4BDA-A86B-ECECF66F241A}"/>
              </a:ext>
            </a:extLst>
          </p:cNvPr>
          <p:cNvCxnSpPr>
            <a:stCxn id="17" idx="1"/>
            <a:endCxn id="18" idx="2"/>
          </p:cNvCxnSpPr>
          <p:nvPr/>
        </p:nvCxnSpPr>
        <p:spPr>
          <a:xfrm rot="10800000">
            <a:off x="2404278" y="3417919"/>
            <a:ext cx="3224332" cy="2163907"/>
          </a:xfrm>
          <a:prstGeom prst="bentConnector2">
            <a:avLst/>
          </a:prstGeom>
          <a:ln w="38100">
            <a:solidFill>
              <a:schemeClr val="bg1"/>
            </a:solidFill>
            <a:prstDash val="sys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A64C4C20-23E8-4C8A-B3ED-E6C5957E3FFE}"/>
              </a:ext>
            </a:extLst>
          </p:cNvPr>
          <p:cNvSpPr txBox="1"/>
          <p:nvPr/>
        </p:nvSpPr>
        <p:spPr>
          <a:xfrm>
            <a:off x="1690550" y="5686942"/>
            <a:ext cx="2412455"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7. Send &amp; Receive</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49" name="Group 48">
            <a:extLst>
              <a:ext uri="{FF2B5EF4-FFF2-40B4-BE49-F238E27FC236}">
                <a16:creationId xmlns:a16="http://schemas.microsoft.com/office/drawing/2014/main" id="{5150E51D-3FA4-45BB-B7AC-3E72374AB011}"/>
              </a:ext>
            </a:extLst>
          </p:cNvPr>
          <p:cNvGrpSpPr/>
          <p:nvPr/>
        </p:nvGrpSpPr>
        <p:grpSpPr>
          <a:xfrm>
            <a:off x="2404278" y="3417919"/>
            <a:ext cx="3224332" cy="2423820"/>
            <a:chOff x="2404278" y="3417919"/>
            <a:chExt cx="3224332" cy="2423820"/>
          </a:xfrm>
        </p:grpSpPr>
        <p:cxnSp>
          <p:nvCxnSpPr>
            <p:cNvPr id="45" name="Connector: Elbow 44">
              <a:extLst>
                <a:ext uri="{FF2B5EF4-FFF2-40B4-BE49-F238E27FC236}">
                  <a16:creationId xmlns:a16="http://schemas.microsoft.com/office/drawing/2014/main" id="{ED42F508-486A-4EBD-8E45-739AB57833B8}"/>
                </a:ext>
              </a:extLst>
            </p:cNvPr>
            <p:cNvCxnSpPr>
              <a:cxnSpLocks/>
              <a:stCxn id="17" idx="1"/>
              <a:endCxn id="18" idx="2"/>
            </p:cNvCxnSpPr>
            <p:nvPr/>
          </p:nvCxnSpPr>
          <p:spPr>
            <a:xfrm rot="10800000">
              <a:off x="2404278" y="3417919"/>
              <a:ext cx="3224332" cy="2163907"/>
            </a:xfrm>
            <a:prstGeom prst="bentConnector2">
              <a:avLst/>
            </a:prstGeom>
            <a:ln w="38100">
              <a:solidFill>
                <a:schemeClr val="bg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6FD9F930-A9DB-4728-BACB-D953CA77E611}"/>
                </a:ext>
              </a:extLst>
            </p:cNvPr>
            <p:cNvSpPr/>
            <p:nvPr/>
          </p:nvSpPr>
          <p:spPr>
            <a:xfrm>
              <a:off x="3429218" y="5321909"/>
              <a:ext cx="673787" cy="51983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800" b="1" i="0" u="none" strike="noStrike" kern="1200" cap="none" spc="0" normalizeH="0" baseline="0" noProof="0" dirty="0">
                  <a:ln>
                    <a:noFill/>
                  </a:ln>
                  <a:solidFill>
                    <a:prstClr val="white"/>
                  </a:solidFill>
                  <a:effectLst/>
                  <a:uLnTx/>
                  <a:uFillTx/>
                  <a:latin typeface="Calibri" panose="020F0502020204030204"/>
                  <a:ea typeface="+mn-ea"/>
                  <a:cs typeface="+mn-cs"/>
                </a:rPr>
                <a:t>?</a:t>
              </a:r>
              <a:endParaRPr kumimoji="0" lang="sv-SE"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2" name="Rectangle 1">
            <a:extLst>
              <a:ext uri="{FF2B5EF4-FFF2-40B4-BE49-F238E27FC236}">
                <a16:creationId xmlns:a16="http://schemas.microsoft.com/office/drawing/2014/main" id="{3704C83C-E5FA-4650-8597-C88858C4D823}"/>
              </a:ext>
            </a:extLst>
          </p:cNvPr>
          <p:cNvSpPr/>
          <p:nvPr/>
        </p:nvSpPr>
        <p:spPr>
          <a:xfrm>
            <a:off x="5129819" y="1753401"/>
            <a:ext cx="6557093" cy="1723365"/>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91291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49"/>
                                        </p:tgtEl>
                                      </p:cBhvr>
                                    </p:animEffect>
                                    <p:set>
                                      <p:cBhvr>
                                        <p:cTn id="7" dur="1" fill="hold">
                                          <p:stCondLst>
                                            <p:cond delay="499"/>
                                          </p:stCondLst>
                                        </p:cTn>
                                        <p:tgtEl>
                                          <p:spTgt spid="49"/>
                                        </p:tgtEl>
                                        <p:attrNameLst>
                                          <p:attrName>style.visibility</p:attrName>
                                        </p:attrNameLst>
                                      </p:cBhvr>
                                      <p:to>
                                        <p:strVal val="hidden"/>
                                      </p:to>
                                    </p:set>
                                  </p:childTnLst>
                                </p:cTn>
                              </p:par>
                            </p:childTnLst>
                          </p:cTn>
                        </p:par>
                        <p:par>
                          <p:cTn id="8" fill="hold">
                            <p:stCondLst>
                              <p:cond delay="500"/>
                            </p:stCondLst>
                            <p:childTnLst>
                              <p:par>
                                <p:cTn id="9" presetID="10" presetClass="exit" presetSubtype="0" fill="hold" grpId="0" nodeType="afterEffect">
                                  <p:stCondLst>
                                    <p:cond delay="0"/>
                                  </p:stCondLst>
                                  <p:childTnLst>
                                    <p:animEffect transition="out" filter="fade">
                                      <p:cBhvr>
                                        <p:cTn id="10" dur="500"/>
                                        <p:tgtEl>
                                          <p:spTgt spid="2"/>
                                        </p:tgtEl>
                                      </p:cBhvr>
                                    </p:animEffect>
                                    <p:set>
                                      <p:cBhvr>
                                        <p:cTn id="11" dur="1" fill="hold">
                                          <p:stCondLst>
                                            <p:cond delay="499"/>
                                          </p:stCondLst>
                                        </p:cTn>
                                        <p:tgtEl>
                                          <p:spTgt spid="2"/>
                                        </p:tgtEl>
                                        <p:attrNameLst>
                                          <p:attrName>style.visibility</p:attrName>
                                        </p:attrNameLst>
                                      </p:cBhvr>
                                      <p:to>
                                        <p:strVal val="hidden"/>
                                      </p:to>
                                    </p:se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22"/>
                                        </p:tgtEl>
                                        <p:attrNameLst>
                                          <p:attrName>style.visibility</p:attrName>
                                        </p:attrNameLst>
                                      </p:cBhvr>
                                      <p:to>
                                        <p:strVal val="visible"/>
                                      </p:to>
                                    </p:set>
                                    <p:animEffect transition="in" filter="fade">
                                      <p:cBhvr>
                                        <p:cTn id="16" dur="500"/>
                                        <p:tgtEl>
                                          <p:spTgt spid="2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500"/>
                                        <p:tgtEl>
                                          <p:spTgt spid="23"/>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xit" presetSubtype="0" fill="hold" grpId="0" nodeType="clickEffect">
                                  <p:stCondLst>
                                    <p:cond delay="0"/>
                                  </p:stCondLst>
                                  <p:childTnLst>
                                    <p:animEffect transition="out" filter="fade">
                                      <p:cBhvr>
                                        <p:cTn id="23" dur="500"/>
                                        <p:tgtEl>
                                          <p:spTgt spid="20"/>
                                        </p:tgtEl>
                                      </p:cBhvr>
                                    </p:animEffect>
                                    <p:set>
                                      <p:cBhvr>
                                        <p:cTn id="24" dur="1" fill="hold">
                                          <p:stCondLst>
                                            <p:cond delay="499"/>
                                          </p:stCondLst>
                                        </p:cTn>
                                        <p:tgtEl>
                                          <p:spTgt spid="20"/>
                                        </p:tgtEl>
                                        <p:attrNameLst>
                                          <p:attrName>style.visibility</p:attrName>
                                        </p:attrNameLst>
                                      </p:cBhvr>
                                      <p:to>
                                        <p:strVal val="hidden"/>
                                      </p:to>
                                    </p:se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26"/>
                                        </p:tgtEl>
                                        <p:attrNameLst>
                                          <p:attrName>style.visibility</p:attrName>
                                        </p:attrNameLst>
                                      </p:cBhvr>
                                      <p:to>
                                        <p:strVal val="visible"/>
                                      </p:to>
                                    </p:set>
                                    <p:animEffect transition="in" filter="fade">
                                      <p:cBhvr>
                                        <p:cTn id="29" dur="500"/>
                                        <p:tgtEl>
                                          <p:spTgt spid="26"/>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4"/>
                                        </p:tgtEl>
                                        <p:attrNameLst>
                                          <p:attrName>style.visibility</p:attrName>
                                        </p:attrNameLst>
                                      </p:cBhvr>
                                      <p:to>
                                        <p:strVal val="visible"/>
                                      </p:to>
                                    </p:set>
                                    <p:animEffect transition="in" filter="fade">
                                      <p:cBhvr>
                                        <p:cTn id="32" dur="500"/>
                                        <p:tgtEl>
                                          <p:spTgt spid="24"/>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7"/>
                                        </p:tgtEl>
                                        <p:attrNameLst>
                                          <p:attrName>style.visibility</p:attrName>
                                        </p:attrNameLst>
                                      </p:cBhvr>
                                      <p:to>
                                        <p:strVal val="visible"/>
                                      </p:to>
                                    </p:set>
                                    <p:animEffect transition="in" filter="fade">
                                      <p:cBhvr>
                                        <p:cTn id="37" dur="500"/>
                                        <p:tgtEl>
                                          <p:spTgt spid="27"/>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30"/>
                                        </p:tgtEl>
                                        <p:attrNameLst>
                                          <p:attrName>style.visibility</p:attrName>
                                        </p:attrNameLst>
                                      </p:cBhvr>
                                      <p:to>
                                        <p:strVal val="visible"/>
                                      </p:to>
                                    </p:set>
                                    <p:animEffect transition="in" filter="fade">
                                      <p:cBhvr>
                                        <p:cTn id="40" dur="500"/>
                                        <p:tgtEl>
                                          <p:spTgt spid="30"/>
                                        </p:tgtEl>
                                      </p:cBhvr>
                                    </p:animEffect>
                                  </p:childTnLst>
                                </p:cTn>
                              </p:par>
                            </p:childTnLst>
                          </p:cTn>
                        </p:par>
                        <p:par>
                          <p:cTn id="41" fill="hold">
                            <p:stCondLst>
                              <p:cond delay="500"/>
                            </p:stCondLst>
                            <p:childTnLst>
                              <p:par>
                                <p:cTn id="42" presetID="10" presetClass="exit" presetSubtype="0" fill="hold" nodeType="afterEffect">
                                  <p:stCondLst>
                                    <p:cond delay="0"/>
                                  </p:stCondLst>
                                  <p:childTnLst>
                                    <p:animEffect transition="out" filter="fade">
                                      <p:cBhvr>
                                        <p:cTn id="43" dur="500"/>
                                        <p:tgtEl>
                                          <p:spTgt spid="22"/>
                                        </p:tgtEl>
                                      </p:cBhvr>
                                    </p:animEffect>
                                    <p:set>
                                      <p:cBhvr>
                                        <p:cTn id="44" dur="1" fill="hold">
                                          <p:stCondLst>
                                            <p:cond delay="499"/>
                                          </p:stCondLst>
                                        </p:cTn>
                                        <p:tgtEl>
                                          <p:spTgt spid="22"/>
                                        </p:tgtEl>
                                        <p:attrNameLst>
                                          <p:attrName>style.visibility</p:attrName>
                                        </p:attrNameLst>
                                      </p:cBhvr>
                                      <p:to>
                                        <p:strVal val="hidden"/>
                                      </p:to>
                                    </p:set>
                                  </p:childTnLst>
                                </p:cTn>
                              </p:par>
                              <p:par>
                                <p:cTn id="45" presetID="10" presetClass="exit" presetSubtype="0" fill="hold" grpId="1" nodeType="withEffect">
                                  <p:stCondLst>
                                    <p:cond delay="0"/>
                                  </p:stCondLst>
                                  <p:childTnLst>
                                    <p:animEffect transition="out" filter="fade">
                                      <p:cBhvr>
                                        <p:cTn id="46" dur="500"/>
                                        <p:tgtEl>
                                          <p:spTgt spid="23"/>
                                        </p:tgtEl>
                                      </p:cBhvr>
                                    </p:animEffect>
                                    <p:set>
                                      <p:cBhvr>
                                        <p:cTn id="47" dur="1" fill="hold">
                                          <p:stCondLst>
                                            <p:cond delay="499"/>
                                          </p:stCondLst>
                                        </p:cTn>
                                        <p:tgtEl>
                                          <p:spTgt spid="23"/>
                                        </p:tgtEl>
                                        <p:attrNameLst>
                                          <p:attrName>style.visibility</p:attrName>
                                        </p:attrNameLst>
                                      </p:cBhvr>
                                      <p:to>
                                        <p:strVal val="hidden"/>
                                      </p:to>
                                    </p:set>
                                  </p:childTnLst>
                                </p:cTn>
                              </p:par>
                            </p:childTnLst>
                          </p:cTn>
                        </p:par>
                      </p:childTnLst>
                    </p:cTn>
                  </p:par>
                  <p:par>
                    <p:cTn id="48" fill="hold">
                      <p:stCondLst>
                        <p:cond delay="indefinite"/>
                      </p:stCondLst>
                      <p:childTnLst>
                        <p:par>
                          <p:cTn id="49" fill="hold">
                            <p:stCondLst>
                              <p:cond delay="0"/>
                            </p:stCondLst>
                            <p:childTnLst>
                              <p:par>
                                <p:cTn id="50" presetID="10" presetClass="exit" presetSubtype="0" fill="hold" grpId="0" nodeType="clickEffect">
                                  <p:stCondLst>
                                    <p:cond delay="0"/>
                                  </p:stCondLst>
                                  <p:childTnLst>
                                    <p:animEffect transition="out" filter="fade">
                                      <p:cBhvr>
                                        <p:cTn id="51" dur="500"/>
                                        <p:tgtEl>
                                          <p:spTgt spid="19"/>
                                        </p:tgtEl>
                                      </p:cBhvr>
                                    </p:animEffect>
                                    <p:set>
                                      <p:cBhvr>
                                        <p:cTn id="52" dur="1" fill="hold">
                                          <p:stCondLst>
                                            <p:cond delay="499"/>
                                          </p:stCondLst>
                                        </p:cTn>
                                        <p:tgtEl>
                                          <p:spTgt spid="19"/>
                                        </p:tgtEl>
                                        <p:attrNameLst>
                                          <p:attrName>style.visibility</p:attrName>
                                        </p:attrNameLst>
                                      </p:cBhvr>
                                      <p:to>
                                        <p:strVal val="hidden"/>
                                      </p:to>
                                    </p:set>
                                  </p:childTnLst>
                                </p:cTn>
                              </p:par>
                            </p:childTnLst>
                          </p:cTn>
                        </p:par>
                      </p:childTnLst>
                    </p:cTn>
                  </p:par>
                  <p:par>
                    <p:cTn id="53" fill="hold">
                      <p:stCondLst>
                        <p:cond delay="indefinite"/>
                      </p:stCondLst>
                      <p:childTnLst>
                        <p:par>
                          <p:cTn id="54" fill="hold">
                            <p:stCondLst>
                              <p:cond delay="0"/>
                            </p:stCondLst>
                            <p:childTnLst>
                              <p:par>
                                <p:cTn id="55" presetID="10" presetClass="exit" presetSubtype="0" fill="hold" grpId="0" nodeType="clickEffect">
                                  <p:stCondLst>
                                    <p:cond delay="0"/>
                                  </p:stCondLst>
                                  <p:childTnLst>
                                    <p:animEffect transition="out" filter="fade">
                                      <p:cBhvr>
                                        <p:cTn id="56" dur="500"/>
                                        <p:tgtEl>
                                          <p:spTgt spid="18"/>
                                        </p:tgtEl>
                                      </p:cBhvr>
                                    </p:animEffect>
                                    <p:set>
                                      <p:cBhvr>
                                        <p:cTn id="57" dur="1" fill="hold">
                                          <p:stCondLst>
                                            <p:cond delay="499"/>
                                          </p:stCondLst>
                                        </p:cTn>
                                        <p:tgtEl>
                                          <p:spTgt spid="18"/>
                                        </p:tgtEl>
                                        <p:attrNameLst>
                                          <p:attrName>style.visibility</p:attrName>
                                        </p:attrNameLst>
                                      </p:cBhvr>
                                      <p:to>
                                        <p:strVal val="hidden"/>
                                      </p:to>
                                    </p:se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31"/>
                                        </p:tgtEl>
                                        <p:attrNameLst>
                                          <p:attrName>style.visibility</p:attrName>
                                        </p:attrNameLst>
                                      </p:cBhvr>
                                      <p:to>
                                        <p:strVal val="visible"/>
                                      </p:to>
                                    </p:set>
                                    <p:animEffect transition="in" filter="fade">
                                      <p:cBhvr>
                                        <p:cTn id="62" dur="500"/>
                                        <p:tgtEl>
                                          <p:spTgt spid="31"/>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32"/>
                                        </p:tgtEl>
                                        <p:attrNameLst>
                                          <p:attrName>style.visibility</p:attrName>
                                        </p:attrNameLst>
                                      </p:cBhvr>
                                      <p:to>
                                        <p:strVal val="visible"/>
                                      </p:to>
                                    </p:set>
                                    <p:animEffect transition="in" filter="fade">
                                      <p:cBhvr>
                                        <p:cTn id="65" dur="500"/>
                                        <p:tgtEl>
                                          <p:spTgt spid="32"/>
                                        </p:tgtEl>
                                      </p:cBhvr>
                                    </p:animEffect>
                                  </p:childTnLst>
                                </p:cTn>
                              </p:par>
                            </p:childTnLst>
                          </p:cTn>
                        </p:par>
                        <p:par>
                          <p:cTn id="66" fill="hold">
                            <p:stCondLst>
                              <p:cond delay="500"/>
                            </p:stCondLst>
                            <p:childTnLst>
                              <p:par>
                                <p:cTn id="67" presetID="10" presetClass="exit" presetSubtype="0" fill="hold" nodeType="afterEffect">
                                  <p:stCondLst>
                                    <p:cond delay="0"/>
                                  </p:stCondLst>
                                  <p:childTnLst>
                                    <p:animEffect transition="out" filter="fade">
                                      <p:cBhvr>
                                        <p:cTn id="68" dur="500"/>
                                        <p:tgtEl>
                                          <p:spTgt spid="27"/>
                                        </p:tgtEl>
                                      </p:cBhvr>
                                    </p:animEffect>
                                    <p:set>
                                      <p:cBhvr>
                                        <p:cTn id="69" dur="1" fill="hold">
                                          <p:stCondLst>
                                            <p:cond delay="499"/>
                                          </p:stCondLst>
                                        </p:cTn>
                                        <p:tgtEl>
                                          <p:spTgt spid="27"/>
                                        </p:tgtEl>
                                        <p:attrNameLst>
                                          <p:attrName>style.visibility</p:attrName>
                                        </p:attrNameLst>
                                      </p:cBhvr>
                                      <p:to>
                                        <p:strVal val="hidden"/>
                                      </p:to>
                                    </p:set>
                                  </p:childTnLst>
                                </p:cTn>
                              </p:par>
                              <p:par>
                                <p:cTn id="70" presetID="10" presetClass="exit" presetSubtype="0" fill="hold" grpId="1" nodeType="withEffect">
                                  <p:stCondLst>
                                    <p:cond delay="0"/>
                                  </p:stCondLst>
                                  <p:childTnLst>
                                    <p:animEffect transition="out" filter="fade">
                                      <p:cBhvr>
                                        <p:cTn id="71" dur="500"/>
                                        <p:tgtEl>
                                          <p:spTgt spid="30"/>
                                        </p:tgtEl>
                                      </p:cBhvr>
                                    </p:animEffect>
                                    <p:set>
                                      <p:cBhvr>
                                        <p:cTn id="72" dur="1" fill="hold">
                                          <p:stCondLst>
                                            <p:cond delay="499"/>
                                          </p:stCondLst>
                                        </p:cTn>
                                        <p:tgtEl>
                                          <p:spTgt spid="30"/>
                                        </p:tgtEl>
                                        <p:attrNameLst>
                                          <p:attrName>style.visibility</p:attrName>
                                        </p:attrNameLst>
                                      </p:cBhvr>
                                      <p:to>
                                        <p:strVal val="hidden"/>
                                      </p:to>
                                    </p:se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nodeType="clickEffect">
                                  <p:stCondLst>
                                    <p:cond delay="0"/>
                                  </p:stCondLst>
                                  <p:childTnLst>
                                    <p:set>
                                      <p:cBhvr>
                                        <p:cTn id="76" dur="1" fill="hold">
                                          <p:stCondLst>
                                            <p:cond delay="0"/>
                                          </p:stCondLst>
                                        </p:cTn>
                                        <p:tgtEl>
                                          <p:spTgt spid="33"/>
                                        </p:tgtEl>
                                        <p:attrNameLst>
                                          <p:attrName>style.visibility</p:attrName>
                                        </p:attrNameLst>
                                      </p:cBhvr>
                                      <p:to>
                                        <p:strVal val="visible"/>
                                      </p:to>
                                    </p:set>
                                    <p:animEffect transition="in" filter="fade">
                                      <p:cBhvr>
                                        <p:cTn id="77" dur="500"/>
                                        <p:tgtEl>
                                          <p:spTgt spid="33"/>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34"/>
                                        </p:tgtEl>
                                        <p:attrNameLst>
                                          <p:attrName>style.visibility</p:attrName>
                                        </p:attrNameLst>
                                      </p:cBhvr>
                                      <p:to>
                                        <p:strVal val="visible"/>
                                      </p:to>
                                    </p:set>
                                    <p:animEffect transition="in" filter="fade">
                                      <p:cBhvr>
                                        <p:cTn id="80" dur="500"/>
                                        <p:tgtEl>
                                          <p:spTgt spid="34"/>
                                        </p:tgtEl>
                                      </p:cBhvr>
                                    </p:animEffect>
                                  </p:childTnLst>
                                </p:cTn>
                              </p:par>
                            </p:childTnLst>
                          </p:cTn>
                        </p:par>
                        <p:par>
                          <p:cTn id="81" fill="hold">
                            <p:stCondLst>
                              <p:cond delay="500"/>
                            </p:stCondLst>
                            <p:childTnLst>
                              <p:par>
                                <p:cTn id="82" presetID="10" presetClass="exit" presetSubtype="0" fill="hold" nodeType="afterEffect">
                                  <p:stCondLst>
                                    <p:cond delay="0"/>
                                  </p:stCondLst>
                                  <p:childTnLst>
                                    <p:animEffect transition="out" filter="fade">
                                      <p:cBhvr>
                                        <p:cTn id="83" dur="500"/>
                                        <p:tgtEl>
                                          <p:spTgt spid="31"/>
                                        </p:tgtEl>
                                      </p:cBhvr>
                                    </p:animEffect>
                                    <p:set>
                                      <p:cBhvr>
                                        <p:cTn id="84" dur="1" fill="hold">
                                          <p:stCondLst>
                                            <p:cond delay="499"/>
                                          </p:stCondLst>
                                        </p:cTn>
                                        <p:tgtEl>
                                          <p:spTgt spid="31"/>
                                        </p:tgtEl>
                                        <p:attrNameLst>
                                          <p:attrName>style.visibility</p:attrName>
                                        </p:attrNameLst>
                                      </p:cBhvr>
                                      <p:to>
                                        <p:strVal val="hidden"/>
                                      </p:to>
                                    </p:set>
                                  </p:childTnLst>
                                </p:cTn>
                              </p:par>
                            </p:childTnLst>
                          </p:cTn>
                        </p:par>
                        <p:par>
                          <p:cTn id="85" fill="hold">
                            <p:stCondLst>
                              <p:cond delay="1000"/>
                            </p:stCondLst>
                            <p:childTnLst>
                              <p:par>
                                <p:cTn id="86" presetID="10" presetClass="exit" presetSubtype="0" fill="hold" grpId="1" nodeType="afterEffect">
                                  <p:stCondLst>
                                    <p:cond delay="0"/>
                                  </p:stCondLst>
                                  <p:childTnLst>
                                    <p:animEffect transition="out" filter="fade">
                                      <p:cBhvr>
                                        <p:cTn id="87" dur="500"/>
                                        <p:tgtEl>
                                          <p:spTgt spid="32"/>
                                        </p:tgtEl>
                                      </p:cBhvr>
                                    </p:animEffect>
                                    <p:set>
                                      <p:cBhvr>
                                        <p:cTn id="88" dur="1" fill="hold">
                                          <p:stCondLst>
                                            <p:cond delay="499"/>
                                          </p:stCondLst>
                                        </p:cTn>
                                        <p:tgtEl>
                                          <p:spTgt spid="32"/>
                                        </p:tgtEl>
                                        <p:attrNameLst>
                                          <p:attrName>style.visibility</p:attrName>
                                        </p:attrNameLst>
                                      </p:cBhvr>
                                      <p:to>
                                        <p:strVal val="hidden"/>
                                      </p:to>
                                    </p:set>
                                  </p:childTnLst>
                                </p:cTn>
                              </p:par>
                            </p:childTnLst>
                          </p:cTn>
                        </p:par>
                      </p:childTnLst>
                    </p:cTn>
                  </p:par>
                  <p:par>
                    <p:cTn id="89" fill="hold">
                      <p:stCondLst>
                        <p:cond delay="indefinite"/>
                      </p:stCondLst>
                      <p:childTnLst>
                        <p:par>
                          <p:cTn id="90" fill="hold">
                            <p:stCondLst>
                              <p:cond delay="0"/>
                            </p:stCondLst>
                            <p:childTnLst>
                              <p:par>
                                <p:cTn id="91" presetID="10" presetClass="exit" presetSubtype="0" fill="hold" nodeType="clickEffect">
                                  <p:stCondLst>
                                    <p:cond delay="0"/>
                                  </p:stCondLst>
                                  <p:childTnLst>
                                    <p:animEffect transition="out" filter="fade">
                                      <p:cBhvr>
                                        <p:cTn id="92" dur="500"/>
                                        <p:tgtEl>
                                          <p:spTgt spid="33"/>
                                        </p:tgtEl>
                                      </p:cBhvr>
                                    </p:animEffect>
                                    <p:set>
                                      <p:cBhvr>
                                        <p:cTn id="93" dur="1" fill="hold">
                                          <p:stCondLst>
                                            <p:cond delay="499"/>
                                          </p:stCondLst>
                                        </p:cTn>
                                        <p:tgtEl>
                                          <p:spTgt spid="33"/>
                                        </p:tgtEl>
                                        <p:attrNameLst>
                                          <p:attrName>style.visibility</p:attrName>
                                        </p:attrNameLst>
                                      </p:cBhvr>
                                      <p:to>
                                        <p:strVal val="hidden"/>
                                      </p:to>
                                    </p:set>
                                  </p:childTnLst>
                                </p:cTn>
                              </p:par>
                              <p:par>
                                <p:cTn id="94" presetID="10" presetClass="exit" presetSubtype="0" fill="hold" grpId="1" nodeType="withEffect">
                                  <p:stCondLst>
                                    <p:cond delay="0"/>
                                  </p:stCondLst>
                                  <p:childTnLst>
                                    <p:animEffect transition="out" filter="fade">
                                      <p:cBhvr>
                                        <p:cTn id="95" dur="500"/>
                                        <p:tgtEl>
                                          <p:spTgt spid="34"/>
                                        </p:tgtEl>
                                      </p:cBhvr>
                                    </p:animEffect>
                                    <p:set>
                                      <p:cBhvr>
                                        <p:cTn id="96" dur="1" fill="hold">
                                          <p:stCondLst>
                                            <p:cond delay="499"/>
                                          </p:stCondLst>
                                        </p:cTn>
                                        <p:tgtEl>
                                          <p:spTgt spid="34"/>
                                        </p:tgtEl>
                                        <p:attrNameLst>
                                          <p:attrName>style.visibility</p:attrName>
                                        </p:attrNameLst>
                                      </p:cBhvr>
                                      <p:to>
                                        <p:strVal val="hidden"/>
                                      </p:to>
                                    </p:se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nodeType="clickEffect">
                                  <p:stCondLst>
                                    <p:cond delay="0"/>
                                  </p:stCondLst>
                                  <p:childTnLst>
                                    <p:set>
                                      <p:cBhvr>
                                        <p:cTn id="100" dur="1" fill="hold">
                                          <p:stCondLst>
                                            <p:cond delay="0"/>
                                          </p:stCondLst>
                                        </p:cTn>
                                        <p:tgtEl>
                                          <p:spTgt spid="35"/>
                                        </p:tgtEl>
                                        <p:attrNameLst>
                                          <p:attrName>style.visibility</p:attrName>
                                        </p:attrNameLst>
                                      </p:cBhvr>
                                      <p:to>
                                        <p:strVal val="visible"/>
                                      </p:to>
                                    </p:set>
                                    <p:animEffect transition="in" filter="fade">
                                      <p:cBhvr>
                                        <p:cTn id="101" dur="500"/>
                                        <p:tgtEl>
                                          <p:spTgt spid="35"/>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36"/>
                                        </p:tgtEl>
                                        <p:attrNameLst>
                                          <p:attrName>style.visibility</p:attrName>
                                        </p:attrNameLst>
                                      </p:cBhvr>
                                      <p:to>
                                        <p:strVal val="visible"/>
                                      </p:to>
                                    </p:set>
                                    <p:animEffect transition="in" filter="fade">
                                      <p:cBhvr>
                                        <p:cTn id="104" dur="500"/>
                                        <p:tgtEl>
                                          <p:spTgt spid="36"/>
                                        </p:tgtEl>
                                      </p:cBhvr>
                                    </p:animEffect>
                                  </p:childTnLst>
                                </p:cTn>
                              </p:par>
                            </p:childTnLst>
                          </p:cTn>
                        </p:par>
                        <p:par>
                          <p:cTn id="105" fill="hold">
                            <p:stCondLst>
                              <p:cond delay="500"/>
                            </p:stCondLst>
                            <p:childTnLst>
                              <p:par>
                                <p:cTn id="106" presetID="10" presetClass="exit" presetSubtype="0" fill="hold" nodeType="afterEffect">
                                  <p:stCondLst>
                                    <p:cond delay="0"/>
                                  </p:stCondLst>
                                  <p:childTnLst>
                                    <p:animEffect transition="out" filter="fade">
                                      <p:cBhvr>
                                        <p:cTn id="107" dur="500"/>
                                        <p:tgtEl>
                                          <p:spTgt spid="26"/>
                                        </p:tgtEl>
                                      </p:cBhvr>
                                    </p:animEffect>
                                    <p:set>
                                      <p:cBhvr>
                                        <p:cTn id="108" dur="1" fill="hold">
                                          <p:stCondLst>
                                            <p:cond delay="499"/>
                                          </p:stCondLst>
                                        </p:cTn>
                                        <p:tgtEl>
                                          <p:spTgt spid="26"/>
                                        </p:tgtEl>
                                        <p:attrNameLst>
                                          <p:attrName>style.visibility</p:attrName>
                                        </p:attrNameLst>
                                      </p:cBhvr>
                                      <p:to>
                                        <p:strVal val="hidden"/>
                                      </p:to>
                                    </p:set>
                                  </p:childTnLst>
                                </p:cTn>
                              </p:par>
                            </p:childTnLst>
                          </p:cTn>
                        </p:par>
                        <p:par>
                          <p:cTn id="109" fill="hold">
                            <p:stCondLst>
                              <p:cond delay="1000"/>
                            </p:stCondLst>
                            <p:childTnLst>
                              <p:par>
                                <p:cTn id="110" presetID="10" presetClass="exit" presetSubtype="0" fill="hold" grpId="1" nodeType="afterEffect">
                                  <p:stCondLst>
                                    <p:cond delay="0"/>
                                  </p:stCondLst>
                                  <p:childTnLst>
                                    <p:animEffect transition="out" filter="fade">
                                      <p:cBhvr>
                                        <p:cTn id="111" dur="500"/>
                                        <p:tgtEl>
                                          <p:spTgt spid="24"/>
                                        </p:tgtEl>
                                      </p:cBhvr>
                                    </p:animEffect>
                                    <p:set>
                                      <p:cBhvr>
                                        <p:cTn id="112" dur="1" fill="hold">
                                          <p:stCondLst>
                                            <p:cond delay="499"/>
                                          </p:stCondLst>
                                        </p:cTn>
                                        <p:tgtEl>
                                          <p:spTgt spid="24"/>
                                        </p:tgtEl>
                                        <p:attrNameLst>
                                          <p:attrName>style.visibility</p:attrName>
                                        </p:attrNameLst>
                                      </p:cBhvr>
                                      <p:to>
                                        <p:strVal val="hidden"/>
                                      </p:to>
                                    </p:set>
                                  </p:childTnLst>
                                </p:cTn>
                              </p:par>
                            </p:childTnLst>
                          </p:cTn>
                        </p:par>
                      </p:childTnLst>
                    </p:cTn>
                  </p:par>
                  <p:par>
                    <p:cTn id="113" fill="hold">
                      <p:stCondLst>
                        <p:cond delay="indefinite"/>
                      </p:stCondLst>
                      <p:childTnLst>
                        <p:par>
                          <p:cTn id="114" fill="hold">
                            <p:stCondLst>
                              <p:cond delay="0"/>
                            </p:stCondLst>
                            <p:childTnLst>
                              <p:par>
                                <p:cTn id="115" presetID="10" presetClass="entr" presetSubtype="0" fill="hold" nodeType="clickEffect">
                                  <p:stCondLst>
                                    <p:cond delay="0"/>
                                  </p:stCondLst>
                                  <p:childTnLst>
                                    <p:set>
                                      <p:cBhvr>
                                        <p:cTn id="116" dur="1" fill="hold">
                                          <p:stCondLst>
                                            <p:cond delay="0"/>
                                          </p:stCondLst>
                                        </p:cTn>
                                        <p:tgtEl>
                                          <p:spTgt spid="41"/>
                                        </p:tgtEl>
                                        <p:attrNameLst>
                                          <p:attrName>style.visibility</p:attrName>
                                        </p:attrNameLst>
                                      </p:cBhvr>
                                      <p:to>
                                        <p:strVal val="visible"/>
                                      </p:to>
                                    </p:set>
                                    <p:animEffect transition="in" filter="fade">
                                      <p:cBhvr>
                                        <p:cTn id="117" dur="500"/>
                                        <p:tgtEl>
                                          <p:spTgt spid="41"/>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42"/>
                                        </p:tgtEl>
                                        <p:attrNameLst>
                                          <p:attrName>style.visibility</p:attrName>
                                        </p:attrNameLst>
                                      </p:cBhvr>
                                      <p:to>
                                        <p:strVal val="visible"/>
                                      </p:to>
                                    </p:set>
                                    <p:animEffect transition="in" filter="fade">
                                      <p:cBhvr>
                                        <p:cTn id="120" dur="500"/>
                                        <p:tgtEl>
                                          <p:spTgt spid="42"/>
                                        </p:tgtEl>
                                      </p:cBhvr>
                                    </p:animEffect>
                                  </p:childTnLst>
                                </p:cTn>
                              </p:par>
                              <p:par>
                                <p:cTn id="121" presetID="10" presetClass="exit" presetSubtype="0" fill="hold" nodeType="withEffect">
                                  <p:stCondLst>
                                    <p:cond delay="0"/>
                                  </p:stCondLst>
                                  <p:childTnLst>
                                    <p:animEffect transition="out" filter="fade">
                                      <p:cBhvr>
                                        <p:cTn id="122" dur="500"/>
                                        <p:tgtEl>
                                          <p:spTgt spid="35"/>
                                        </p:tgtEl>
                                      </p:cBhvr>
                                    </p:animEffect>
                                    <p:set>
                                      <p:cBhvr>
                                        <p:cTn id="123" dur="1" fill="hold">
                                          <p:stCondLst>
                                            <p:cond delay="499"/>
                                          </p:stCondLst>
                                        </p:cTn>
                                        <p:tgtEl>
                                          <p:spTgt spid="35"/>
                                        </p:tgtEl>
                                        <p:attrNameLst>
                                          <p:attrName>style.visibility</p:attrName>
                                        </p:attrNameLst>
                                      </p:cBhvr>
                                      <p:to>
                                        <p:strVal val="hidden"/>
                                      </p:to>
                                    </p:set>
                                  </p:childTnLst>
                                </p:cTn>
                              </p:par>
                              <p:par>
                                <p:cTn id="124" presetID="10" presetClass="exit" presetSubtype="0" fill="hold" grpId="1" nodeType="withEffect">
                                  <p:stCondLst>
                                    <p:cond delay="0"/>
                                  </p:stCondLst>
                                  <p:childTnLst>
                                    <p:animEffect transition="out" filter="fade">
                                      <p:cBhvr>
                                        <p:cTn id="125" dur="500"/>
                                        <p:tgtEl>
                                          <p:spTgt spid="36"/>
                                        </p:tgtEl>
                                      </p:cBhvr>
                                    </p:animEffect>
                                    <p:set>
                                      <p:cBhvr>
                                        <p:cTn id="126" dur="1" fill="hold">
                                          <p:stCondLst>
                                            <p:cond delay="499"/>
                                          </p:stCondLst>
                                        </p:cTn>
                                        <p:tgtEl>
                                          <p:spTgt spid="3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animBg="1"/>
      <p:bldP spid="23" grpId="0"/>
      <p:bldP spid="23" grpId="1"/>
      <p:bldP spid="24" grpId="0"/>
      <p:bldP spid="24" grpId="1"/>
      <p:bldP spid="30" grpId="0"/>
      <p:bldP spid="30" grpId="1"/>
      <p:bldP spid="32" grpId="0"/>
      <p:bldP spid="32" grpId="1"/>
      <p:bldP spid="34" grpId="0"/>
      <p:bldP spid="34" grpId="1"/>
      <p:bldP spid="36" grpId="0"/>
      <p:bldP spid="36" grpId="1"/>
      <p:bldP spid="42" grpId="0"/>
      <p:bldP spid="2"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232DF485-399E-4A9C-ADB8-E3CE4E0E30D1}"/>
              </a:ext>
            </a:extLst>
          </p:cNvPr>
          <p:cNvCxnSpPr>
            <a:cxnSpLocks/>
          </p:cNvCxnSpPr>
          <p:nvPr/>
        </p:nvCxnSpPr>
        <p:spPr>
          <a:xfrm flipH="1">
            <a:off x="1409700" y="3182567"/>
            <a:ext cx="9286875" cy="0"/>
          </a:xfrm>
          <a:prstGeom prst="line">
            <a:avLst/>
          </a:prstGeom>
          <a:noFill/>
          <a:ln w="57150" cap="rnd" cmpd="sng" algn="ctr">
            <a:gradFill flip="none" rotWithShape="1">
              <a:gsLst>
                <a:gs pos="0">
                  <a:srgbClr val="E4DED8">
                    <a:alpha val="11000"/>
                  </a:srgbClr>
                </a:gs>
                <a:gs pos="100000">
                  <a:srgbClr val="E4DED8"/>
                </a:gs>
              </a:gsLst>
              <a:lin ang="10800000" scaled="1"/>
              <a:tileRect/>
            </a:gradFill>
            <a:prstDash val="sysDot"/>
          </a:ln>
          <a:effectLst/>
        </p:spPr>
      </p:cxnSp>
      <p:sp>
        <p:nvSpPr>
          <p:cNvPr id="53" name="Rectangle 52">
            <a:extLst>
              <a:ext uri="{FF2B5EF4-FFF2-40B4-BE49-F238E27FC236}">
                <a16:creationId xmlns:a16="http://schemas.microsoft.com/office/drawing/2014/main" id="{CB5F7CA4-2959-417F-9B1E-E88ACCDD6EE0}"/>
              </a:ext>
            </a:extLst>
          </p:cNvPr>
          <p:cNvSpPr/>
          <p:nvPr/>
        </p:nvSpPr>
        <p:spPr>
          <a:xfrm>
            <a:off x="5293645" y="2709969"/>
            <a:ext cx="844653" cy="9334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 name="Rectangle 54">
            <a:extLst>
              <a:ext uri="{FF2B5EF4-FFF2-40B4-BE49-F238E27FC236}">
                <a16:creationId xmlns:a16="http://schemas.microsoft.com/office/drawing/2014/main" id="{5A5B058F-C986-4AFF-AFC0-961F730BABFC}"/>
              </a:ext>
            </a:extLst>
          </p:cNvPr>
          <p:cNvSpPr/>
          <p:nvPr/>
        </p:nvSpPr>
        <p:spPr>
          <a:xfrm>
            <a:off x="7715794" y="2757250"/>
            <a:ext cx="952500" cy="9334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17AEDFEA-3407-4E31-A52C-8514DCE11534}"/>
              </a:ext>
            </a:extLst>
          </p:cNvPr>
          <p:cNvSpPr>
            <a:spLocks noGrp="1"/>
          </p:cNvSpPr>
          <p:nvPr>
            <p:ph type="title"/>
          </p:nvPr>
        </p:nvSpPr>
        <p:spPr/>
        <p:txBody>
          <a:bodyPr/>
          <a:lstStyle/>
          <a:p>
            <a:r>
              <a:rPr lang="en-US" dirty="0"/>
              <a:t>Getting Started</a:t>
            </a:r>
          </a:p>
        </p:txBody>
      </p:sp>
      <p:pic>
        <p:nvPicPr>
          <p:cNvPr id="5" name="Picture 4">
            <a:extLst>
              <a:ext uri="{FF2B5EF4-FFF2-40B4-BE49-F238E27FC236}">
                <a16:creationId xmlns:a16="http://schemas.microsoft.com/office/drawing/2014/main" id="{89499CBE-4D2E-46F9-81B0-A5B4D7AB27A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93646" y="2795579"/>
            <a:ext cx="780290" cy="780290"/>
          </a:xfrm>
          <a:prstGeom prst="rect">
            <a:avLst/>
          </a:prstGeom>
        </p:spPr>
      </p:pic>
      <p:pic>
        <p:nvPicPr>
          <p:cNvPr id="7" name="Picture 6">
            <a:extLst>
              <a:ext uri="{FF2B5EF4-FFF2-40B4-BE49-F238E27FC236}">
                <a16:creationId xmlns:a16="http://schemas.microsoft.com/office/drawing/2014/main" id="{E7A2F6E4-F570-46EB-8561-A1E14F1FA05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01899" y="2795579"/>
            <a:ext cx="780290" cy="780290"/>
          </a:xfrm>
          <a:prstGeom prst="rect">
            <a:avLst/>
          </a:prstGeom>
        </p:spPr>
      </p:pic>
      <p:sp>
        <p:nvSpPr>
          <p:cNvPr id="15" name="TextBox 14">
            <a:extLst>
              <a:ext uri="{FF2B5EF4-FFF2-40B4-BE49-F238E27FC236}">
                <a16:creationId xmlns:a16="http://schemas.microsoft.com/office/drawing/2014/main" id="{024F7907-3BD4-4F44-9C02-CA51CA681D35}"/>
              </a:ext>
            </a:extLst>
          </p:cNvPr>
          <p:cNvSpPr txBox="1"/>
          <p:nvPr/>
        </p:nvSpPr>
        <p:spPr>
          <a:xfrm>
            <a:off x="2590058" y="3698527"/>
            <a:ext cx="1272271"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Gateway</a:t>
            </a:r>
          </a:p>
        </p:txBody>
      </p:sp>
      <p:sp>
        <p:nvSpPr>
          <p:cNvPr id="17" name="TextBox 16">
            <a:extLst>
              <a:ext uri="{FF2B5EF4-FFF2-40B4-BE49-F238E27FC236}">
                <a16:creationId xmlns:a16="http://schemas.microsoft.com/office/drawing/2014/main" id="{7F02C229-6CCE-4AC8-AD3C-F5239C06A7D5}"/>
              </a:ext>
            </a:extLst>
          </p:cNvPr>
          <p:cNvSpPr txBox="1"/>
          <p:nvPr/>
        </p:nvSpPr>
        <p:spPr>
          <a:xfrm>
            <a:off x="7177925" y="3660482"/>
            <a:ext cx="2269211"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Az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Stream Analytics</a:t>
            </a:r>
          </a:p>
        </p:txBody>
      </p:sp>
      <p:pic>
        <p:nvPicPr>
          <p:cNvPr id="19" name="Picture 18">
            <a:extLst>
              <a:ext uri="{FF2B5EF4-FFF2-40B4-BE49-F238E27FC236}">
                <a16:creationId xmlns:a16="http://schemas.microsoft.com/office/drawing/2014/main" id="{7105F04E-1DD6-45B8-8647-511825418EE6}"/>
              </a:ext>
            </a:extLst>
          </p:cNvPr>
          <p:cNvPicPr>
            <a:picLocks noChangeAspect="1"/>
          </p:cNvPicPr>
          <p:nvPr/>
        </p:nvPicPr>
        <p:blipFill>
          <a:blip r:embed="rId4"/>
          <a:stretch>
            <a:fillRect/>
          </a:stretch>
        </p:blipFill>
        <p:spPr>
          <a:xfrm>
            <a:off x="10782680" y="2862270"/>
            <a:ext cx="644707" cy="644707"/>
          </a:xfrm>
          <a:prstGeom prst="rect">
            <a:avLst/>
          </a:prstGeom>
        </p:spPr>
      </p:pic>
      <p:sp>
        <p:nvSpPr>
          <p:cNvPr id="20" name="TextBox 19">
            <a:extLst>
              <a:ext uri="{FF2B5EF4-FFF2-40B4-BE49-F238E27FC236}">
                <a16:creationId xmlns:a16="http://schemas.microsoft.com/office/drawing/2014/main" id="{9D7FD65D-72CA-469A-8512-2532083742FC}"/>
              </a:ext>
            </a:extLst>
          </p:cNvPr>
          <p:cNvSpPr txBox="1"/>
          <p:nvPr/>
        </p:nvSpPr>
        <p:spPr>
          <a:xfrm>
            <a:off x="10406765" y="3621165"/>
            <a:ext cx="1396536"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Microsof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Power BI</a:t>
            </a:r>
          </a:p>
        </p:txBody>
      </p:sp>
      <p:grpSp>
        <p:nvGrpSpPr>
          <p:cNvPr id="3" name="Group 2">
            <a:extLst>
              <a:ext uri="{FF2B5EF4-FFF2-40B4-BE49-F238E27FC236}">
                <a16:creationId xmlns:a16="http://schemas.microsoft.com/office/drawing/2014/main" id="{0690DC7A-8759-4E83-B17D-A99715637442}"/>
              </a:ext>
            </a:extLst>
          </p:cNvPr>
          <p:cNvGrpSpPr/>
          <p:nvPr/>
        </p:nvGrpSpPr>
        <p:grpSpPr>
          <a:xfrm>
            <a:off x="3201170" y="4819262"/>
            <a:ext cx="2853858" cy="1213163"/>
            <a:chOff x="2268731" y="5175188"/>
            <a:chExt cx="2853858" cy="1213163"/>
          </a:xfrm>
        </p:grpSpPr>
        <p:pic>
          <p:nvPicPr>
            <p:cNvPr id="22" name="Picture 21">
              <a:extLst>
                <a:ext uri="{FF2B5EF4-FFF2-40B4-BE49-F238E27FC236}">
                  <a16:creationId xmlns:a16="http://schemas.microsoft.com/office/drawing/2014/main" id="{8CBE33A7-0E82-423E-8A72-836EE86F242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39374" y="5175188"/>
              <a:ext cx="799212" cy="799212"/>
            </a:xfrm>
            <a:prstGeom prst="rect">
              <a:avLst/>
            </a:prstGeom>
          </p:spPr>
        </p:pic>
        <p:sp>
          <p:nvSpPr>
            <p:cNvPr id="24" name="TextBox 23">
              <a:extLst>
                <a:ext uri="{FF2B5EF4-FFF2-40B4-BE49-F238E27FC236}">
                  <a16:creationId xmlns:a16="http://schemas.microsoft.com/office/drawing/2014/main" id="{F722BC97-64BE-4736-8105-3518AE7473E1}"/>
                </a:ext>
              </a:extLst>
            </p:cNvPr>
            <p:cNvSpPr txBox="1"/>
            <p:nvPr/>
          </p:nvSpPr>
          <p:spPr>
            <a:xfrm>
              <a:off x="2268731" y="5926686"/>
              <a:ext cx="2853858"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microServiceBus.com</a:t>
              </a:r>
            </a:p>
          </p:txBody>
        </p:sp>
      </p:grpSp>
      <p:cxnSp>
        <p:nvCxnSpPr>
          <p:cNvPr id="8" name="Connector: Elbow 7">
            <a:extLst>
              <a:ext uri="{FF2B5EF4-FFF2-40B4-BE49-F238E27FC236}">
                <a16:creationId xmlns:a16="http://schemas.microsoft.com/office/drawing/2014/main" id="{3648E49E-B3AC-403B-BD32-E7334297CF43}"/>
              </a:ext>
            </a:extLst>
          </p:cNvPr>
          <p:cNvCxnSpPr>
            <a:cxnSpLocks/>
            <a:stCxn id="15" idx="2"/>
          </p:cNvCxnSpPr>
          <p:nvPr/>
        </p:nvCxnSpPr>
        <p:spPr>
          <a:xfrm rot="16200000" flipH="1">
            <a:off x="3255115" y="4131271"/>
            <a:ext cx="1075364" cy="1133206"/>
          </a:xfrm>
          <a:prstGeom prst="bentConnector2">
            <a:avLst/>
          </a:prstGeom>
          <a:noFill/>
          <a:ln w="57150" cap="rnd" cmpd="sng" algn="ctr">
            <a:gradFill flip="none" rotWithShape="1">
              <a:gsLst>
                <a:gs pos="0">
                  <a:srgbClr val="E4DED8">
                    <a:alpha val="11000"/>
                  </a:srgbClr>
                </a:gs>
                <a:gs pos="100000">
                  <a:srgbClr val="E4DED8"/>
                </a:gs>
              </a:gsLst>
              <a:lin ang="10800000" scaled="1"/>
              <a:tileRect/>
            </a:gradFill>
            <a:prstDash val="sysDot"/>
          </a:ln>
          <a:effectLst/>
        </p:spPr>
      </p:cxnSp>
      <p:cxnSp>
        <p:nvCxnSpPr>
          <p:cNvPr id="31" name="Connector: Elbow 30">
            <a:extLst>
              <a:ext uri="{FF2B5EF4-FFF2-40B4-BE49-F238E27FC236}">
                <a16:creationId xmlns:a16="http://schemas.microsoft.com/office/drawing/2014/main" id="{3419E160-66D6-4271-831C-CE0F5332677C}"/>
              </a:ext>
            </a:extLst>
          </p:cNvPr>
          <p:cNvCxnSpPr>
            <a:cxnSpLocks/>
            <a:stCxn id="16" idx="2"/>
          </p:cNvCxnSpPr>
          <p:nvPr/>
        </p:nvCxnSpPr>
        <p:spPr>
          <a:xfrm rot="5400000">
            <a:off x="4813276" y="4330912"/>
            <a:ext cx="706033" cy="1034999"/>
          </a:xfrm>
          <a:prstGeom prst="bentConnector2">
            <a:avLst/>
          </a:prstGeom>
          <a:noFill/>
          <a:ln w="57150" cap="rnd" cmpd="sng" algn="ctr">
            <a:gradFill flip="none" rotWithShape="1">
              <a:gsLst>
                <a:gs pos="0">
                  <a:srgbClr val="E4DED8">
                    <a:alpha val="11000"/>
                  </a:srgbClr>
                </a:gs>
                <a:gs pos="100000">
                  <a:srgbClr val="E4DED8"/>
                </a:gs>
              </a:gsLst>
              <a:lin ang="10800000" scaled="1"/>
              <a:tileRect/>
            </a:gradFill>
            <a:prstDash val="sysDot"/>
          </a:ln>
          <a:effectLst/>
        </p:spPr>
      </p:cxnSp>
      <p:sp>
        <p:nvSpPr>
          <p:cNvPr id="29" name="Rectangle 28">
            <a:extLst>
              <a:ext uri="{FF2B5EF4-FFF2-40B4-BE49-F238E27FC236}">
                <a16:creationId xmlns:a16="http://schemas.microsoft.com/office/drawing/2014/main" id="{C3AB9319-71F6-47BF-B5CE-C04EA38E0FB4}"/>
              </a:ext>
            </a:extLst>
          </p:cNvPr>
          <p:cNvSpPr/>
          <p:nvPr/>
        </p:nvSpPr>
        <p:spPr>
          <a:xfrm>
            <a:off x="2394792" y="4098952"/>
            <a:ext cx="3929215" cy="259741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0AC0C095-2118-4F9C-8FEA-D83781F868DC}"/>
              </a:ext>
            </a:extLst>
          </p:cNvPr>
          <p:cNvSpPr txBox="1"/>
          <p:nvPr/>
        </p:nvSpPr>
        <p:spPr>
          <a:xfrm>
            <a:off x="5104145" y="3664398"/>
            <a:ext cx="1159292"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Az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IoT Hub</a:t>
            </a:r>
          </a:p>
        </p:txBody>
      </p:sp>
      <p:pic>
        <p:nvPicPr>
          <p:cNvPr id="4" name="Picture 3">
            <a:extLst>
              <a:ext uri="{FF2B5EF4-FFF2-40B4-BE49-F238E27FC236}">
                <a16:creationId xmlns:a16="http://schemas.microsoft.com/office/drawing/2014/main" id="{8A50E1DC-CB9F-421E-8677-D918D27A6A23}"/>
              </a:ext>
            </a:extLst>
          </p:cNvPr>
          <p:cNvPicPr>
            <a:picLocks noChangeAspect="1"/>
          </p:cNvPicPr>
          <p:nvPr/>
        </p:nvPicPr>
        <p:blipFill>
          <a:blip r:embed="rId6"/>
          <a:stretch>
            <a:fillRect/>
          </a:stretch>
        </p:blipFill>
        <p:spPr>
          <a:xfrm>
            <a:off x="568452" y="2830442"/>
            <a:ext cx="820146" cy="787064"/>
          </a:xfrm>
          <a:prstGeom prst="rect">
            <a:avLst/>
          </a:prstGeom>
        </p:spPr>
      </p:pic>
      <p:sp>
        <p:nvSpPr>
          <p:cNvPr id="23" name="Rectangle 22">
            <a:extLst>
              <a:ext uri="{FF2B5EF4-FFF2-40B4-BE49-F238E27FC236}">
                <a16:creationId xmlns:a16="http://schemas.microsoft.com/office/drawing/2014/main" id="{A0E34FAF-1AD7-4C04-BDAE-AAD3D0956E51}"/>
              </a:ext>
            </a:extLst>
          </p:cNvPr>
          <p:cNvSpPr/>
          <p:nvPr/>
        </p:nvSpPr>
        <p:spPr>
          <a:xfrm>
            <a:off x="2744864" y="2727033"/>
            <a:ext cx="952500" cy="9334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4" name="Picture 13">
            <a:extLst>
              <a:ext uri="{FF2B5EF4-FFF2-40B4-BE49-F238E27FC236}">
                <a16:creationId xmlns:a16="http://schemas.microsoft.com/office/drawing/2014/main" id="{D1B9E996-A190-4EB9-B1D9-711932ACC7D7}"/>
              </a:ext>
            </a:extLst>
          </p:cNvPr>
          <p:cNvPicPr>
            <a:picLocks noChangeAspect="1"/>
          </p:cNvPicPr>
          <p:nvPr/>
        </p:nvPicPr>
        <p:blipFill>
          <a:blip r:embed="rId7"/>
          <a:stretch>
            <a:fillRect/>
          </a:stretch>
        </p:blipFill>
        <p:spPr>
          <a:xfrm>
            <a:off x="2787068" y="2879400"/>
            <a:ext cx="828205" cy="594426"/>
          </a:xfrm>
          <a:prstGeom prst="rect">
            <a:avLst/>
          </a:prstGeom>
        </p:spPr>
      </p:pic>
      <p:sp>
        <p:nvSpPr>
          <p:cNvPr id="25" name="TextBox 24">
            <a:extLst>
              <a:ext uri="{FF2B5EF4-FFF2-40B4-BE49-F238E27FC236}">
                <a16:creationId xmlns:a16="http://schemas.microsoft.com/office/drawing/2014/main" id="{C3E994A3-9D53-47A9-96BA-99ACE8022AC2}"/>
              </a:ext>
            </a:extLst>
          </p:cNvPr>
          <p:cNvSpPr txBox="1"/>
          <p:nvPr/>
        </p:nvSpPr>
        <p:spPr>
          <a:xfrm>
            <a:off x="482675" y="3675433"/>
            <a:ext cx="1031052"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Sensor</a:t>
            </a:r>
          </a:p>
        </p:txBody>
      </p:sp>
    </p:spTree>
    <p:extLst>
      <p:ext uri="{BB962C8B-B14F-4D97-AF65-F5344CB8AC3E}">
        <p14:creationId xmlns:p14="http://schemas.microsoft.com/office/powerpoint/2010/main" val="354513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repeatCount="indefinite"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3500"/>
                                        <p:tgtEl>
                                          <p:spTgt spid="10"/>
                                        </p:tgtEl>
                                      </p:cBhvr>
                                    </p:animEffect>
                                  </p:childTnLst>
                                </p:cTn>
                              </p:par>
                              <p:par>
                                <p:cTn id="8" presetID="22" presetClass="entr" presetSubtype="4" repeatCount="indefinite"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down)">
                                      <p:cBhvr>
                                        <p:cTn id="10" dur="2500"/>
                                        <p:tgtEl>
                                          <p:spTgt spid="31"/>
                                        </p:tgtEl>
                                      </p:cBhvr>
                                    </p:animEffect>
                                  </p:childTnLst>
                                </p:cTn>
                              </p:par>
                              <p:par>
                                <p:cTn id="11" presetID="22" presetClass="entr" presetSubtype="4" repeatCount="indefinite" fill="hold"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wipe(down)">
                                      <p:cBhvr>
                                        <p:cTn id="13" dur="2500"/>
                                        <p:tgtEl>
                                          <p:spTgt spid="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grpId="0" nodeType="clickEffect">
                                  <p:stCondLst>
                                    <p:cond delay="0"/>
                                  </p:stCondLst>
                                  <p:childTnLst>
                                    <p:animEffect transition="out" filter="fade">
                                      <p:cBhvr>
                                        <p:cTn id="17" dur="500"/>
                                        <p:tgtEl>
                                          <p:spTgt spid="29"/>
                                        </p:tgtEl>
                                      </p:cBhvr>
                                    </p:animEffect>
                                    <p:set>
                                      <p:cBhvr>
                                        <p:cTn id="18" dur="1" fill="hold">
                                          <p:stCondLst>
                                            <p:cond delay="499"/>
                                          </p:stCondLst>
                                        </p:cTn>
                                        <p:tgtEl>
                                          <p:spTgt spid="2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B1907BCD-D346-4947-A9D7-F83B2F31F831}"/>
              </a:ext>
            </a:extLst>
          </p:cNvPr>
          <p:cNvSpPr/>
          <p:nvPr/>
        </p:nvSpPr>
        <p:spPr>
          <a:xfrm>
            <a:off x="1873561" y="1759784"/>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5CA22908-7C0D-47E8-B698-95D23F3EE815}"/>
              </a:ext>
            </a:extLst>
          </p:cNvPr>
          <p:cNvSpPr/>
          <p:nvPr/>
        </p:nvSpPr>
        <p:spPr>
          <a:xfrm>
            <a:off x="1873561" y="2463169"/>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583D7AF6-E57B-4B33-8894-1BDEBE058F87}"/>
              </a:ext>
            </a:extLst>
          </p:cNvPr>
          <p:cNvSpPr/>
          <p:nvPr/>
        </p:nvSpPr>
        <p:spPr>
          <a:xfrm>
            <a:off x="1873561" y="3166554"/>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332F5A28-433C-4245-B847-5CF8C1BD912D}"/>
              </a:ext>
            </a:extLst>
          </p:cNvPr>
          <p:cNvSpPr/>
          <p:nvPr/>
        </p:nvSpPr>
        <p:spPr>
          <a:xfrm>
            <a:off x="1873561" y="3869939"/>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0D79E4B0-7425-4922-988F-56BF12A4F338}"/>
              </a:ext>
            </a:extLst>
          </p:cNvPr>
          <p:cNvSpPr/>
          <p:nvPr/>
        </p:nvSpPr>
        <p:spPr>
          <a:xfrm>
            <a:off x="1873561" y="4573324"/>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8CC2A69B-03DF-41E6-8D45-A5B2CFD95B28}"/>
              </a:ext>
            </a:extLst>
          </p:cNvPr>
          <p:cNvSpPr/>
          <p:nvPr/>
        </p:nvSpPr>
        <p:spPr>
          <a:xfrm>
            <a:off x="1873561" y="5276709"/>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FA7768B-9C78-4866-92D1-711967FCE4ED}"/>
              </a:ext>
            </a:extLst>
          </p:cNvPr>
          <p:cNvSpPr>
            <a:spLocks noGrp="1"/>
          </p:cNvSpPr>
          <p:nvPr>
            <p:ph type="title"/>
          </p:nvPr>
        </p:nvSpPr>
        <p:spPr>
          <a:xfrm>
            <a:off x="838200" y="0"/>
            <a:ext cx="10515600" cy="1325563"/>
          </a:xfrm>
        </p:spPr>
        <p:txBody>
          <a:bodyPr/>
          <a:lstStyle/>
          <a:p>
            <a:r>
              <a:rPr lang="en-US" dirty="0"/>
              <a:t>Lab time!</a:t>
            </a:r>
          </a:p>
        </p:txBody>
      </p:sp>
      <p:sp>
        <p:nvSpPr>
          <p:cNvPr id="3" name="Content Placeholder 2">
            <a:extLst>
              <a:ext uri="{FF2B5EF4-FFF2-40B4-BE49-F238E27FC236}">
                <a16:creationId xmlns:a16="http://schemas.microsoft.com/office/drawing/2014/main" id="{9A410C2E-8B57-488A-97B0-88E98C87BCF2}"/>
              </a:ext>
            </a:extLst>
          </p:cNvPr>
          <p:cNvSpPr>
            <a:spLocks noGrp="1"/>
          </p:cNvSpPr>
          <p:nvPr>
            <p:ph idx="1"/>
          </p:nvPr>
        </p:nvSpPr>
        <p:spPr>
          <a:xfrm>
            <a:off x="895216" y="1004855"/>
            <a:ext cx="10774574" cy="524341"/>
          </a:xfrm>
        </p:spPr>
        <p:txBody>
          <a:bodyPr>
            <a:normAutofit/>
          </a:bodyPr>
          <a:lstStyle/>
          <a:p>
            <a:pPr marL="0" indent="0">
              <a:buNone/>
            </a:pPr>
            <a:r>
              <a:rPr lang="en-US" sz="2400" b="1" dirty="0"/>
              <a:t>Tools &amp; Services</a:t>
            </a:r>
          </a:p>
          <a:p>
            <a:pPr marL="0" indent="0">
              <a:buNone/>
            </a:pPr>
            <a:endParaRPr lang="en-US" sz="2400" b="1" dirty="0"/>
          </a:p>
          <a:p>
            <a:endParaRPr lang="en-US" sz="2400" b="1" dirty="0"/>
          </a:p>
          <a:p>
            <a:endParaRPr lang="en-US" sz="2400" dirty="0"/>
          </a:p>
        </p:txBody>
      </p:sp>
      <p:pic>
        <p:nvPicPr>
          <p:cNvPr id="4102" name="Picture 6" descr="Chrome">
            <a:extLst>
              <a:ext uri="{FF2B5EF4-FFF2-40B4-BE49-F238E27FC236}">
                <a16:creationId xmlns:a16="http://schemas.microsoft.com/office/drawing/2014/main" id="{5A4B31E6-184D-463B-B0B2-440906ACB83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67945" y="1854168"/>
            <a:ext cx="476250" cy="476250"/>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Node.js">
            <a:extLst>
              <a:ext uri="{FF2B5EF4-FFF2-40B4-BE49-F238E27FC236}">
                <a16:creationId xmlns:a16="http://schemas.microsoft.com/office/drawing/2014/main" id="{54EE58B5-4F79-487C-9A4E-A5DAE91007D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10807" y="2567078"/>
            <a:ext cx="390525" cy="457200"/>
          </a:xfrm>
          <a:prstGeom prst="rect">
            <a:avLst/>
          </a:prstGeom>
          <a:noFill/>
          <a:extLst>
            <a:ext uri="{909E8E84-426E-40DD-AFC4-6F175D3DCCD1}">
              <a14:hiddenFill xmlns:a14="http://schemas.microsoft.com/office/drawing/2010/main">
                <a:solidFill>
                  <a:srgbClr val="FFFFFF"/>
                </a:solidFill>
              </a14:hiddenFill>
            </a:ext>
          </a:extLst>
        </p:spPr>
      </p:pic>
      <p:pic>
        <p:nvPicPr>
          <p:cNvPr id="4106" name="Picture 10" descr="VS Code">
            <a:extLst>
              <a:ext uri="{FF2B5EF4-FFF2-40B4-BE49-F238E27FC236}">
                <a16:creationId xmlns:a16="http://schemas.microsoft.com/office/drawing/2014/main" id="{5BE9152D-6D86-45B7-B458-A2D8444DC5C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7469" y="3276857"/>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4108" name="Picture 12" descr="Postman">
            <a:extLst>
              <a:ext uri="{FF2B5EF4-FFF2-40B4-BE49-F238E27FC236}">
                <a16:creationId xmlns:a16="http://schemas.microsoft.com/office/drawing/2014/main" id="{94BEAD44-942D-4A73-9FD9-F09492EDBCD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77469" y="3973848"/>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4112" name="Picture 16" descr="https://github.com/axians/microservicebus-tutorial/raw/master/img/github-logo.png">
            <a:extLst>
              <a:ext uri="{FF2B5EF4-FFF2-40B4-BE49-F238E27FC236}">
                <a16:creationId xmlns:a16="http://schemas.microsoft.com/office/drawing/2014/main" id="{FEB5F0C2-33D1-4DDB-9D03-A0F43AD5001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67945" y="4681995"/>
            <a:ext cx="476250" cy="44767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a:extLst>
              <a:ext uri="{FF2B5EF4-FFF2-40B4-BE49-F238E27FC236}">
                <a16:creationId xmlns:a16="http://schemas.microsoft.com/office/drawing/2014/main" id="{20066A2E-FE39-41FA-8E73-0C227BE7B59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921179" y="5392283"/>
            <a:ext cx="544204" cy="446658"/>
          </a:xfrm>
          <a:prstGeom prst="rect">
            <a:avLst/>
          </a:prstGeom>
        </p:spPr>
      </p:pic>
      <p:sp>
        <p:nvSpPr>
          <p:cNvPr id="7" name="TextBox 6">
            <a:extLst>
              <a:ext uri="{FF2B5EF4-FFF2-40B4-BE49-F238E27FC236}">
                <a16:creationId xmlns:a16="http://schemas.microsoft.com/office/drawing/2014/main" id="{83E13B70-AAE7-4FDA-85C0-C76C88DDFDDC}"/>
              </a:ext>
            </a:extLst>
          </p:cNvPr>
          <p:cNvSpPr txBox="1"/>
          <p:nvPr/>
        </p:nvSpPr>
        <p:spPr>
          <a:xfrm>
            <a:off x="2602515" y="1882175"/>
            <a:ext cx="1173591" cy="461665"/>
          </a:xfrm>
          <a:prstGeom prst="rect">
            <a:avLst/>
          </a:prstGeom>
          <a:noFill/>
        </p:spPr>
        <p:txBody>
          <a:bodyPr wrap="none" rtlCol="0">
            <a:spAutoFit/>
          </a:bodyPr>
          <a:lstStyle/>
          <a:p>
            <a:r>
              <a:rPr lang="en-US" sz="2400" dirty="0"/>
              <a:t>Chrome</a:t>
            </a:r>
          </a:p>
        </p:txBody>
      </p:sp>
      <p:sp>
        <p:nvSpPr>
          <p:cNvPr id="26" name="TextBox 25">
            <a:extLst>
              <a:ext uri="{FF2B5EF4-FFF2-40B4-BE49-F238E27FC236}">
                <a16:creationId xmlns:a16="http://schemas.microsoft.com/office/drawing/2014/main" id="{58FD3452-A98C-4998-823B-90562C03B288}"/>
              </a:ext>
            </a:extLst>
          </p:cNvPr>
          <p:cNvSpPr txBox="1"/>
          <p:nvPr/>
        </p:nvSpPr>
        <p:spPr>
          <a:xfrm>
            <a:off x="2602515" y="2571239"/>
            <a:ext cx="1132041" cy="461665"/>
          </a:xfrm>
          <a:prstGeom prst="rect">
            <a:avLst/>
          </a:prstGeom>
          <a:noFill/>
        </p:spPr>
        <p:txBody>
          <a:bodyPr wrap="none" rtlCol="0">
            <a:spAutoFit/>
          </a:bodyPr>
          <a:lstStyle/>
          <a:p>
            <a:r>
              <a:rPr lang="en-US" sz="2400" dirty="0"/>
              <a:t>Node.js</a:t>
            </a:r>
          </a:p>
        </p:txBody>
      </p:sp>
      <p:sp>
        <p:nvSpPr>
          <p:cNvPr id="30" name="TextBox 29">
            <a:extLst>
              <a:ext uri="{FF2B5EF4-FFF2-40B4-BE49-F238E27FC236}">
                <a16:creationId xmlns:a16="http://schemas.microsoft.com/office/drawing/2014/main" id="{BB5E95D6-BA9F-4357-85B6-751DBEA3655B}"/>
              </a:ext>
            </a:extLst>
          </p:cNvPr>
          <p:cNvSpPr txBox="1"/>
          <p:nvPr/>
        </p:nvSpPr>
        <p:spPr>
          <a:xfrm>
            <a:off x="2602515" y="3255774"/>
            <a:ext cx="2509020" cy="461665"/>
          </a:xfrm>
          <a:prstGeom prst="rect">
            <a:avLst/>
          </a:prstGeom>
          <a:noFill/>
        </p:spPr>
        <p:txBody>
          <a:bodyPr wrap="none" rtlCol="0">
            <a:spAutoFit/>
          </a:bodyPr>
          <a:lstStyle/>
          <a:p>
            <a:r>
              <a:rPr lang="en-US" sz="2400" dirty="0"/>
              <a:t>Visual Studio Code</a:t>
            </a:r>
          </a:p>
        </p:txBody>
      </p:sp>
      <p:sp>
        <p:nvSpPr>
          <p:cNvPr id="34" name="TextBox 33">
            <a:extLst>
              <a:ext uri="{FF2B5EF4-FFF2-40B4-BE49-F238E27FC236}">
                <a16:creationId xmlns:a16="http://schemas.microsoft.com/office/drawing/2014/main" id="{0740E5A3-0878-4BD5-8178-61F0918C61BB}"/>
              </a:ext>
            </a:extLst>
          </p:cNvPr>
          <p:cNvSpPr txBox="1"/>
          <p:nvPr/>
        </p:nvSpPr>
        <p:spPr>
          <a:xfrm>
            <a:off x="2602515" y="3997283"/>
            <a:ext cx="1273105" cy="461665"/>
          </a:xfrm>
          <a:prstGeom prst="rect">
            <a:avLst/>
          </a:prstGeom>
          <a:noFill/>
        </p:spPr>
        <p:txBody>
          <a:bodyPr wrap="none" rtlCol="0">
            <a:spAutoFit/>
          </a:bodyPr>
          <a:lstStyle/>
          <a:p>
            <a:r>
              <a:rPr lang="en-US" sz="2400" dirty="0"/>
              <a:t>Postman</a:t>
            </a:r>
          </a:p>
        </p:txBody>
      </p:sp>
      <p:sp>
        <p:nvSpPr>
          <p:cNvPr id="35" name="TextBox 34">
            <a:extLst>
              <a:ext uri="{FF2B5EF4-FFF2-40B4-BE49-F238E27FC236}">
                <a16:creationId xmlns:a16="http://schemas.microsoft.com/office/drawing/2014/main" id="{76CEE2C1-64D7-4EE3-828C-4B311CB62B68}"/>
              </a:ext>
            </a:extLst>
          </p:cNvPr>
          <p:cNvSpPr txBox="1"/>
          <p:nvPr/>
        </p:nvSpPr>
        <p:spPr>
          <a:xfrm>
            <a:off x="2602515" y="4686347"/>
            <a:ext cx="1067921" cy="461665"/>
          </a:xfrm>
          <a:prstGeom prst="rect">
            <a:avLst/>
          </a:prstGeom>
          <a:noFill/>
        </p:spPr>
        <p:txBody>
          <a:bodyPr wrap="none" rtlCol="0">
            <a:spAutoFit/>
          </a:bodyPr>
          <a:lstStyle/>
          <a:p>
            <a:r>
              <a:rPr lang="en-US" sz="2400" dirty="0"/>
              <a:t>GitHub</a:t>
            </a:r>
          </a:p>
        </p:txBody>
      </p:sp>
      <p:sp>
        <p:nvSpPr>
          <p:cNvPr id="36" name="TextBox 35">
            <a:extLst>
              <a:ext uri="{FF2B5EF4-FFF2-40B4-BE49-F238E27FC236}">
                <a16:creationId xmlns:a16="http://schemas.microsoft.com/office/drawing/2014/main" id="{F78AE144-ED2C-4354-B844-61592F70A374}"/>
              </a:ext>
            </a:extLst>
          </p:cNvPr>
          <p:cNvSpPr txBox="1"/>
          <p:nvPr/>
        </p:nvSpPr>
        <p:spPr>
          <a:xfrm>
            <a:off x="2602515" y="5370882"/>
            <a:ext cx="2242473" cy="461665"/>
          </a:xfrm>
          <a:prstGeom prst="rect">
            <a:avLst/>
          </a:prstGeom>
          <a:noFill/>
        </p:spPr>
        <p:txBody>
          <a:bodyPr wrap="none" rtlCol="0">
            <a:spAutoFit/>
          </a:bodyPr>
          <a:lstStyle/>
          <a:p>
            <a:r>
              <a:rPr lang="en-US" sz="2400" dirty="0"/>
              <a:t>microServiceBus</a:t>
            </a:r>
          </a:p>
        </p:txBody>
      </p:sp>
      <p:sp>
        <p:nvSpPr>
          <p:cNvPr id="4" name="TextBox 3">
            <a:extLst>
              <a:ext uri="{FF2B5EF4-FFF2-40B4-BE49-F238E27FC236}">
                <a16:creationId xmlns:a16="http://schemas.microsoft.com/office/drawing/2014/main" id="{4DEBD947-C026-42A3-94E3-9AA79B0A30F1}"/>
              </a:ext>
            </a:extLst>
          </p:cNvPr>
          <p:cNvSpPr txBox="1"/>
          <p:nvPr/>
        </p:nvSpPr>
        <p:spPr>
          <a:xfrm>
            <a:off x="6677025" y="365551"/>
            <a:ext cx="5312929" cy="707886"/>
          </a:xfrm>
          <a:prstGeom prst="rect">
            <a:avLst/>
          </a:prstGeom>
          <a:noFill/>
        </p:spPr>
        <p:txBody>
          <a:bodyPr wrap="none" rtlCol="0">
            <a:spAutoFit/>
          </a:bodyPr>
          <a:lstStyle/>
          <a:p>
            <a:r>
              <a:rPr lang="en-US" sz="4000" dirty="0">
                <a:solidFill>
                  <a:schemeClr val="tx1">
                    <a:lumMod val="65000"/>
                  </a:schemeClr>
                </a:solidFill>
              </a:rPr>
              <a:t>http://bit.ly/</a:t>
            </a:r>
            <a:r>
              <a:rPr lang="en-US" sz="4000" b="1" dirty="0"/>
              <a:t>msbtutorial</a:t>
            </a:r>
          </a:p>
        </p:txBody>
      </p:sp>
    </p:spTree>
    <p:extLst>
      <p:ext uri="{BB962C8B-B14F-4D97-AF65-F5344CB8AC3E}">
        <p14:creationId xmlns:p14="http://schemas.microsoft.com/office/powerpoint/2010/main" val="177849945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7768B-9C78-4866-92D1-711967FCE4ED}"/>
              </a:ext>
            </a:extLst>
          </p:cNvPr>
          <p:cNvSpPr>
            <a:spLocks noGrp="1"/>
          </p:cNvSpPr>
          <p:nvPr>
            <p:ph type="title"/>
          </p:nvPr>
        </p:nvSpPr>
        <p:spPr/>
        <p:txBody>
          <a:bodyPr/>
          <a:lstStyle/>
          <a:p>
            <a:r>
              <a:rPr lang="en-US" dirty="0"/>
              <a:t>Lab time!</a:t>
            </a:r>
          </a:p>
        </p:txBody>
      </p:sp>
      <p:sp>
        <p:nvSpPr>
          <p:cNvPr id="3" name="Content Placeholder 2">
            <a:extLst>
              <a:ext uri="{FF2B5EF4-FFF2-40B4-BE49-F238E27FC236}">
                <a16:creationId xmlns:a16="http://schemas.microsoft.com/office/drawing/2014/main" id="{9A410C2E-8B57-488A-97B0-88E98C87BCF2}"/>
              </a:ext>
            </a:extLst>
          </p:cNvPr>
          <p:cNvSpPr>
            <a:spLocks noGrp="1"/>
          </p:cNvSpPr>
          <p:nvPr>
            <p:ph idx="1"/>
          </p:nvPr>
        </p:nvSpPr>
        <p:spPr>
          <a:xfrm>
            <a:off x="1016710" y="1560235"/>
            <a:ext cx="10774574" cy="4616728"/>
          </a:xfrm>
        </p:spPr>
        <p:txBody>
          <a:bodyPr>
            <a:normAutofit/>
          </a:bodyPr>
          <a:lstStyle/>
          <a:p>
            <a:endParaRPr lang="en-US" sz="2400" b="1" u="sng" dirty="0">
              <a:hlinkClick r:id="rId2"/>
            </a:endParaRPr>
          </a:p>
          <a:p>
            <a:r>
              <a:rPr lang="en-US" sz="2400" b="1" u="sng" dirty="0">
                <a:hlinkClick r:id="rId2"/>
              </a:rPr>
              <a:t>Getting started</a:t>
            </a:r>
            <a:r>
              <a:rPr lang="en-US" sz="2400" b="1" dirty="0"/>
              <a:t>: Build your first solution</a:t>
            </a:r>
          </a:p>
          <a:p>
            <a:r>
              <a:rPr lang="en-US" sz="2400" b="1" dirty="0">
                <a:hlinkClick r:id="rId3"/>
              </a:rPr>
              <a:t>Device Management</a:t>
            </a:r>
            <a:r>
              <a:rPr lang="en-US" sz="2400" b="1" dirty="0"/>
              <a:t>: Manage your devices and IoT Hub</a:t>
            </a:r>
          </a:p>
          <a:p>
            <a:r>
              <a:rPr lang="en-US" sz="2400" b="1" dirty="0">
                <a:hlinkClick r:id="rId4"/>
              </a:rPr>
              <a:t>Working with Policies</a:t>
            </a:r>
            <a:r>
              <a:rPr lang="en-US" sz="2400" b="1" dirty="0"/>
              <a:t>: Manage how your Nodes handle disconnected state</a:t>
            </a:r>
          </a:p>
          <a:p>
            <a:r>
              <a:rPr lang="en-US" sz="2400" b="1" dirty="0">
                <a:hlinkClick r:id="rId5"/>
              </a:rPr>
              <a:t>Working with Templates</a:t>
            </a:r>
            <a:r>
              <a:rPr lang="en-US" sz="2400" b="1" dirty="0"/>
              <a:t>: Simplify configuration of nodes</a:t>
            </a:r>
          </a:p>
          <a:p>
            <a:r>
              <a:rPr lang="en-US" sz="2400" b="1" dirty="0">
                <a:hlinkClick r:id="rId6"/>
              </a:rPr>
              <a:t>Insight and audit logs</a:t>
            </a:r>
            <a:r>
              <a:rPr lang="en-US" sz="2400" b="1" dirty="0"/>
              <a:t>: Manage your devices and IoT Hub</a:t>
            </a:r>
          </a:p>
          <a:p>
            <a:r>
              <a:rPr lang="en-US" sz="2400" b="1" u="sng" dirty="0">
                <a:hlinkClick r:id="rId7"/>
              </a:rPr>
              <a:t>Application Lifecycle Management</a:t>
            </a:r>
            <a:r>
              <a:rPr lang="en-US" sz="2400" b="1" dirty="0"/>
              <a:t>: Manage your devices and IoT Hub</a:t>
            </a:r>
          </a:p>
          <a:p>
            <a:r>
              <a:rPr lang="en-US" sz="2400" b="1" u="sng" dirty="0">
                <a:hlinkClick r:id="rId8"/>
              </a:rPr>
              <a:t>microServiceBus.com API</a:t>
            </a:r>
            <a:r>
              <a:rPr lang="en-US" sz="2400" b="1" dirty="0"/>
              <a:t>: Integrate with microServiceBus.com API</a:t>
            </a:r>
          </a:p>
          <a:p>
            <a:endParaRPr lang="en-US" sz="2400" dirty="0"/>
          </a:p>
        </p:txBody>
      </p:sp>
      <p:sp>
        <p:nvSpPr>
          <p:cNvPr id="5" name="TextBox 4">
            <a:extLst>
              <a:ext uri="{FF2B5EF4-FFF2-40B4-BE49-F238E27FC236}">
                <a16:creationId xmlns:a16="http://schemas.microsoft.com/office/drawing/2014/main" id="{0A17DB4B-ACDC-4E01-8206-8E46B11CD0B6}"/>
              </a:ext>
            </a:extLst>
          </p:cNvPr>
          <p:cNvSpPr txBox="1"/>
          <p:nvPr/>
        </p:nvSpPr>
        <p:spPr>
          <a:xfrm>
            <a:off x="6677025" y="365551"/>
            <a:ext cx="5312929" cy="707886"/>
          </a:xfrm>
          <a:prstGeom prst="rect">
            <a:avLst/>
          </a:prstGeom>
          <a:noFill/>
        </p:spPr>
        <p:txBody>
          <a:bodyPr wrap="none" rtlCol="0">
            <a:spAutoFit/>
          </a:bodyPr>
          <a:lstStyle/>
          <a:p>
            <a:r>
              <a:rPr lang="en-US" sz="4000" dirty="0">
                <a:solidFill>
                  <a:schemeClr val="tx1">
                    <a:lumMod val="65000"/>
                  </a:schemeClr>
                </a:solidFill>
              </a:rPr>
              <a:t>http://bit.ly/</a:t>
            </a:r>
            <a:r>
              <a:rPr lang="en-US" sz="4000" b="1" dirty="0"/>
              <a:t>msbtutorial</a:t>
            </a:r>
          </a:p>
        </p:txBody>
      </p:sp>
    </p:spTree>
    <p:extLst>
      <p:ext uri="{BB962C8B-B14F-4D97-AF65-F5344CB8AC3E}">
        <p14:creationId xmlns:p14="http://schemas.microsoft.com/office/powerpoint/2010/main" val="3964274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upp 20">
            <a:extLst>
              <a:ext uri="{FF2B5EF4-FFF2-40B4-BE49-F238E27FC236}">
                <a16:creationId xmlns:a16="http://schemas.microsoft.com/office/drawing/2014/main" id="{7F8B4846-00A5-4732-BD1F-754AFA4F4549}"/>
              </a:ext>
            </a:extLst>
          </p:cNvPr>
          <p:cNvGrpSpPr/>
          <p:nvPr/>
        </p:nvGrpSpPr>
        <p:grpSpPr>
          <a:xfrm>
            <a:off x="9706700" y="2991087"/>
            <a:ext cx="2048724" cy="2060107"/>
            <a:chOff x="9528900" y="2991087"/>
            <a:chExt cx="2048724" cy="2060107"/>
          </a:xfrm>
        </p:grpSpPr>
        <p:pic>
          <p:nvPicPr>
            <p:cNvPr id="4" name="Bildobjekt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28900" y="2991087"/>
              <a:ext cx="2048724" cy="2060107"/>
            </a:xfrm>
            <a:prstGeom prst="rect">
              <a:avLst/>
            </a:prstGeom>
          </p:spPr>
        </p:pic>
        <p:sp>
          <p:nvSpPr>
            <p:cNvPr id="13" name="Rektangel 12"/>
            <p:cNvSpPr/>
            <p:nvPr/>
          </p:nvSpPr>
          <p:spPr>
            <a:xfrm>
              <a:off x="9729585"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Business Solution</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grpSp>
      <p:pic>
        <p:nvPicPr>
          <p:cNvPr id="5" name="Bildobjekt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46837" y="2991089"/>
            <a:ext cx="2556616" cy="2060107"/>
          </a:xfrm>
          <a:prstGeom prst="rect">
            <a:avLst/>
          </a:prstGeom>
        </p:spPr>
      </p:pic>
      <p:pic>
        <p:nvPicPr>
          <p:cNvPr id="6" name="Bildobjekt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16418" y="2991089"/>
            <a:ext cx="2556616" cy="2060107"/>
          </a:xfrm>
          <a:prstGeom prst="rect">
            <a:avLst/>
          </a:prstGeom>
        </p:spPr>
      </p:pic>
      <p:pic>
        <p:nvPicPr>
          <p:cNvPr id="7" name="Bildobjekt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79030" y="2991089"/>
            <a:ext cx="2556616" cy="2060107"/>
          </a:xfrm>
          <a:prstGeom prst="rect">
            <a:avLst/>
          </a:prstGeom>
        </p:spPr>
      </p:pic>
      <p:pic>
        <p:nvPicPr>
          <p:cNvPr id="8" name="Bildobjekt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45125" y="2985415"/>
            <a:ext cx="2556616" cy="2060107"/>
          </a:xfrm>
          <a:prstGeom prst="rect">
            <a:avLst/>
          </a:prstGeom>
        </p:spPr>
      </p:pic>
      <p:sp>
        <p:nvSpPr>
          <p:cNvPr id="9" name="Rektangel 8"/>
          <p:cNvSpPr/>
          <p:nvPr/>
        </p:nvSpPr>
        <p:spPr>
          <a:xfrm>
            <a:off x="2141913"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Gateway (Devices)</a:t>
            </a:r>
            <a:endParaRPr kumimoji="0" lang="en-US" sz="800" b="1"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0" name="Rektangel 9"/>
          <p:cNvSpPr/>
          <p:nvPr/>
        </p:nvSpPr>
        <p:spPr>
          <a:xfrm>
            <a:off x="4095403"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mn-ea"/>
                <a:cs typeface="Segoe UI" pitchFamily="34" charset="0"/>
              </a:rPr>
              <a:t>Communi</a:t>
            </a: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cation</a:t>
            </a:r>
          </a:p>
        </p:txBody>
      </p:sp>
      <p:sp>
        <p:nvSpPr>
          <p:cNvPr id="11" name="Rektangel 10"/>
          <p:cNvSpPr/>
          <p:nvPr/>
        </p:nvSpPr>
        <p:spPr>
          <a:xfrm>
            <a:off x="6041967" y="3229905"/>
            <a:ext cx="1616003" cy="461665"/>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Cloud</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sp>
        <p:nvSpPr>
          <p:cNvPr id="12" name="Rektangel 11"/>
          <p:cNvSpPr/>
          <p:nvPr/>
        </p:nvSpPr>
        <p:spPr>
          <a:xfrm>
            <a:off x="7960822"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IoT Operations</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sp>
        <p:nvSpPr>
          <p:cNvPr id="28" name="Rubrik 1"/>
          <p:cNvSpPr txBox="1">
            <a:spLocks/>
          </p:cNvSpPr>
          <p:nvPr/>
        </p:nvSpPr>
        <p:spPr>
          <a:xfrm>
            <a:off x="363166" y="366185"/>
            <a:ext cx="11465668" cy="470528"/>
          </a:xfrm>
          <a:prstGeom prst="rect">
            <a:avLst/>
          </a:prstGeom>
        </p:spPr>
        <p:txBody>
          <a:bodyPr vert="horz" lIns="121920" tIns="60960" rIns="121920" bIns="60960" rtlCol="0" anchor="ctr">
            <a:normAutofit fontScale="97500" lnSpcReduction="10000"/>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sz="2933" b="1" i="0" u="none" strike="noStrike" kern="1200" cap="all" spc="0" normalizeH="0" baseline="0" noProof="0">
                <a:ln>
                  <a:noFill/>
                </a:ln>
                <a:solidFill>
                  <a:prstClr val="white"/>
                </a:solidFill>
                <a:effectLst/>
                <a:uLnTx/>
                <a:uFillTx/>
                <a:latin typeface="Segoe UI"/>
                <a:ea typeface="+mj-ea"/>
                <a:cs typeface="+mj-cs"/>
              </a:rPr>
              <a:t>IoT Operations generic offering</a:t>
            </a:r>
          </a:p>
        </p:txBody>
      </p:sp>
      <p:grpSp>
        <p:nvGrpSpPr>
          <p:cNvPr id="22" name="Grupp 21">
            <a:extLst>
              <a:ext uri="{FF2B5EF4-FFF2-40B4-BE49-F238E27FC236}">
                <a16:creationId xmlns:a16="http://schemas.microsoft.com/office/drawing/2014/main" id="{84D1983B-47F1-4336-B987-2869F06768BD}"/>
              </a:ext>
            </a:extLst>
          </p:cNvPr>
          <p:cNvGrpSpPr/>
          <p:nvPr/>
        </p:nvGrpSpPr>
        <p:grpSpPr>
          <a:xfrm>
            <a:off x="596441" y="2973120"/>
            <a:ext cx="1872813" cy="2060107"/>
            <a:chOff x="418641" y="2973120"/>
            <a:chExt cx="1872813" cy="2060107"/>
          </a:xfrm>
        </p:grpSpPr>
        <p:pic>
          <p:nvPicPr>
            <p:cNvPr id="31" name="Bildobjekt 3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2647" y="2973120"/>
              <a:ext cx="1838807" cy="2060107"/>
            </a:xfrm>
            <a:prstGeom prst="rect">
              <a:avLst/>
            </a:prstGeom>
          </p:spPr>
        </p:pic>
        <p:sp>
          <p:nvSpPr>
            <p:cNvPr id="32" name="Rektangel 31"/>
            <p:cNvSpPr/>
            <p:nvPr/>
          </p:nvSpPr>
          <p:spPr>
            <a:xfrm>
              <a:off x="418641" y="3266551"/>
              <a:ext cx="1616003" cy="1077218"/>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16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PLC’s</a:t>
              </a:r>
              <a:endParaRPr kumimoji="0" lang="sv-SE"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Machines, Sensors, </a:t>
              </a:r>
            </a:p>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meters etc... </a:t>
              </a:r>
              <a:endParaRPr kumimoji="0" lang="en-US"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sp>
        <p:nvSpPr>
          <p:cNvPr id="30" name="AutoShape 2" descr="Image result for dell logo"/>
          <p:cNvSpPr>
            <a:spLocks noChangeAspect="1" noChangeArrowheads="1"/>
          </p:cNvSpPr>
          <p:nvPr/>
        </p:nvSpPr>
        <p:spPr bwMode="auto">
          <a:xfrm>
            <a:off x="7052945" y="3462138"/>
            <a:ext cx="362721" cy="43420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2400" b="0" i="0" u="none" strike="noStrike" kern="1200" cap="none" spc="0" normalizeH="0" baseline="0" noProof="0">
              <a:ln>
                <a:noFill/>
              </a:ln>
              <a:solidFill>
                <a:srgbClr val="3B3C40"/>
              </a:solidFill>
              <a:effectLst/>
              <a:uLnTx/>
              <a:uFillTx/>
              <a:latin typeface="Segoe UI"/>
              <a:ea typeface="+mn-ea"/>
              <a:cs typeface="+mn-cs"/>
            </a:endParaRPr>
          </a:p>
        </p:txBody>
      </p:sp>
      <p:grpSp>
        <p:nvGrpSpPr>
          <p:cNvPr id="24" name="Grupp 23">
            <a:extLst>
              <a:ext uri="{FF2B5EF4-FFF2-40B4-BE49-F238E27FC236}">
                <a16:creationId xmlns:a16="http://schemas.microsoft.com/office/drawing/2014/main" id="{5D8675CC-6552-44A1-B93F-2693B1730D2B}"/>
              </a:ext>
            </a:extLst>
          </p:cNvPr>
          <p:cNvGrpSpPr/>
          <p:nvPr/>
        </p:nvGrpSpPr>
        <p:grpSpPr>
          <a:xfrm>
            <a:off x="1397000" y="5256401"/>
            <a:ext cx="9049408" cy="792524"/>
            <a:chOff x="1029057" y="5256401"/>
            <a:chExt cx="9376858" cy="792524"/>
          </a:xfrm>
        </p:grpSpPr>
        <p:sp>
          <p:nvSpPr>
            <p:cNvPr id="35" name="textruta 34"/>
            <p:cNvSpPr txBox="1"/>
            <p:nvPr/>
          </p:nvSpPr>
          <p:spPr>
            <a:xfrm>
              <a:off x="1029057" y="5587260"/>
              <a:ext cx="937685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Segoe UI"/>
                  <a:ea typeface="+mn-ea"/>
                  <a:cs typeface="+mn-cs"/>
                </a:rPr>
                <a:t>Set price per device &amp; month</a:t>
              </a:r>
              <a:r>
                <a:rPr kumimoji="0" lang="en-US" sz="2400" b="0" i="0" u="none" strike="noStrike" kern="1200" cap="none" spc="0" normalizeH="0" baseline="0" noProof="0">
                  <a:ln>
                    <a:noFill/>
                  </a:ln>
                  <a:solidFill>
                    <a:prstClr val="white"/>
                  </a:solidFill>
                  <a:effectLst/>
                  <a:uLnTx/>
                  <a:uFillTx/>
                  <a:latin typeface="Segoe UI"/>
                  <a:ea typeface="+mn-ea"/>
                  <a:cs typeface="+mn-cs"/>
                </a:rPr>
                <a:t>.</a:t>
              </a:r>
            </a:p>
          </p:txBody>
        </p:sp>
        <p:sp>
          <p:nvSpPr>
            <p:cNvPr id="3" name="Höger klammerparentes 2">
              <a:extLst>
                <a:ext uri="{FF2B5EF4-FFF2-40B4-BE49-F238E27FC236}">
                  <a16:creationId xmlns:a16="http://schemas.microsoft.com/office/drawing/2014/main" id="{361CE010-ECEF-4CFC-8F94-A9B39AFDA7E5}"/>
                </a:ext>
              </a:extLst>
            </p:cNvPr>
            <p:cNvSpPr/>
            <p:nvPr/>
          </p:nvSpPr>
          <p:spPr>
            <a:xfrm rot="5400000">
              <a:off x="5595511" y="1462762"/>
              <a:ext cx="243950" cy="7831227"/>
            </a:xfrm>
            <a:prstGeom prst="rightBrace">
              <a:avLst/>
            </a:prstGeom>
            <a:ln>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grpSp>
      <p:pic>
        <p:nvPicPr>
          <p:cNvPr id="17" name="Bildobjekt 16">
            <a:extLst>
              <a:ext uri="{FF2B5EF4-FFF2-40B4-BE49-F238E27FC236}">
                <a16:creationId xmlns:a16="http://schemas.microsoft.com/office/drawing/2014/main" id="{5B67FDE0-AF5F-4A83-ACC0-A898B4171B9A}"/>
              </a:ext>
            </a:extLst>
          </p:cNvPr>
          <p:cNvPicPr>
            <a:picLocks noChangeAspect="1"/>
          </p:cNvPicPr>
          <p:nvPr/>
        </p:nvPicPr>
        <p:blipFill>
          <a:blip r:embed="rId5"/>
          <a:stretch>
            <a:fillRect/>
          </a:stretch>
        </p:blipFill>
        <p:spPr>
          <a:xfrm>
            <a:off x="7415666" y="4443335"/>
            <a:ext cx="1364100" cy="1933633"/>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pic>
        <p:nvPicPr>
          <p:cNvPr id="18" name="Bildobjekt 17">
            <a:extLst>
              <a:ext uri="{FF2B5EF4-FFF2-40B4-BE49-F238E27FC236}">
                <a16:creationId xmlns:a16="http://schemas.microsoft.com/office/drawing/2014/main" id="{8F13D5B1-83BA-4D0C-982B-A7805AF5728F}"/>
              </a:ext>
            </a:extLst>
          </p:cNvPr>
          <p:cNvPicPr>
            <a:picLocks noChangeAspect="1"/>
          </p:cNvPicPr>
          <p:nvPr/>
        </p:nvPicPr>
        <p:blipFill>
          <a:blip r:embed="rId6"/>
          <a:stretch>
            <a:fillRect/>
          </a:stretch>
        </p:blipFill>
        <p:spPr>
          <a:xfrm>
            <a:off x="8234877" y="4559526"/>
            <a:ext cx="1355766" cy="1930855"/>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pic>
        <p:nvPicPr>
          <p:cNvPr id="20" name="Bildobjekt 19">
            <a:extLst>
              <a:ext uri="{FF2B5EF4-FFF2-40B4-BE49-F238E27FC236}">
                <a16:creationId xmlns:a16="http://schemas.microsoft.com/office/drawing/2014/main" id="{BF80A142-722F-4649-A705-15F70B961CBC}"/>
              </a:ext>
            </a:extLst>
          </p:cNvPr>
          <p:cNvPicPr>
            <a:picLocks noChangeAspect="1"/>
          </p:cNvPicPr>
          <p:nvPr/>
        </p:nvPicPr>
        <p:blipFill>
          <a:blip r:embed="rId7"/>
          <a:stretch>
            <a:fillRect/>
          </a:stretch>
        </p:blipFill>
        <p:spPr>
          <a:xfrm>
            <a:off x="9081756" y="4686000"/>
            <a:ext cx="1352987" cy="1933633"/>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sp>
        <p:nvSpPr>
          <p:cNvPr id="36" name="Rektangel 35">
            <a:extLst>
              <a:ext uri="{FF2B5EF4-FFF2-40B4-BE49-F238E27FC236}">
                <a16:creationId xmlns:a16="http://schemas.microsoft.com/office/drawing/2014/main" id="{6521EBED-61FF-4D2F-8328-D3649DCFAF30}"/>
              </a:ext>
            </a:extLst>
          </p:cNvPr>
          <p:cNvSpPr/>
          <p:nvPr/>
        </p:nvSpPr>
        <p:spPr>
          <a:xfrm>
            <a:off x="480422" y="2098224"/>
            <a:ext cx="11348412" cy="813594"/>
          </a:xfrm>
          <a:prstGeom prst="rect">
            <a:avLst/>
          </a:prstGeom>
          <a:solidFill>
            <a:schemeClr val="bg1">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pic>
        <p:nvPicPr>
          <p:cNvPr id="37" name="Picture 8" descr="Image result for dell logo">
            <a:extLst>
              <a:ext uri="{FF2B5EF4-FFF2-40B4-BE49-F238E27FC236}">
                <a16:creationId xmlns:a16="http://schemas.microsoft.com/office/drawing/2014/main" id="{1FBBD5C4-2B20-4F3A-BE54-44C1CD562DF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596645" y="2138340"/>
            <a:ext cx="730756" cy="730755"/>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2" descr="Image result for tele2 logo">
            <a:extLst>
              <a:ext uri="{FF2B5EF4-FFF2-40B4-BE49-F238E27FC236}">
                <a16:creationId xmlns:a16="http://schemas.microsoft.com/office/drawing/2014/main" id="{1AA00E19-A03A-4532-9076-E94D14CD226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294815" y="2333712"/>
            <a:ext cx="1034972" cy="408239"/>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12" descr="Bildresultat för Actemium logo png">
            <a:extLst>
              <a:ext uri="{FF2B5EF4-FFF2-40B4-BE49-F238E27FC236}">
                <a16:creationId xmlns:a16="http://schemas.microsoft.com/office/drawing/2014/main" id="{D144E8EC-96D5-45F6-BB2F-F3E1A54D8D6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49287" y="2092550"/>
            <a:ext cx="1854517" cy="441195"/>
          </a:xfrm>
          <a:prstGeom prst="rect">
            <a:avLst/>
          </a:prstGeom>
          <a:noFill/>
          <a:extLst>
            <a:ext uri="{909E8E84-426E-40DD-AFC4-6F175D3DCCD1}">
              <a14:hiddenFill xmlns:a14="http://schemas.microsoft.com/office/drawing/2010/main">
                <a:solidFill>
                  <a:srgbClr val="FFFFFF"/>
                </a:solidFill>
              </a14:hiddenFill>
            </a:ext>
          </a:extLst>
        </p:spPr>
      </p:pic>
      <p:pic>
        <p:nvPicPr>
          <p:cNvPr id="44" name="Bildobjekt 43">
            <a:extLst>
              <a:ext uri="{FF2B5EF4-FFF2-40B4-BE49-F238E27FC236}">
                <a16:creationId xmlns:a16="http://schemas.microsoft.com/office/drawing/2014/main" id="{83AEA410-6777-4240-8845-91D4AC1B694F}"/>
              </a:ext>
            </a:extLst>
          </p:cNvPr>
          <p:cNvPicPr>
            <a:picLocks noChangeAspect="1"/>
          </p:cNvPicPr>
          <p:nvPr/>
        </p:nvPicPr>
        <p:blipFill>
          <a:blip r:embed="rId11"/>
          <a:stretch>
            <a:fillRect/>
          </a:stretch>
        </p:blipFill>
        <p:spPr>
          <a:xfrm>
            <a:off x="9931116" y="2441487"/>
            <a:ext cx="1604877" cy="292962"/>
          </a:xfrm>
          <a:prstGeom prst="rect">
            <a:avLst/>
          </a:prstGeom>
        </p:spPr>
      </p:pic>
      <p:pic>
        <p:nvPicPr>
          <p:cNvPr id="45" name="Bildobjekt 44">
            <a:extLst>
              <a:ext uri="{FF2B5EF4-FFF2-40B4-BE49-F238E27FC236}">
                <a16:creationId xmlns:a16="http://schemas.microsoft.com/office/drawing/2014/main" id="{75DB0F8F-CCEE-488C-A0ED-D3818E1BC4A7}"/>
              </a:ext>
            </a:extLst>
          </p:cNvPr>
          <p:cNvPicPr>
            <a:picLocks noChangeAspect="1"/>
          </p:cNvPicPr>
          <p:nvPr/>
        </p:nvPicPr>
        <p:blipFill>
          <a:blip r:embed="rId11"/>
          <a:stretch>
            <a:fillRect/>
          </a:stretch>
        </p:blipFill>
        <p:spPr>
          <a:xfrm>
            <a:off x="7960822" y="2424551"/>
            <a:ext cx="1604877" cy="306993"/>
          </a:xfrm>
          <a:prstGeom prst="rect">
            <a:avLst/>
          </a:prstGeom>
        </p:spPr>
      </p:pic>
      <p:sp>
        <p:nvSpPr>
          <p:cNvPr id="46" name="Textfeld 10">
            <a:extLst>
              <a:ext uri="{FF2B5EF4-FFF2-40B4-BE49-F238E27FC236}">
                <a16:creationId xmlns:a16="http://schemas.microsoft.com/office/drawing/2014/main" id="{1D75FBF7-144A-44B2-8372-6C9C1AACDEDC}"/>
              </a:ext>
            </a:extLst>
          </p:cNvPr>
          <p:cNvSpPr txBox="1"/>
          <p:nvPr/>
        </p:nvSpPr>
        <p:spPr>
          <a:xfrm>
            <a:off x="7990659" y="2661544"/>
            <a:ext cx="1586166" cy="307777"/>
          </a:xfrm>
          <a:prstGeom prst="rect">
            <a:avLst/>
          </a:prstGeom>
          <a:noFill/>
        </p:spPr>
        <p:txBody>
          <a:bodyPr wrap="square" rtlCol="0">
            <a:spAutoFit/>
          </a:bodyP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4489"/>
                </a:solidFill>
                <a:effectLst/>
                <a:uLnTx/>
                <a:uFillTx/>
                <a:latin typeface="Arial" panose="020B0604020202020204" pitchFamily="34" charset="0"/>
                <a:ea typeface="+mn-ea"/>
                <a:cs typeface="Arial" panose="020B0604020202020204" pitchFamily="34" charset="0"/>
              </a:rPr>
              <a:t>IoT </a:t>
            </a:r>
            <a:r>
              <a:rPr kumimoji="0" lang="en-US" sz="1200" b="0" i="0" u="none" strike="noStrike" kern="1200" cap="none" spc="0" normalizeH="0" baseline="0" noProof="0" dirty="0">
                <a:ln>
                  <a:noFill/>
                </a:ln>
                <a:solidFill>
                  <a:srgbClr val="004489"/>
                </a:solidFill>
                <a:effectLst/>
                <a:uLnTx/>
                <a:uFillTx/>
                <a:latin typeface="Arial" panose="020B0604020202020204" pitchFamily="34" charset="0"/>
                <a:ea typeface="+mn-ea"/>
                <a:cs typeface="Arial" panose="020B0604020202020204" pitchFamily="34" charset="0"/>
              </a:rPr>
              <a:t>Nordic</a:t>
            </a:r>
          </a:p>
        </p:txBody>
      </p:sp>
      <p:pic>
        <p:nvPicPr>
          <p:cNvPr id="47" name="Picture 2" descr="https://microservicebus.com/Images/azurelogo.png">
            <a:extLst>
              <a:ext uri="{FF2B5EF4-FFF2-40B4-BE49-F238E27FC236}">
                <a16:creationId xmlns:a16="http://schemas.microsoft.com/office/drawing/2014/main" id="{75F37752-7A20-4949-896F-6683BFFFB1D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031306" y="2239598"/>
            <a:ext cx="1568433" cy="565921"/>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 descr="Bildresultat för omexom logo png">
            <a:extLst>
              <a:ext uri="{FF2B5EF4-FFF2-40B4-BE49-F238E27FC236}">
                <a16:creationId xmlns:a16="http://schemas.microsoft.com/office/drawing/2014/main" id="{E79ACD82-9977-4DE1-8DF5-69DE5847016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79315" y="2545459"/>
            <a:ext cx="1439063" cy="3280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2025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nodeType="clickEffect">
                                  <p:stCondLst>
                                    <p:cond delay="0"/>
                                  </p:stCondLst>
                                  <p:childTnLst>
                                    <p:set>
                                      <p:cBhvr>
                                        <p:cTn id="6" dur="indefinite"/>
                                        <p:tgtEl>
                                          <p:spTgt spid="21"/>
                                        </p:tgtEl>
                                        <p:attrNameLst>
                                          <p:attrName>style.opacity</p:attrName>
                                        </p:attrNameLst>
                                      </p:cBhvr>
                                      <p:to>
                                        <p:strVal val="0.25"/>
                                      </p:to>
                                    </p:set>
                                    <p:animEffect filter="image" prLst="opacity: 0.25">
                                      <p:cBhvr rctx="IE">
                                        <p:cTn id="7" dur="indefinite"/>
                                        <p:tgtEl>
                                          <p:spTgt spid="21"/>
                                        </p:tgtEl>
                                      </p:cBhvr>
                                    </p:animEffect>
                                  </p:childTnLst>
                                </p:cTn>
                              </p:par>
                              <p:par>
                                <p:cTn id="8" presetID="9" presetClass="emph" presetSubtype="0" nodeType="withEffect">
                                  <p:stCondLst>
                                    <p:cond delay="0"/>
                                  </p:stCondLst>
                                  <p:childTnLst>
                                    <p:set>
                                      <p:cBhvr>
                                        <p:cTn id="9" dur="indefinite"/>
                                        <p:tgtEl>
                                          <p:spTgt spid="22"/>
                                        </p:tgtEl>
                                        <p:attrNameLst>
                                          <p:attrName>style.opacity</p:attrName>
                                        </p:attrNameLst>
                                      </p:cBhvr>
                                      <p:to>
                                        <p:strVal val="0.25"/>
                                      </p:to>
                                    </p:set>
                                    <p:animEffect filter="image" prLst="opacity: 0.25">
                                      <p:cBhvr rctx="IE">
                                        <p:cTn id="10" dur="indefinite"/>
                                        <p:tgtEl>
                                          <p:spTgt spid="22"/>
                                        </p:tgtEl>
                                      </p:cBhvr>
                                    </p:animEffect>
                                  </p:childTnLst>
                                </p:cTn>
                              </p:par>
                            </p:childTnLst>
                          </p:cTn>
                        </p:par>
                        <p:par>
                          <p:cTn id="11" fill="hold">
                            <p:stCondLst>
                              <p:cond delay="0"/>
                            </p:stCondLst>
                            <p:childTnLst>
                              <p:par>
                                <p:cTn id="12" presetID="10" presetClass="entr" presetSubtype="0" fill="hold" nodeType="after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childTnLst>
                          </p:cTn>
                        </p:par>
                        <p:par>
                          <p:cTn id="20" fill="hold">
                            <p:stCondLst>
                              <p:cond delay="500"/>
                            </p:stCondLst>
                            <p:childTnLst>
                              <p:par>
                                <p:cTn id="21" presetID="10" presetClass="entr" presetSubtype="0" fill="hold" nodeType="afterEffect">
                                  <p:stCondLst>
                                    <p:cond delay="0"/>
                                  </p:stCondLst>
                                  <p:childTnLst>
                                    <p:set>
                                      <p:cBhvr>
                                        <p:cTn id="22" dur="1" fill="hold">
                                          <p:stCondLst>
                                            <p:cond delay="0"/>
                                          </p:stCondLst>
                                        </p:cTn>
                                        <p:tgtEl>
                                          <p:spTgt spid="37"/>
                                        </p:tgtEl>
                                        <p:attrNameLst>
                                          <p:attrName>style.visibility</p:attrName>
                                        </p:attrNameLst>
                                      </p:cBhvr>
                                      <p:to>
                                        <p:strVal val="visible"/>
                                      </p:to>
                                    </p:set>
                                    <p:animEffect transition="in" filter="fade">
                                      <p:cBhvr>
                                        <p:cTn id="23" dur="500"/>
                                        <p:tgtEl>
                                          <p:spTgt spid="37"/>
                                        </p:tgtEl>
                                      </p:cBhvr>
                                    </p:animEffect>
                                  </p:childTnLst>
                                </p:cTn>
                              </p:par>
                              <p:par>
                                <p:cTn id="24" presetID="10" presetClass="entr" presetSubtype="0" fill="hold" nodeType="withEffect">
                                  <p:stCondLst>
                                    <p:cond delay="0"/>
                                  </p:stCondLst>
                                  <p:childTnLst>
                                    <p:set>
                                      <p:cBhvr>
                                        <p:cTn id="25" dur="1" fill="hold">
                                          <p:stCondLst>
                                            <p:cond delay="0"/>
                                          </p:stCondLst>
                                        </p:cTn>
                                        <p:tgtEl>
                                          <p:spTgt spid="41"/>
                                        </p:tgtEl>
                                        <p:attrNameLst>
                                          <p:attrName>style.visibility</p:attrName>
                                        </p:attrNameLst>
                                      </p:cBhvr>
                                      <p:to>
                                        <p:strVal val="visible"/>
                                      </p:to>
                                    </p:set>
                                    <p:animEffect transition="in" filter="fade">
                                      <p:cBhvr>
                                        <p:cTn id="26" dur="500"/>
                                        <p:tgtEl>
                                          <p:spTgt spid="41"/>
                                        </p:tgtEl>
                                      </p:cBhvr>
                                    </p:animEffect>
                                  </p:childTnLst>
                                </p:cTn>
                              </p:par>
                              <p:par>
                                <p:cTn id="27" presetID="10" presetClass="entr" presetSubtype="0" fill="hold" nodeType="withEffect">
                                  <p:stCondLst>
                                    <p:cond delay="0"/>
                                  </p:stCondLst>
                                  <p:childTnLst>
                                    <p:set>
                                      <p:cBhvr>
                                        <p:cTn id="28" dur="1" fill="hold">
                                          <p:stCondLst>
                                            <p:cond delay="0"/>
                                          </p:stCondLst>
                                        </p:cTn>
                                        <p:tgtEl>
                                          <p:spTgt spid="47"/>
                                        </p:tgtEl>
                                        <p:attrNameLst>
                                          <p:attrName>style.visibility</p:attrName>
                                        </p:attrNameLst>
                                      </p:cBhvr>
                                      <p:to>
                                        <p:strVal val="visible"/>
                                      </p:to>
                                    </p:set>
                                    <p:animEffect transition="in" filter="fade">
                                      <p:cBhvr>
                                        <p:cTn id="29" dur="500"/>
                                        <p:tgtEl>
                                          <p:spTgt spid="47"/>
                                        </p:tgtEl>
                                      </p:cBhvr>
                                    </p:animEffect>
                                  </p:childTnLst>
                                </p:cTn>
                              </p:par>
                              <p:par>
                                <p:cTn id="30" presetID="10" presetClass="entr" presetSubtype="0" fill="hold" nodeType="withEffect">
                                  <p:stCondLst>
                                    <p:cond delay="0"/>
                                  </p:stCondLst>
                                  <p:childTnLst>
                                    <p:set>
                                      <p:cBhvr>
                                        <p:cTn id="31" dur="1" fill="hold">
                                          <p:stCondLst>
                                            <p:cond delay="0"/>
                                          </p:stCondLst>
                                        </p:cTn>
                                        <p:tgtEl>
                                          <p:spTgt spid="45"/>
                                        </p:tgtEl>
                                        <p:attrNameLst>
                                          <p:attrName>style.visibility</p:attrName>
                                        </p:attrNameLst>
                                      </p:cBhvr>
                                      <p:to>
                                        <p:strVal val="visible"/>
                                      </p:to>
                                    </p:set>
                                    <p:animEffect transition="in" filter="fade">
                                      <p:cBhvr>
                                        <p:cTn id="32" dur="500"/>
                                        <p:tgtEl>
                                          <p:spTgt spid="4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46"/>
                                        </p:tgtEl>
                                        <p:attrNameLst>
                                          <p:attrName>style.visibility</p:attrName>
                                        </p:attrNameLst>
                                      </p:cBhvr>
                                      <p:to>
                                        <p:strVal val="visible"/>
                                      </p:to>
                                    </p:set>
                                    <p:animEffect transition="in" filter="fade">
                                      <p:cBhvr>
                                        <p:cTn id="35" dur="500"/>
                                        <p:tgtEl>
                                          <p:spTgt spid="46"/>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17"/>
                                        </p:tgtEl>
                                        <p:attrNameLst>
                                          <p:attrName>style.visibility</p:attrName>
                                        </p:attrNameLst>
                                      </p:cBhvr>
                                      <p:to>
                                        <p:strVal val="visible"/>
                                      </p:to>
                                    </p:set>
                                    <p:animEffect transition="in" filter="fade">
                                      <p:cBhvr>
                                        <p:cTn id="40" dur="500"/>
                                        <p:tgtEl>
                                          <p:spTgt spid="17"/>
                                        </p:tgtEl>
                                      </p:cBhvr>
                                    </p:animEffect>
                                  </p:childTnLst>
                                </p:cTn>
                              </p:par>
                            </p:childTnLst>
                          </p:cTn>
                        </p:par>
                        <p:par>
                          <p:cTn id="41" fill="hold">
                            <p:stCondLst>
                              <p:cond delay="500"/>
                            </p:stCondLst>
                            <p:childTnLst>
                              <p:par>
                                <p:cTn id="42" presetID="10" presetClass="entr" presetSubtype="0" fill="hold" nodeType="afterEffect">
                                  <p:stCondLst>
                                    <p:cond delay="0"/>
                                  </p:stCondLst>
                                  <p:childTnLst>
                                    <p:set>
                                      <p:cBhvr>
                                        <p:cTn id="43" dur="1" fill="hold">
                                          <p:stCondLst>
                                            <p:cond delay="0"/>
                                          </p:stCondLst>
                                        </p:cTn>
                                        <p:tgtEl>
                                          <p:spTgt spid="18"/>
                                        </p:tgtEl>
                                        <p:attrNameLst>
                                          <p:attrName>style.visibility</p:attrName>
                                        </p:attrNameLst>
                                      </p:cBhvr>
                                      <p:to>
                                        <p:strVal val="visible"/>
                                      </p:to>
                                    </p:set>
                                    <p:animEffect transition="in" filter="fade">
                                      <p:cBhvr>
                                        <p:cTn id="44" dur="500"/>
                                        <p:tgtEl>
                                          <p:spTgt spid="18"/>
                                        </p:tgtEl>
                                      </p:cBhvr>
                                    </p:animEffect>
                                  </p:childTnLst>
                                </p:cTn>
                              </p:par>
                            </p:childTnLst>
                          </p:cTn>
                        </p:par>
                        <p:par>
                          <p:cTn id="45" fill="hold">
                            <p:stCondLst>
                              <p:cond delay="1000"/>
                            </p:stCondLst>
                            <p:childTnLst>
                              <p:par>
                                <p:cTn id="46" presetID="10" presetClass="entr" presetSubtype="0" fill="hold" nodeType="afterEffect">
                                  <p:stCondLst>
                                    <p:cond delay="0"/>
                                  </p:stCondLst>
                                  <p:childTnLst>
                                    <p:set>
                                      <p:cBhvr>
                                        <p:cTn id="47" dur="1" fill="hold">
                                          <p:stCondLst>
                                            <p:cond delay="0"/>
                                          </p:stCondLst>
                                        </p:cTn>
                                        <p:tgtEl>
                                          <p:spTgt spid="20"/>
                                        </p:tgtEl>
                                        <p:attrNameLst>
                                          <p:attrName>style.visibility</p:attrName>
                                        </p:attrNameLst>
                                      </p:cBhvr>
                                      <p:to>
                                        <p:strVal val="visible"/>
                                      </p:to>
                                    </p:set>
                                    <p:animEffect transition="in" filter="fade">
                                      <p:cBhvr>
                                        <p:cTn id="48" dur="500"/>
                                        <p:tgtEl>
                                          <p:spTgt spid="20"/>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42"/>
                                        </p:tgtEl>
                                        <p:attrNameLst>
                                          <p:attrName>style.visibility</p:attrName>
                                        </p:attrNameLst>
                                      </p:cBhvr>
                                      <p:to>
                                        <p:strVal val="visible"/>
                                      </p:to>
                                    </p:set>
                                    <p:animEffect transition="in" filter="fade">
                                      <p:cBhvr>
                                        <p:cTn id="53" dur="500"/>
                                        <p:tgtEl>
                                          <p:spTgt spid="42"/>
                                        </p:tgtEl>
                                      </p:cBhvr>
                                    </p:animEffect>
                                  </p:childTnLst>
                                </p:cTn>
                              </p:par>
                              <p:par>
                                <p:cTn id="54" presetID="10" presetClass="entr" presetSubtype="0" fill="hold" nodeType="withEffect">
                                  <p:stCondLst>
                                    <p:cond delay="0"/>
                                  </p:stCondLst>
                                  <p:childTnLst>
                                    <p:set>
                                      <p:cBhvr>
                                        <p:cTn id="55" dur="1" fill="hold">
                                          <p:stCondLst>
                                            <p:cond delay="0"/>
                                          </p:stCondLst>
                                        </p:cTn>
                                        <p:tgtEl>
                                          <p:spTgt spid="44"/>
                                        </p:tgtEl>
                                        <p:attrNameLst>
                                          <p:attrName>style.visibility</p:attrName>
                                        </p:attrNameLst>
                                      </p:cBhvr>
                                      <p:to>
                                        <p:strVal val="visible"/>
                                      </p:to>
                                    </p:set>
                                    <p:animEffect transition="in" filter="fade">
                                      <p:cBhvr>
                                        <p:cTn id="56" dur="500"/>
                                        <p:tgtEl>
                                          <p:spTgt spid="44"/>
                                        </p:tgtEl>
                                      </p:cBhvr>
                                    </p:animEffect>
                                  </p:childTnLst>
                                </p:cTn>
                              </p:par>
                              <p:par>
                                <p:cTn id="57" presetID="10" presetClass="entr" presetSubtype="0" fill="hold" nodeType="withEffect">
                                  <p:stCondLst>
                                    <p:cond delay="0"/>
                                  </p:stCondLst>
                                  <p:childTnLst>
                                    <p:set>
                                      <p:cBhvr>
                                        <p:cTn id="58" dur="1" fill="hold">
                                          <p:stCondLst>
                                            <p:cond delay="0"/>
                                          </p:stCondLst>
                                        </p:cTn>
                                        <p:tgtEl>
                                          <p:spTgt spid="48"/>
                                        </p:tgtEl>
                                        <p:attrNameLst>
                                          <p:attrName>style.visibility</p:attrName>
                                        </p:attrNameLst>
                                      </p:cBhvr>
                                      <p:to>
                                        <p:strVal val="visible"/>
                                      </p:to>
                                    </p:set>
                                    <p:animEffect transition="in" filter="fade">
                                      <p:cBhvr>
                                        <p:cTn id="59"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46"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ubrik 1"/>
          <p:cNvSpPr txBox="1">
            <a:spLocks/>
          </p:cNvSpPr>
          <p:nvPr/>
        </p:nvSpPr>
        <p:spPr>
          <a:xfrm>
            <a:off x="363166" y="366185"/>
            <a:ext cx="11465668" cy="6055880"/>
          </a:xfrm>
          <a:prstGeom prst="rect">
            <a:avLst/>
          </a:prstGeom>
        </p:spPr>
        <p:txBody>
          <a:bodyPr vert="horz" lIns="121920" tIns="60960" rIns="121920" bIns="60960" rtlCol="0" anchor="ctr">
            <a:normAutofit fontScale="97500"/>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lvl="0">
              <a:defRPr/>
            </a:pPr>
            <a:r>
              <a:rPr lang="en-US" sz="6200" b="0" dirty="0">
                <a:solidFill>
                  <a:schemeClr val="bg1"/>
                </a:solidFill>
                <a:latin typeface="Segoe UI Light" panose="020B0502040204020203" pitchFamily="34" charset="0"/>
                <a:cs typeface="Segoe UI Light" panose="020B0502040204020203" pitchFamily="34" charset="0"/>
              </a:rPr>
              <a:t>Customer Response</a:t>
            </a:r>
          </a:p>
        </p:txBody>
      </p:sp>
    </p:spTree>
    <p:extLst>
      <p:ext uri="{BB962C8B-B14F-4D97-AF65-F5344CB8AC3E}">
        <p14:creationId xmlns:p14="http://schemas.microsoft.com/office/powerpoint/2010/main" val="1472415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55927CB-1ED5-42CC-B102-10D093746394}"/>
              </a:ext>
            </a:extLst>
          </p:cNvPr>
          <p:cNvSpPr>
            <a:spLocks noGrp="1"/>
          </p:cNvSpPr>
          <p:nvPr>
            <p:ph type="title"/>
          </p:nvPr>
        </p:nvSpPr>
        <p:spPr>
          <a:xfrm>
            <a:off x="582148" y="767819"/>
            <a:ext cx="11294896" cy="738664"/>
          </a:xfrm>
        </p:spPr>
        <p:txBody>
          <a:bodyPr/>
          <a:lstStyle/>
          <a:p>
            <a:r>
              <a:rPr lang="en-US" sz="4000" dirty="0"/>
              <a:t>DES Business Platform</a:t>
            </a:r>
            <a:endParaRPr lang="sv-SE" sz="4000" dirty="0"/>
          </a:p>
        </p:txBody>
      </p:sp>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a:extLst>
              <a:ext uri="{FF2B5EF4-FFF2-40B4-BE49-F238E27FC236}">
                <a16:creationId xmlns:a16="http://schemas.microsoft.com/office/drawing/2014/main" id="{BC6A331B-8401-4629-8A44-4A5DE9BCC88A}"/>
              </a:ext>
            </a:extLst>
          </p:cNvPr>
          <p:cNvGrpSpPr/>
          <p:nvPr/>
        </p:nvGrpSpPr>
        <p:grpSpPr>
          <a:xfrm>
            <a:off x="0" y="2212181"/>
            <a:ext cx="12192000" cy="2433637"/>
            <a:chOff x="0" y="2212181"/>
            <a:chExt cx="12192000" cy="2433637"/>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2212181"/>
              <a:ext cx="12192000" cy="2433637"/>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2690981"/>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grpSp>
    </p:spTree>
    <p:extLst>
      <p:ext uri="{BB962C8B-B14F-4D97-AF65-F5344CB8AC3E}">
        <p14:creationId xmlns:p14="http://schemas.microsoft.com/office/powerpoint/2010/main" val="2133103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42" presetClass="path" presetSubtype="0" accel="50000" decel="50000" fill="hold" nodeType="withEffect">
                                  <p:stCondLst>
                                    <p:cond delay="0"/>
                                  </p:stCondLst>
                                  <p:childTnLst>
                                    <p:animMotion origin="layout" path="M 0 1.48148E-6 L 0 -0.32246 " pathEditMode="relative" rAng="0" ptsTypes="AA">
                                      <p:cBhvr>
                                        <p:cTn id="9" dur="1000" fill="hold"/>
                                        <p:tgtEl>
                                          <p:spTgt spid="6"/>
                                        </p:tgtEl>
                                        <p:attrNameLst>
                                          <p:attrName>ppt_x</p:attrName>
                                          <p:attrName>ppt_y</p:attrName>
                                        </p:attrNameLst>
                                      </p:cBhvr>
                                      <p:rCtr x="0" y="-1613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METER</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grpSp>
        <p:nvGrpSpPr>
          <p:cNvPr id="163" name="Group 162">
            <a:extLst>
              <a:ext uri="{FF2B5EF4-FFF2-40B4-BE49-F238E27FC236}">
                <a16:creationId xmlns:a16="http://schemas.microsoft.com/office/drawing/2014/main" id="{FDB4663F-8150-4C76-B2CB-5FBCDA17FDD3}"/>
              </a:ext>
            </a:extLst>
          </p:cNvPr>
          <p:cNvGrpSpPr/>
          <p:nvPr/>
        </p:nvGrpSpPr>
        <p:grpSpPr>
          <a:xfrm>
            <a:off x="1386503" y="3320885"/>
            <a:ext cx="1826053" cy="1464232"/>
            <a:chOff x="1386503" y="3320885"/>
            <a:chExt cx="1826053" cy="1464232"/>
          </a:xfrm>
        </p:grpSpPr>
        <p:sp>
          <p:nvSpPr>
            <p:cNvPr id="17" name="Field gateway">
              <a:extLst>
                <a:ext uri="{FF2B5EF4-FFF2-40B4-BE49-F238E27FC236}">
                  <a16:creationId xmlns:a16="http://schemas.microsoft.com/office/drawing/2014/main" id="{875C2582-A5C0-43A3-A578-79502B377EBE}"/>
                </a:ext>
              </a:extLst>
            </p:cNvPr>
            <p:cNvSpPr/>
            <p:nvPr/>
          </p:nvSpPr>
          <p:spPr>
            <a:xfrm>
              <a:off x="1386503" y="3371961"/>
              <a:ext cx="1113008" cy="141315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Heat pump</a:t>
              </a:r>
            </a:p>
          </p:txBody>
        </p:sp>
        <p:pic>
          <p:nvPicPr>
            <p:cNvPr id="18" name="Picture 17">
              <a:extLst>
                <a:ext uri="{FF2B5EF4-FFF2-40B4-BE49-F238E27FC236}">
                  <a16:creationId xmlns:a16="http://schemas.microsoft.com/office/drawing/2014/main" id="{B7DECA9F-7493-4E06-B781-77E151B61CB8}"/>
                </a:ext>
              </a:extLst>
            </p:cNvPr>
            <p:cNvPicPr>
              <a:picLocks noChangeAspect="1"/>
            </p:cNvPicPr>
            <p:nvPr/>
          </p:nvPicPr>
          <p:blipFill>
            <a:blip r:embed="rId6"/>
            <a:stretch>
              <a:fillRect/>
            </a:stretch>
          </p:blipFill>
          <p:spPr>
            <a:xfrm>
              <a:off x="1655842" y="3750077"/>
              <a:ext cx="633656" cy="417176"/>
            </a:xfrm>
            <a:prstGeom prst="rect">
              <a:avLst/>
            </a:prstGeom>
          </p:spPr>
        </p:pic>
        <p:pic>
          <p:nvPicPr>
            <p:cNvPr id="25" name="Picture 24">
              <a:extLst>
                <a:ext uri="{FF2B5EF4-FFF2-40B4-BE49-F238E27FC236}">
                  <a16:creationId xmlns:a16="http://schemas.microsoft.com/office/drawing/2014/main" id="{306ED2CA-8BCF-4AD0-ABBB-D9E1A7C6EE40}"/>
                </a:ext>
              </a:extLst>
            </p:cNvPr>
            <p:cNvPicPr>
              <a:picLocks noChangeAspect="1"/>
            </p:cNvPicPr>
            <p:nvPr/>
          </p:nvPicPr>
          <p:blipFill>
            <a:blip r:embed="rId7"/>
            <a:stretch>
              <a:fillRect/>
            </a:stretch>
          </p:blipFill>
          <p:spPr>
            <a:xfrm rot="5400000">
              <a:off x="2786965" y="3419946"/>
              <a:ext cx="250480" cy="246427"/>
            </a:xfrm>
            <a:prstGeom prst="rect">
              <a:avLst/>
            </a:prstGeom>
          </p:spPr>
        </p:pic>
        <p:pic>
          <p:nvPicPr>
            <p:cNvPr id="26" name="Picture 25">
              <a:extLst>
                <a:ext uri="{FF2B5EF4-FFF2-40B4-BE49-F238E27FC236}">
                  <a16:creationId xmlns:a16="http://schemas.microsoft.com/office/drawing/2014/main" id="{2B6FBCEE-307A-4232-A2B1-D4A7E4FF54BE}"/>
                </a:ext>
              </a:extLst>
            </p:cNvPr>
            <p:cNvPicPr>
              <a:picLocks noChangeAspect="1"/>
            </p:cNvPicPr>
            <p:nvPr/>
          </p:nvPicPr>
          <p:blipFill>
            <a:blip r:embed="rId8"/>
            <a:stretch>
              <a:fillRect/>
            </a:stretch>
          </p:blipFill>
          <p:spPr>
            <a:xfrm rot="16200000">
              <a:off x="2481475" y="4567136"/>
              <a:ext cx="126861" cy="90789"/>
            </a:xfrm>
            <a:prstGeom prst="rect">
              <a:avLst/>
            </a:prstGeom>
          </p:spPr>
        </p:pic>
        <p:pic>
          <p:nvPicPr>
            <p:cNvPr id="27" name="Picture 26">
              <a:extLst>
                <a:ext uri="{FF2B5EF4-FFF2-40B4-BE49-F238E27FC236}">
                  <a16:creationId xmlns:a16="http://schemas.microsoft.com/office/drawing/2014/main" id="{617E0296-65F2-426A-9EEA-AEB515DFEE86}"/>
                </a:ext>
              </a:extLst>
            </p:cNvPr>
            <p:cNvPicPr>
              <a:picLocks noChangeAspect="1"/>
            </p:cNvPicPr>
            <p:nvPr/>
          </p:nvPicPr>
          <p:blipFill>
            <a:blip r:embed="rId9"/>
            <a:stretch>
              <a:fillRect/>
            </a:stretch>
          </p:blipFill>
          <p:spPr>
            <a:xfrm>
              <a:off x="2920178" y="3654999"/>
              <a:ext cx="123214" cy="254083"/>
            </a:xfrm>
            <a:prstGeom prst="rect">
              <a:avLst/>
            </a:prstGeom>
          </p:spPr>
        </p:pic>
        <p:pic>
          <p:nvPicPr>
            <p:cNvPr id="28" name="Picture 27">
              <a:extLst>
                <a:ext uri="{FF2B5EF4-FFF2-40B4-BE49-F238E27FC236}">
                  <a16:creationId xmlns:a16="http://schemas.microsoft.com/office/drawing/2014/main" id="{74ABD278-4248-433B-BBB6-D4ECBB7C4A1B}"/>
                </a:ext>
              </a:extLst>
            </p:cNvPr>
            <p:cNvPicPr>
              <a:picLocks noChangeAspect="1"/>
            </p:cNvPicPr>
            <p:nvPr/>
          </p:nvPicPr>
          <p:blipFill>
            <a:blip r:embed="rId10"/>
            <a:stretch>
              <a:fillRect/>
            </a:stretch>
          </p:blipFill>
          <p:spPr>
            <a:xfrm rot="16200000">
              <a:off x="2580898" y="3340525"/>
              <a:ext cx="241824" cy="202543"/>
            </a:xfrm>
            <a:prstGeom prst="rect">
              <a:avLst/>
            </a:prstGeom>
          </p:spPr>
        </p:pic>
        <p:pic>
          <p:nvPicPr>
            <p:cNvPr id="29" name="Picture 28">
              <a:extLst>
                <a:ext uri="{FF2B5EF4-FFF2-40B4-BE49-F238E27FC236}">
                  <a16:creationId xmlns:a16="http://schemas.microsoft.com/office/drawing/2014/main" id="{08CAC11D-4482-4DCD-8CD0-BFE5ACC114B7}"/>
                </a:ext>
              </a:extLst>
            </p:cNvPr>
            <p:cNvPicPr>
              <a:picLocks noChangeAspect="1"/>
            </p:cNvPicPr>
            <p:nvPr/>
          </p:nvPicPr>
          <p:blipFill>
            <a:blip r:embed="rId8"/>
            <a:stretch>
              <a:fillRect/>
            </a:stretch>
          </p:blipFill>
          <p:spPr>
            <a:xfrm rot="16200000">
              <a:off x="2491623" y="3433442"/>
              <a:ext cx="126861" cy="90789"/>
            </a:xfrm>
            <a:prstGeom prst="rect">
              <a:avLst/>
            </a:prstGeom>
          </p:spPr>
        </p:pic>
        <p:pic>
          <p:nvPicPr>
            <p:cNvPr id="30" name="Picture 29">
              <a:extLst>
                <a:ext uri="{FF2B5EF4-FFF2-40B4-BE49-F238E27FC236}">
                  <a16:creationId xmlns:a16="http://schemas.microsoft.com/office/drawing/2014/main" id="{860154BD-08FA-44AB-B0D2-A8B2E83767AC}"/>
                </a:ext>
              </a:extLst>
            </p:cNvPr>
            <p:cNvPicPr>
              <a:picLocks noChangeAspect="1"/>
            </p:cNvPicPr>
            <p:nvPr/>
          </p:nvPicPr>
          <p:blipFill>
            <a:blip r:embed="rId7"/>
            <a:stretch>
              <a:fillRect/>
            </a:stretch>
          </p:blipFill>
          <p:spPr>
            <a:xfrm rot="10800000">
              <a:off x="2786324" y="4418167"/>
              <a:ext cx="250480" cy="246427"/>
            </a:xfrm>
            <a:prstGeom prst="rect">
              <a:avLst/>
            </a:prstGeom>
          </p:spPr>
        </p:pic>
        <p:pic>
          <p:nvPicPr>
            <p:cNvPr id="31" name="Picture 30">
              <a:extLst>
                <a:ext uri="{FF2B5EF4-FFF2-40B4-BE49-F238E27FC236}">
                  <a16:creationId xmlns:a16="http://schemas.microsoft.com/office/drawing/2014/main" id="{1406C4E1-02B2-413B-94C6-3FE1D8A92D2B}"/>
                </a:ext>
              </a:extLst>
            </p:cNvPr>
            <p:cNvPicPr>
              <a:picLocks noChangeAspect="1"/>
            </p:cNvPicPr>
            <p:nvPr/>
          </p:nvPicPr>
          <p:blipFill>
            <a:blip r:embed="rId9"/>
            <a:stretch>
              <a:fillRect/>
            </a:stretch>
          </p:blipFill>
          <p:spPr>
            <a:xfrm rot="16200000">
              <a:off x="2626435" y="4499340"/>
              <a:ext cx="123214" cy="222735"/>
            </a:xfrm>
            <a:prstGeom prst="rect">
              <a:avLst/>
            </a:prstGeom>
          </p:spPr>
        </p:pic>
        <p:pic>
          <p:nvPicPr>
            <p:cNvPr id="32" name="Picture 31">
              <a:extLst>
                <a:ext uri="{FF2B5EF4-FFF2-40B4-BE49-F238E27FC236}">
                  <a16:creationId xmlns:a16="http://schemas.microsoft.com/office/drawing/2014/main" id="{48EE7FD5-D959-4C35-8FD4-AC74611EBC28}"/>
                </a:ext>
              </a:extLst>
            </p:cNvPr>
            <p:cNvPicPr>
              <a:picLocks noChangeAspect="1"/>
            </p:cNvPicPr>
            <p:nvPr/>
          </p:nvPicPr>
          <p:blipFill>
            <a:blip r:embed="rId9"/>
            <a:stretch>
              <a:fillRect/>
            </a:stretch>
          </p:blipFill>
          <p:spPr>
            <a:xfrm>
              <a:off x="2920178" y="4177485"/>
              <a:ext cx="123214" cy="254083"/>
            </a:xfrm>
            <a:prstGeom prst="rect">
              <a:avLst/>
            </a:prstGeom>
          </p:spPr>
        </p:pic>
        <p:sp>
          <p:nvSpPr>
            <p:cNvPr id="33" name="TextBox 32">
              <a:extLst>
                <a:ext uri="{FF2B5EF4-FFF2-40B4-BE49-F238E27FC236}">
                  <a16:creationId xmlns:a16="http://schemas.microsoft.com/office/drawing/2014/main" id="{266903A8-3F3F-4242-AD2F-710D655943FB}"/>
                </a:ext>
              </a:extLst>
            </p:cNvPr>
            <p:cNvSpPr txBox="1"/>
            <p:nvPr/>
          </p:nvSpPr>
          <p:spPr>
            <a:xfrm rot="4111510">
              <a:off x="2798079" y="3830222"/>
              <a:ext cx="419454" cy="409501"/>
            </a:xfrm>
            <a:prstGeom prst="rect">
              <a:avLst/>
            </a:prstGeom>
            <a:noFill/>
          </p:spPr>
          <p:txBody>
            <a:bodyPr wrap="none" lIns="182880" tIns="146304" rIns="182880" bIns="146304" rtlCol="0">
              <a:spAutoFit/>
            </a:bodyPr>
            <a:lstStyle/>
            <a:p>
              <a:pPr>
                <a:lnSpc>
                  <a:spcPct val="90000"/>
                </a:lnSpc>
                <a:spcAft>
                  <a:spcPts val="600"/>
                </a:spcAft>
              </a:pPr>
              <a:r>
                <a:rPr lang="sv-SE" sz="1600" dirty="0">
                  <a:gradFill>
                    <a:gsLst>
                      <a:gs pos="2917">
                        <a:schemeClr val="tx1"/>
                      </a:gs>
                      <a:gs pos="30000">
                        <a:schemeClr val="tx1"/>
                      </a:gs>
                    </a:gsLst>
                    <a:lin ang="5400000" scaled="0"/>
                  </a:gradFill>
                </a:rPr>
                <a:t>//</a:t>
              </a:r>
            </a:p>
          </p:txBody>
        </p:sp>
      </p:grpSp>
      <p:grpSp>
        <p:nvGrpSpPr>
          <p:cNvPr id="165" name="Group 164">
            <a:extLst>
              <a:ext uri="{FF2B5EF4-FFF2-40B4-BE49-F238E27FC236}">
                <a16:creationId xmlns:a16="http://schemas.microsoft.com/office/drawing/2014/main" id="{D2890726-D362-4FA8-995F-33CB67217082}"/>
              </a:ext>
            </a:extLst>
          </p:cNvPr>
          <p:cNvGrpSpPr/>
          <p:nvPr/>
        </p:nvGrpSpPr>
        <p:grpSpPr>
          <a:xfrm>
            <a:off x="1943007" y="2814881"/>
            <a:ext cx="2760320" cy="1320651"/>
            <a:chOff x="1943007" y="2814881"/>
            <a:chExt cx="2760320" cy="1320651"/>
          </a:xfrm>
        </p:grpSpPr>
        <p:grpSp>
          <p:nvGrpSpPr>
            <p:cNvPr id="15" name="Group 14">
              <a:extLst>
                <a:ext uri="{FF2B5EF4-FFF2-40B4-BE49-F238E27FC236}">
                  <a16:creationId xmlns:a16="http://schemas.microsoft.com/office/drawing/2014/main" id="{F7E3C588-C330-4970-8BDF-53D03D9BCCB6}"/>
                </a:ext>
              </a:extLst>
            </p:cNvPr>
            <p:cNvGrpSpPr/>
            <p:nvPr/>
          </p:nvGrpSpPr>
          <p:grpSpPr>
            <a:xfrm>
              <a:off x="3532867" y="2814881"/>
              <a:ext cx="1170460" cy="358701"/>
              <a:chOff x="2945809" y="1700697"/>
              <a:chExt cx="1477904" cy="452921"/>
            </a:xfrm>
          </p:grpSpPr>
          <p:sp>
            <p:nvSpPr>
              <p:cNvPr id="67" name="Field gateway">
                <a:extLst>
                  <a:ext uri="{FF2B5EF4-FFF2-40B4-BE49-F238E27FC236}">
                    <a16:creationId xmlns:a16="http://schemas.microsoft.com/office/drawing/2014/main" id="{9EA3808E-05F7-4253-B948-8C4732EB6E59}"/>
                  </a:ext>
                </a:extLst>
              </p:cNvPr>
              <p:cNvSpPr/>
              <p:nvPr/>
            </p:nvSpPr>
            <p:spPr>
              <a:xfrm>
                <a:off x="2945809" y="1718299"/>
                <a:ext cx="135149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68" name="TextBox 67">
                <a:extLst>
                  <a:ext uri="{FF2B5EF4-FFF2-40B4-BE49-F238E27FC236}">
                    <a16:creationId xmlns:a16="http://schemas.microsoft.com/office/drawing/2014/main" id="{ED8D04DE-CD1B-44E2-BF4E-BEE5AF821FD3}"/>
                  </a:ext>
                </a:extLst>
              </p:cNvPr>
              <p:cNvSpPr txBox="1"/>
              <p:nvPr/>
            </p:nvSpPr>
            <p:spPr>
              <a:xfrm>
                <a:off x="3169705" y="1700697"/>
                <a:ext cx="1254008"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Power meter</a:t>
                </a:r>
                <a:endParaRPr lang="sv-SE" sz="900" dirty="0" err="1">
                  <a:solidFill>
                    <a:prstClr val="white"/>
                  </a:solidFill>
                  <a:latin typeface="Segoe UI Semibold" panose="020B0702040204020203" pitchFamily="34" charset="0"/>
                  <a:cs typeface="Segoe UI" pitchFamily="34" charset="0"/>
                </a:endParaRPr>
              </a:p>
            </p:txBody>
          </p:sp>
          <p:pic>
            <p:nvPicPr>
              <p:cNvPr id="69" name="Picture 68">
                <a:extLst>
                  <a:ext uri="{FF2B5EF4-FFF2-40B4-BE49-F238E27FC236}">
                    <a16:creationId xmlns:a16="http://schemas.microsoft.com/office/drawing/2014/main" id="{DFEE613C-A526-46F8-A9E7-4F2991950918}"/>
                  </a:ext>
                </a:extLst>
              </p:cNvPr>
              <p:cNvPicPr>
                <a:picLocks noChangeAspect="1"/>
              </p:cNvPicPr>
              <p:nvPr/>
            </p:nvPicPr>
            <p:blipFill>
              <a:blip r:embed="rId11"/>
              <a:stretch>
                <a:fillRect/>
              </a:stretch>
            </p:blipFill>
            <p:spPr>
              <a:xfrm>
                <a:off x="2994517" y="1781603"/>
                <a:ext cx="302960" cy="298010"/>
              </a:xfrm>
              <a:prstGeom prst="rect">
                <a:avLst/>
              </a:prstGeom>
            </p:spPr>
          </p:pic>
        </p:grpSp>
        <p:sp>
          <p:nvSpPr>
            <p:cNvPr id="19" name="Field gateway">
              <a:extLst>
                <a:ext uri="{FF2B5EF4-FFF2-40B4-BE49-F238E27FC236}">
                  <a16:creationId xmlns:a16="http://schemas.microsoft.com/office/drawing/2014/main" id="{07270CE8-F48C-401C-8738-A9B23233B886}"/>
                </a:ext>
              </a:extLst>
            </p:cNvPr>
            <p:cNvSpPr/>
            <p:nvPr/>
          </p:nvSpPr>
          <p:spPr>
            <a:xfrm>
              <a:off x="3333072" y="2979185"/>
              <a:ext cx="1070351" cy="34476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20" name="TextBox 19">
              <a:extLst>
                <a:ext uri="{FF2B5EF4-FFF2-40B4-BE49-F238E27FC236}">
                  <a16:creationId xmlns:a16="http://schemas.microsoft.com/office/drawing/2014/main" id="{B3F10485-48A4-469E-8999-3164280D70BF}"/>
                </a:ext>
              </a:extLst>
            </p:cNvPr>
            <p:cNvSpPr txBox="1"/>
            <p:nvPr/>
          </p:nvSpPr>
          <p:spPr>
            <a:xfrm>
              <a:off x="3474405" y="2941958"/>
              <a:ext cx="1192936"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Power meter</a:t>
              </a:r>
              <a:endParaRPr lang="sv-SE" sz="900" dirty="0" err="1">
                <a:solidFill>
                  <a:prstClr val="white"/>
                </a:solidFill>
                <a:latin typeface="Segoe UI Semibold" panose="020B0702040204020203" pitchFamily="34" charset="0"/>
                <a:cs typeface="Segoe UI" pitchFamily="34" charset="0"/>
              </a:endParaRPr>
            </a:p>
          </p:txBody>
        </p:sp>
        <p:pic>
          <p:nvPicPr>
            <p:cNvPr id="21" name="Picture 20">
              <a:extLst>
                <a:ext uri="{FF2B5EF4-FFF2-40B4-BE49-F238E27FC236}">
                  <a16:creationId xmlns:a16="http://schemas.microsoft.com/office/drawing/2014/main" id="{78E11633-8C5B-4F26-9ACB-9B87B99DEAE3}"/>
                </a:ext>
              </a:extLst>
            </p:cNvPr>
            <p:cNvPicPr>
              <a:picLocks noChangeAspect="1"/>
            </p:cNvPicPr>
            <p:nvPr/>
          </p:nvPicPr>
          <p:blipFill>
            <a:blip r:embed="rId11"/>
            <a:stretch>
              <a:fillRect/>
            </a:stretch>
          </p:blipFill>
          <p:spPr>
            <a:xfrm>
              <a:off x="3371647" y="3029320"/>
              <a:ext cx="239936" cy="236016"/>
            </a:xfrm>
            <a:prstGeom prst="rect">
              <a:avLst/>
            </a:prstGeom>
          </p:spPr>
        </p:pic>
        <p:cxnSp>
          <p:nvCxnSpPr>
            <p:cNvPr id="42" name="Connector: Elbow 41">
              <a:extLst>
                <a:ext uri="{FF2B5EF4-FFF2-40B4-BE49-F238E27FC236}">
                  <a16:creationId xmlns:a16="http://schemas.microsoft.com/office/drawing/2014/main" id="{5DF51755-6247-4144-ABF5-C8A314A693F5}"/>
                </a:ext>
              </a:extLst>
            </p:cNvPr>
            <p:cNvCxnSpPr>
              <a:stCxn id="17" idx="0"/>
              <a:endCxn id="19" idx="1"/>
            </p:cNvCxnSpPr>
            <p:nvPr/>
          </p:nvCxnSpPr>
          <p:spPr>
            <a:xfrm rot="5400000" flipH="1" flipV="1">
              <a:off x="2527842" y="2566731"/>
              <a:ext cx="220395" cy="1390065"/>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060158FC-188F-4215-A05A-9D23D5D85637}"/>
                </a:ext>
              </a:extLst>
            </p:cNvPr>
            <p:cNvCxnSpPr>
              <a:stCxn id="19" idx="2"/>
              <a:endCxn id="22" idx="0"/>
            </p:cNvCxnSpPr>
            <p:nvPr/>
          </p:nvCxnSpPr>
          <p:spPr>
            <a:xfrm>
              <a:off x="3868248" y="3323946"/>
              <a:ext cx="0" cy="81158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72" name="Group 171">
            <a:extLst>
              <a:ext uri="{FF2B5EF4-FFF2-40B4-BE49-F238E27FC236}">
                <a16:creationId xmlns:a16="http://schemas.microsoft.com/office/drawing/2014/main" id="{AFDE62BE-EF97-4A6D-803A-9D16EF705D16}"/>
              </a:ext>
            </a:extLst>
          </p:cNvPr>
          <p:cNvGrpSpPr/>
          <p:nvPr/>
        </p:nvGrpSpPr>
        <p:grpSpPr>
          <a:xfrm>
            <a:off x="3043392" y="4005929"/>
            <a:ext cx="1664555" cy="1164788"/>
            <a:chOff x="3043392" y="4005929"/>
            <a:chExt cx="1664555" cy="1164788"/>
          </a:xfrm>
        </p:grpSpPr>
        <p:grpSp>
          <p:nvGrpSpPr>
            <p:cNvPr id="164" name="Group 163">
              <a:extLst>
                <a:ext uri="{FF2B5EF4-FFF2-40B4-BE49-F238E27FC236}">
                  <a16:creationId xmlns:a16="http://schemas.microsoft.com/office/drawing/2014/main" id="{ABF71C2D-E451-4026-ABE7-53B9F032A2B2}"/>
                </a:ext>
              </a:extLst>
            </p:cNvPr>
            <p:cNvGrpSpPr/>
            <p:nvPr/>
          </p:nvGrpSpPr>
          <p:grpSpPr>
            <a:xfrm>
              <a:off x="3043392" y="4005929"/>
              <a:ext cx="1664555" cy="524560"/>
              <a:chOff x="3043392" y="4005929"/>
              <a:chExt cx="1664555" cy="524560"/>
            </a:xfrm>
          </p:grpSpPr>
          <p:grpSp>
            <p:nvGrpSpPr>
              <p:cNvPr id="16" name="Group 15">
                <a:extLst>
                  <a:ext uri="{FF2B5EF4-FFF2-40B4-BE49-F238E27FC236}">
                    <a16:creationId xmlns:a16="http://schemas.microsoft.com/office/drawing/2014/main" id="{73A026AA-0D9E-4604-B4E7-088BFF520DF0}"/>
                  </a:ext>
                </a:extLst>
              </p:cNvPr>
              <p:cNvGrpSpPr/>
              <p:nvPr/>
            </p:nvGrpSpPr>
            <p:grpSpPr>
              <a:xfrm>
                <a:off x="3543522" y="4005929"/>
                <a:ext cx="1164425" cy="346632"/>
                <a:chOff x="1341981" y="4494764"/>
                <a:chExt cx="1470284" cy="437681"/>
              </a:xfrm>
            </p:grpSpPr>
            <p:sp>
              <p:nvSpPr>
                <p:cNvPr id="64" name="Field gateway">
                  <a:extLst>
                    <a:ext uri="{FF2B5EF4-FFF2-40B4-BE49-F238E27FC236}">
                      <a16:creationId xmlns:a16="http://schemas.microsoft.com/office/drawing/2014/main" id="{7848ADE9-9AC9-4E6D-820B-7B167A67AEA5}"/>
                    </a:ext>
                  </a:extLst>
                </p:cNvPr>
                <p:cNvSpPr/>
                <p:nvPr/>
              </p:nvSpPr>
              <p:spPr>
                <a:xfrm>
                  <a:off x="1341981" y="4497126"/>
                  <a:ext cx="135149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65" name="TextBox 64">
                  <a:extLst>
                    <a:ext uri="{FF2B5EF4-FFF2-40B4-BE49-F238E27FC236}">
                      <a16:creationId xmlns:a16="http://schemas.microsoft.com/office/drawing/2014/main" id="{10023E3E-196E-4F46-8811-3F289D5011FF}"/>
                    </a:ext>
                  </a:extLst>
                </p:cNvPr>
                <p:cNvSpPr txBox="1"/>
                <p:nvPr/>
              </p:nvSpPr>
              <p:spPr>
                <a:xfrm>
                  <a:off x="1558257" y="4494764"/>
                  <a:ext cx="1254008"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Energy meter</a:t>
                  </a:r>
                  <a:endParaRPr lang="sv-SE" sz="900" dirty="0" err="1">
                    <a:solidFill>
                      <a:prstClr val="white"/>
                    </a:solidFill>
                    <a:latin typeface="Segoe UI Semibold" panose="020B0702040204020203" pitchFamily="34" charset="0"/>
                    <a:cs typeface="Segoe UI" pitchFamily="34" charset="0"/>
                  </a:endParaRPr>
                </a:p>
              </p:txBody>
            </p:sp>
            <p:pic>
              <p:nvPicPr>
                <p:cNvPr id="66" name="Picture 65">
                  <a:extLst>
                    <a:ext uri="{FF2B5EF4-FFF2-40B4-BE49-F238E27FC236}">
                      <a16:creationId xmlns:a16="http://schemas.microsoft.com/office/drawing/2014/main" id="{F4A81649-DF86-46C1-AEA1-BAB67CCF9FE4}"/>
                    </a:ext>
                  </a:extLst>
                </p:cNvPr>
                <p:cNvPicPr>
                  <a:picLocks noChangeAspect="1"/>
                </p:cNvPicPr>
                <p:nvPr/>
              </p:nvPicPr>
              <p:blipFill>
                <a:blip r:embed="rId11"/>
                <a:stretch>
                  <a:fillRect/>
                </a:stretch>
              </p:blipFill>
              <p:spPr>
                <a:xfrm>
                  <a:off x="1383069" y="4575670"/>
                  <a:ext cx="302960" cy="298010"/>
                </a:xfrm>
                <a:prstGeom prst="rect">
                  <a:avLst/>
                </a:prstGeom>
              </p:spPr>
            </p:pic>
          </p:grpSp>
          <p:sp>
            <p:nvSpPr>
              <p:cNvPr id="22" name="Field gateway">
                <a:extLst>
                  <a:ext uri="{FF2B5EF4-FFF2-40B4-BE49-F238E27FC236}">
                    <a16:creationId xmlns:a16="http://schemas.microsoft.com/office/drawing/2014/main" id="{7232B6AC-CFA2-4B49-9089-013DC4A1C72D}"/>
                  </a:ext>
                </a:extLst>
              </p:cNvPr>
              <p:cNvSpPr/>
              <p:nvPr/>
            </p:nvSpPr>
            <p:spPr>
              <a:xfrm>
                <a:off x="3333072" y="4135532"/>
                <a:ext cx="1070351" cy="34476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23" name="TextBox 22">
                <a:extLst>
                  <a:ext uri="{FF2B5EF4-FFF2-40B4-BE49-F238E27FC236}">
                    <a16:creationId xmlns:a16="http://schemas.microsoft.com/office/drawing/2014/main" id="{6E856298-9D2D-4462-864D-5C41FEE0AE6B}"/>
                  </a:ext>
                </a:extLst>
              </p:cNvPr>
              <p:cNvSpPr txBox="1"/>
              <p:nvPr/>
            </p:nvSpPr>
            <p:spPr>
              <a:xfrm>
                <a:off x="3468370" y="4110374"/>
                <a:ext cx="1201675"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Energy meter</a:t>
                </a:r>
                <a:endParaRPr lang="sv-SE" sz="900" dirty="0" err="1">
                  <a:solidFill>
                    <a:prstClr val="white"/>
                  </a:solidFill>
                  <a:latin typeface="Segoe UI Semibold" panose="020B0702040204020203" pitchFamily="34" charset="0"/>
                  <a:cs typeface="Segoe UI" pitchFamily="34" charset="0"/>
                </a:endParaRPr>
              </a:p>
            </p:txBody>
          </p:sp>
          <p:pic>
            <p:nvPicPr>
              <p:cNvPr id="24" name="Picture 23">
                <a:extLst>
                  <a:ext uri="{FF2B5EF4-FFF2-40B4-BE49-F238E27FC236}">
                    <a16:creationId xmlns:a16="http://schemas.microsoft.com/office/drawing/2014/main" id="{90CA2EF3-C81E-4E65-B4FE-E517E6D3760F}"/>
                  </a:ext>
                </a:extLst>
              </p:cNvPr>
              <p:cNvPicPr>
                <a:picLocks noChangeAspect="1"/>
              </p:cNvPicPr>
              <p:nvPr/>
            </p:nvPicPr>
            <p:blipFill>
              <a:blip r:embed="rId11"/>
              <a:stretch>
                <a:fillRect/>
              </a:stretch>
            </p:blipFill>
            <p:spPr>
              <a:xfrm>
                <a:off x="3365612" y="4197737"/>
                <a:ext cx="239936" cy="236016"/>
              </a:xfrm>
              <a:prstGeom prst="rect">
                <a:avLst/>
              </a:prstGeom>
            </p:spPr>
          </p:pic>
          <p:cxnSp>
            <p:nvCxnSpPr>
              <p:cNvPr id="34" name="Straight Connector 33">
                <a:extLst>
                  <a:ext uri="{FF2B5EF4-FFF2-40B4-BE49-F238E27FC236}">
                    <a16:creationId xmlns:a16="http://schemas.microsoft.com/office/drawing/2014/main" id="{060FAEA0-C529-4925-B355-D7644A4443FA}"/>
                  </a:ext>
                </a:extLst>
              </p:cNvPr>
              <p:cNvCxnSpPr>
                <a:stCxn id="22" idx="1"/>
                <a:endCxn id="32" idx="3"/>
              </p:cNvCxnSpPr>
              <p:nvPr/>
            </p:nvCxnSpPr>
            <p:spPr>
              <a:xfrm flipH="1" flipV="1">
                <a:off x="3043392" y="4304527"/>
                <a:ext cx="289680" cy="3386"/>
              </a:xfrm>
              <a:prstGeom prst="line">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44" name="Connector: Elbow 43">
              <a:extLst>
                <a:ext uri="{FF2B5EF4-FFF2-40B4-BE49-F238E27FC236}">
                  <a16:creationId xmlns:a16="http://schemas.microsoft.com/office/drawing/2014/main" id="{3BE771B0-40AC-433D-A0FF-233A123BC7C8}"/>
                </a:ext>
              </a:extLst>
            </p:cNvPr>
            <p:cNvCxnSpPr>
              <a:cxnSpLocks/>
              <a:stCxn id="22" idx="2"/>
            </p:cNvCxnSpPr>
            <p:nvPr/>
          </p:nvCxnSpPr>
          <p:spPr>
            <a:xfrm rot="16200000" flipH="1">
              <a:off x="3523992" y="4824548"/>
              <a:ext cx="690425" cy="1914"/>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21" name="Group 120">
            <a:extLst>
              <a:ext uri="{FF2B5EF4-FFF2-40B4-BE49-F238E27FC236}">
                <a16:creationId xmlns:a16="http://schemas.microsoft.com/office/drawing/2014/main" id="{7AF5F072-79AD-4389-A5BF-8E39FF3907DE}"/>
              </a:ext>
            </a:extLst>
          </p:cNvPr>
          <p:cNvGrpSpPr/>
          <p:nvPr/>
        </p:nvGrpSpPr>
        <p:grpSpPr>
          <a:xfrm>
            <a:off x="3496802" y="2820260"/>
            <a:ext cx="5312572" cy="3621627"/>
            <a:chOff x="3496802" y="2820260"/>
            <a:chExt cx="5312572" cy="3621627"/>
          </a:xfrm>
        </p:grpSpPr>
        <p:sp>
          <p:nvSpPr>
            <p:cNvPr id="122" name="IoT">
              <a:extLst>
                <a:ext uri="{FF2B5EF4-FFF2-40B4-BE49-F238E27FC236}">
                  <a16:creationId xmlns:a16="http://schemas.microsoft.com/office/drawing/2014/main" id="{7DD60912-03D5-4D3D-8D53-AC9DD956FA5B}"/>
                </a:ext>
              </a:extLst>
            </p:cNvPr>
            <p:cNvSpPr/>
            <p:nvPr/>
          </p:nvSpPr>
          <p:spPr>
            <a:xfrm>
              <a:off x="5373579" y="2828821"/>
              <a:ext cx="1383798" cy="3613066"/>
            </a:xfrm>
            <a:prstGeom prst="rect">
              <a:avLst/>
            </a:prstGeom>
            <a:solidFill>
              <a:schemeClr val="bg2"/>
            </a:solidFill>
            <a:ln w="3175">
              <a:solidFill>
                <a:schemeClr val="accent3"/>
              </a:solidFill>
              <a:headEnd type="none" w="med" len="med"/>
              <a:tailEnd type="none" w="med" len="med"/>
            </a:ln>
            <a:effectLst>
              <a:glow rad="101600">
                <a:schemeClr val="accent6">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200" dirty="0">
                  <a:solidFill>
                    <a:prstClr val="white"/>
                  </a:solidFill>
                  <a:latin typeface="Segoe UI Semibold" panose="020B0702040204020203" pitchFamily="34" charset="0"/>
                  <a:ea typeface="Segoe UI" pitchFamily="34" charset="0"/>
                  <a:cs typeface="Segoe UI" pitchFamily="34" charset="0"/>
                </a:rPr>
                <a:t>IoT Hub</a:t>
              </a:r>
            </a:p>
          </p:txBody>
        </p:sp>
        <p:grpSp>
          <p:nvGrpSpPr>
            <p:cNvPr id="123" name="Group 122">
              <a:extLst>
                <a:ext uri="{FF2B5EF4-FFF2-40B4-BE49-F238E27FC236}">
                  <a16:creationId xmlns:a16="http://schemas.microsoft.com/office/drawing/2014/main" id="{68B583CA-E74E-4C30-A1B5-FC55B8E63DF2}"/>
                </a:ext>
              </a:extLst>
            </p:cNvPr>
            <p:cNvGrpSpPr/>
            <p:nvPr/>
          </p:nvGrpSpPr>
          <p:grpSpPr>
            <a:xfrm>
              <a:off x="5451579" y="4153694"/>
              <a:ext cx="1242302" cy="619458"/>
              <a:chOff x="10326090" y="1095876"/>
              <a:chExt cx="1242302" cy="619458"/>
            </a:xfrm>
          </p:grpSpPr>
          <p:sp>
            <p:nvSpPr>
              <p:cNvPr id="152" name="Rectangle 151">
                <a:extLst>
                  <a:ext uri="{FF2B5EF4-FFF2-40B4-BE49-F238E27FC236}">
                    <a16:creationId xmlns:a16="http://schemas.microsoft.com/office/drawing/2014/main" id="{C03A7466-60FE-4116-AF83-FE042FF768EF}"/>
                  </a:ext>
                </a:extLst>
              </p:cNvPr>
              <p:cNvSpPr/>
              <p:nvPr/>
            </p:nvSpPr>
            <p:spPr bwMode="auto">
              <a:xfrm>
                <a:off x="10326090" y="1095876"/>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53" name="Picture 152">
                <a:extLst>
                  <a:ext uri="{FF2B5EF4-FFF2-40B4-BE49-F238E27FC236}">
                    <a16:creationId xmlns:a16="http://schemas.microsoft.com/office/drawing/2014/main" id="{927C64D4-34EB-4C77-9DEB-DCB192C63E17}"/>
                  </a:ext>
                </a:extLst>
              </p:cNvPr>
              <p:cNvPicPr>
                <a:picLocks noChangeAspect="1"/>
              </p:cNvPicPr>
              <p:nvPr/>
            </p:nvPicPr>
            <p:blipFill>
              <a:blip r:embed="rId12"/>
              <a:stretch>
                <a:fillRect/>
              </a:stretch>
            </p:blipFill>
            <p:spPr>
              <a:xfrm>
                <a:off x="10728776" y="1203220"/>
                <a:ext cx="401966" cy="401966"/>
              </a:xfrm>
              <a:prstGeom prst="rect">
                <a:avLst/>
              </a:prstGeom>
            </p:spPr>
          </p:pic>
        </p:grpSp>
        <p:grpSp>
          <p:nvGrpSpPr>
            <p:cNvPr id="124" name="Group 123">
              <a:extLst>
                <a:ext uri="{FF2B5EF4-FFF2-40B4-BE49-F238E27FC236}">
                  <a16:creationId xmlns:a16="http://schemas.microsoft.com/office/drawing/2014/main" id="{7F995073-E3B3-433B-96BE-331CEBC395C5}"/>
                </a:ext>
              </a:extLst>
            </p:cNvPr>
            <p:cNvGrpSpPr/>
            <p:nvPr/>
          </p:nvGrpSpPr>
          <p:grpSpPr>
            <a:xfrm>
              <a:off x="5451579" y="4928163"/>
              <a:ext cx="1242302" cy="619458"/>
              <a:chOff x="5451579" y="5024696"/>
              <a:chExt cx="1242302" cy="619458"/>
            </a:xfrm>
          </p:grpSpPr>
          <p:sp>
            <p:nvSpPr>
              <p:cNvPr id="150" name="Rectangle 149">
                <a:extLst>
                  <a:ext uri="{FF2B5EF4-FFF2-40B4-BE49-F238E27FC236}">
                    <a16:creationId xmlns:a16="http://schemas.microsoft.com/office/drawing/2014/main" id="{6EEF4E7F-D060-46A8-BC6D-FB6ED6904D40}"/>
                  </a:ext>
                </a:extLst>
              </p:cNvPr>
              <p:cNvSpPr/>
              <p:nvPr/>
            </p:nvSpPr>
            <p:spPr bwMode="auto">
              <a:xfrm>
                <a:off x="5451579" y="5024696"/>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51" name="Picture 150">
                <a:extLst>
                  <a:ext uri="{FF2B5EF4-FFF2-40B4-BE49-F238E27FC236}">
                    <a16:creationId xmlns:a16="http://schemas.microsoft.com/office/drawing/2014/main" id="{23B4D7D2-232D-4A6C-9405-A19536DD7565}"/>
                  </a:ext>
                </a:extLst>
              </p:cNvPr>
              <p:cNvPicPr>
                <a:picLocks noChangeAspect="1"/>
              </p:cNvPicPr>
              <p:nvPr/>
            </p:nvPicPr>
            <p:blipFill>
              <a:blip r:embed="rId13"/>
              <a:stretch>
                <a:fillRect/>
              </a:stretch>
            </p:blipFill>
            <p:spPr>
              <a:xfrm>
                <a:off x="5849421" y="5128470"/>
                <a:ext cx="401966" cy="401966"/>
              </a:xfrm>
              <a:prstGeom prst="rect">
                <a:avLst/>
              </a:prstGeom>
            </p:spPr>
          </p:pic>
        </p:grpSp>
        <p:grpSp>
          <p:nvGrpSpPr>
            <p:cNvPr id="125" name="Group 124">
              <a:extLst>
                <a:ext uri="{FF2B5EF4-FFF2-40B4-BE49-F238E27FC236}">
                  <a16:creationId xmlns:a16="http://schemas.microsoft.com/office/drawing/2014/main" id="{316363D5-5EE7-4EA8-8A3B-C4C3A7B6B498}"/>
                </a:ext>
              </a:extLst>
            </p:cNvPr>
            <p:cNvGrpSpPr/>
            <p:nvPr/>
          </p:nvGrpSpPr>
          <p:grpSpPr>
            <a:xfrm>
              <a:off x="5451579" y="3379225"/>
              <a:ext cx="1242302" cy="619458"/>
              <a:chOff x="5421099" y="3354753"/>
              <a:chExt cx="1242302" cy="619458"/>
            </a:xfrm>
          </p:grpSpPr>
          <p:sp>
            <p:nvSpPr>
              <p:cNvPr id="148" name="Rectangle 147">
                <a:extLst>
                  <a:ext uri="{FF2B5EF4-FFF2-40B4-BE49-F238E27FC236}">
                    <a16:creationId xmlns:a16="http://schemas.microsoft.com/office/drawing/2014/main" id="{D8B0C3E9-E777-425F-829C-8ABF8F7AC757}"/>
                  </a:ext>
                </a:extLst>
              </p:cNvPr>
              <p:cNvSpPr/>
              <p:nvPr/>
            </p:nvSpPr>
            <p:spPr bwMode="auto">
              <a:xfrm>
                <a:off x="5421099" y="3354753"/>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49" name="Picture 148">
                <a:extLst>
                  <a:ext uri="{FF2B5EF4-FFF2-40B4-BE49-F238E27FC236}">
                    <a16:creationId xmlns:a16="http://schemas.microsoft.com/office/drawing/2014/main" id="{234DDAEA-ECEF-458D-8B46-38635E61280C}"/>
                  </a:ext>
                </a:extLst>
              </p:cNvPr>
              <p:cNvPicPr>
                <a:picLocks noChangeAspect="1"/>
              </p:cNvPicPr>
              <p:nvPr/>
            </p:nvPicPr>
            <p:blipFill>
              <a:blip r:embed="rId14"/>
              <a:stretch>
                <a:fillRect/>
              </a:stretch>
            </p:blipFill>
            <p:spPr>
              <a:xfrm>
                <a:off x="5837962" y="3424886"/>
                <a:ext cx="400655" cy="488905"/>
              </a:xfrm>
              <a:prstGeom prst="rect">
                <a:avLst/>
              </a:prstGeom>
            </p:spPr>
          </p:pic>
        </p:grpSp>
        <p:pic>
          <p:nvPicPr>
            <p:cNvPr id="126" name="Picture 125">
              <a:extLst>
                <a:ext uri="{FF2B5EF4-FFF2-40B4-BE49-F238E27FC236}">
                  <a16:creationId xmlns:a16="http://schemas.microsoft.com/office/drawing/2014/main" id="{051D2B55-423F-45E0-97F2-E9ED6B5DAB96}"/>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483263" y="2866364"/>
              <a:ext cx="225642" cy="225642"/>
            </a:xfrm>
            <a:prstGeom prst="rect">
              <a:avLst/>
            </a:prstGeom>
          </p:spPr>
        </p:pic>
        <p:grpSp>
          <p:nvGrpSpPr>
            <p:cNvPr id="127" name="Group 126">
              <a:extLst>
                <a:ext uri="{FF2B5EF4-FFF2-40B4-BE49-F238E27FC236}">
                  <a16:creationId xmlns:a16="http://schemas.microsoft.com/office/drawing/2014/main" id="{2AEA0A26-FCE1-4879-A1B7-67DC99FDFD68}"/>
                </a:ext>
              </a:extLst>
            </p:cNvPr>
            <p:cNvGrpSpPr/>
            <p:nvPr/>
          </p:nvGrpSpPr>
          <p:grpSpPr>
            <a:xfrm>
              <a:off x="5451579" y="5702631"/>
              <a:ext cx="1242302" cy="619458"/>
              <a:chOff x="2748370" y="4229726"/>
              <a:chExt cx="1242302" cy="619458"/>
            </a:xfrm>
          </p:grpSpPr>
          <p:sp>
            <p:nvSpPr>
              <p:cNvPr id="146" name="Rectangle 145">
                <a:extLst>
                  <a:ext uri="{FF2B5EF4-FFF2-40B4-BE49-F238E27FC236}">
                    <a16:creationId xmlns:a16="http://schemas.microsoft.com/office/drawing/2014/main" id="{E97BFF82-996B-4298-A0B6-A3B09630771F}"/>
                  </a:ext>
                </a:extLst>
              </p:cNvPr>
              <p:cNvSpPr/>
              <p:nvPr/>
            </p:nvSpPr>
            <p:spPr bwMode="auto">
              <a:xfrm>
                <a:off x="2748370" y="4229726"/>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47" name="Picture 146">
                <a:extLst>
                  <a:ext uri="{FF2B5EF4-FFF2-40B4-BE49-F238E27FC236}">
                    <a16:creationId xmlns:a16="http://schemas.microsoft.com/office/drawing/2014/main" id="{04284867-A98E-41BC-968A-7C2575DEA038}"/>
                  </a:ext>
                </a:extLst>
              </p:cNvPr>
              <p:cNvPicPr>
                <a:picLocks noChangeAspect="1"/>
              </p:cNvPicPr>
              <p:nvPr/>
            </p:nvPicPr>
            <p:blipFill>
              <a:blip r:embed="rId16"/>
              <a:stretch>
                <a:fillRect/>
              </a:stretch>
            </p:blipFill>
            <p:spPr>
              <a:xfrm>
                <a:off x="3155964" y="4294230"/>
                <a:ext cx="424677" cy="490449"/>
              </a:xfrm>
              <a:prstGeom prst="rect">
                <a:avLst/>
              </a:prstGeom>
            </p:spPr>
          </p:pic>
        </p:grpSp>
        <p:grpSp>
          <p:nvGrpSpPr>
            <p:cNvPr id="128" name="Group 127">
              <a:extLst>
                <a:ext uri="{FF2B5EF4-FFF2-40B4-BE49-F238E27FC236}">
                  <a16:creationId xmlns:a16="http://schemas.microsoft.com/office/drawing/2014/main" id="{80DAF6CB-8AD8-4BDE-BAF4-B02D9B546F8C}"/>
                </a:ext>
              </a:extLst>
            </p:cNvPr>
            <p:cNvGrpSpPr/>
            <p:nvPr/>
          </p:nvGrpSpPr>
          <p:grpSpPr>
            <a:xfrm>
              <a:off x="7157018" y="2820260"/>
              <a:ext cx="1652356" cy="773253"/>
              <a:chOff x="5887432" y="1455632"/>
              <a:chExt cx="2096198" cy="980958"/>
            </a:xfrm>
            <a:effectLst>
              <a:glow rad="101600">
                <a:schemeClr val="accent6">
                  <a:satMod val="175000"/>
                  <a:alpha val="40000"/>
                </a:schemeClr>
              </a:glow>
            </a:effectLst>
          </p:grpSpPr>
          <p:sp>
            <p:nvSpPr>
              <p:cNvPr id="144" name="Field gateway">
                <a:extLst>
                  <a:ext uri="{FF2B5EF4-FFF2-40B4-BE49-F238E27FC236}">
                    <a16:creationId xmlns:a16="http://schemas.microsoft.com/office/drawing/2014/main" id="{69E343DE-5C08-4A40-A807-6FBB414F08D9}"/>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des.</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vattenfall.com</a:t>
                </a:r>
              </a:p>
            </p:txBody>
          </p:sp>
          <p:sp>
            <p:nvSpPr>
              <p:cNvPr id="145" name="TextBox 144">
                <a:extLst>
                  <a:ext uri="{FF2B5EF4-FFF2-40B4-BE49-F238E27FC236}">
                    <a16:creationId xmlns:a16="http://schemas.microsoft.com/office/drawing/2014/main" id="{4DAF0447-CDF2-4A78-BDC8-3A409EC0F1B9}"/>
                  </a:ext>
                </a:extLst>
              </p:cNvPr>
              <p:cNvSpPr txBox="1"/>
              <p:nvPr/>
            </p:nvSpPr>
            <p:spPr>
              <a:xfrm>
                <a:off x="6458850" y="1621896"/>
                <a:ext cx="1298163" cy="568103"/>
              </a:xfrm>
              <a:prstGeom prst="rect">
                <a:avLst/>
              </a:prstGeom>
              <a:noFill/>
            </p:spPr>
            <p:txBody>
              <a:bodyPr wrap="square" lIns="182880" tIns="146304" rIns="182880" bIns="146304" rtlCol="0">
                <a:spAutoFit/>
              </a:bodyPr>
              <a:lstStyle/>
              <a:p>
                <a:pPr>
                  <a:lnSpc>
                    <a:spcPct val="90000"/>
                  </a:lnSpc>
                  <a:spcAft>
                    <a:spcPts val="600"/>
                  </a:spcAft>
                </a:pPr>
                <a:r>
                  <a:rPr lang="sv-SE" sz="1100" dirty="0">
                    <a:gradFill>
                      <a:gsLst>
                        <a:gs pos="2917">
                          <a:schemeClr val="tx1"/>
                        </a:gs>
                        <a:gs pos="30000">
                          <a:schemeClr val="tx1"/>
                        </a:gs>
                      </a:gsLst>
                      <a:lin ang="5400000" scaled="0"/>
                    </a:gradFill>
                  </a:rPr>
                  <a:t>DES Portal</a:t>
                </a:r>
                <a:endParaRPr lang="sv-SE" sz="2000" dirty="0">
                  <a:gradFill>
                    <a:gsLst>
                      <a:gs pos="2917">
                        <a:schemeClr val="tx1"/>
                      </a:gs>
                      <a:gs pos="30000">
                        <a:schemeClr val="tx1"/>
                      </a:gs>
                    </a:gsLst>
                    <a:lin ang="5400000" scaled="0"/>
                  </a:gradFill>
                </a:endParaRPr>
              </a:p>
            </p:txBody>
          </p:sp>
        </p:grpSp>
        <p:pic>
          <p:nvPicPr>
            <p:cNvPr id="129" name="Picture 128">
              <a:extLst>
                <a:ext uri="{FF2B5EF4-FFF2-40B4-BE49-F238E27FC236}">
                  <a16:creationId xmlns:a16="http://schemas.microsoft.com/office/drawing/2014/main" id="{1C0DA07D-AC8A-44A9-B86E-60F605FCB5EB}"/>
                </a:ext>
              </a:extLst>
            </p:cNvPr>
            <p:cNvPicPr>
              <a:picLocks noChangeAspect="1"/>
            </p:cNvPicPr>
            <p:nvPr/>
          </p:nvPicPr>
          <p:blipFill>
            <a:blip r:embed="rId17"/>
            <a:stretch>
              <a:fillRect/>
            </a:stretch>
          </p:blipFill>
          <p:spPr>
            <a:xfrm>
              <a:off x="7300444" y="3017970"/>
              <a:ext cx="313490" cy="314514"/>
            </a:xfrm>
            <a:prstGeom prst="rect">
              <a:avLst/>
            </a:prstGeom>
          </p:spPr>
        </p:pic>
        <p:cxnSp>
          <p:nvCxnSpPr>
            <p:cNvPr id="130" name="Connector: Elbow 129">
              <a:extLst>
                <a:ext uri="{FF2B5EF4-FFF2-40B4-BE49-F238E27FC236}">
                  <a16:creationId xmlns:a16="http://schemas.microsoft.com/office/drawing/2014/main" id="{7602895D-81D9-4B5E-B3D1-F6A0A8DEBB9F}"/>
                </a:ext>
              </a:extLst>
            </p:cNvPr>
            <p:cNvCxnSpPr>
              <a:cxnSpLocks/>
              <a:stCxn id="144" idx="1"/>
            </p:cNvCxnSpPr>
            <p:nvPr/>
          </p:nvCxnSpPr>
          <p:spPr>
            <a:xfrm rot="10800000" flipV="1">
              <a:off x="6693882" y="3206887"/>
              <a:ext cx="463137" cy="458654"/>
            </a:xfrm>
            <a:prstGeom prst="bentConnector3">
              <a:avLst>
                <a:gd name="adj1" fmla="val 50000"/>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1" name="Rectangle 130">
              <a:extLst>
                <a:ext uri="{FF2B5EF4-FFF2-40B4-BE49-F238E27FC236}">
                  <a16:creationId xmlns:a16="http://schemas.microsoft.com/office/drawing/2014/main" id="{9E486D0B-D8B9-4FC2-A11D-AC2308E4296E}"/>
                </a:ext>
              </a:extLst>
            </p:cNvPr>
            <p:cNvSpPr/>
            <p:nvPr/>
          </p:nvSpPr>
          <p:spPr bwMode="auto">
            <a:xfrm>
              <a:off x="4046242" y="5348752"/>
              <a:ext cx="187864" cy="13334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132" name="Group 131">
              <a:extLst>
                <a:ext uri="{FF2B5EF4-FFF2-40B4-BE49-F238E27FC236}">
                  <a16:creationId xmlns:a16="http://schemas.microsoft.com/office/drawing/2014/main" id="{AAACAE62-3145-4E75-99B1-575E5A2008DC}"/>
                </a:ext>
              </a:extLst>
            </p:cNvPr>
            <p:cNvGrpSpPr/>
            <p:nvPr/>
          </p:nvGrpSpPr>
          <p:grpSpPr>
            <a:xfrm>
              <a:off x="3496802" y="5170718"/>
              <a:ext cx="746720" cy="947184"/>
              <a:chOff x="2120696" y="4192857"/>
              <a:chExt cx="942860" cy="1195980"/>
            </a:xfrm>
            <a:effectLst>
              <a:glow rad="101600">
                <a:schemeClr val="accent6">
                  <a:satMod val="175000"/>
                  <a:alpha val="40000"/>
                </a:schemeClr>
              </a:glow>
            </a:effectLst>
          </p:grpSpPr>
          <p:sp>
            <p:nvSpPr>
              <p:cNvPr id="142" name="Field gateway">
                <a:extLst>
                  <a:ext uri="{FF2B5EF4-FFF2-40B4-BE49-F238E27FC236}">
                    <a16:creationId xmlns:a16="http://schemas.microsoft.com/office/drawing/2014/main" id="{C1912DE5-E142-4AD6-9480-249B11456402}"/>
                  </a:ext>
                </a:extLst>
              </p:cNvPr>
              <p:cNvSpPr/>
              <p:nvPr/>
            </p:nvSpPr>
            <p:spPr>
              <a:xfrm>
                <a:off x="2120696" y="4192857"/>
                <a:ext cx="942860" cy="119598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Field Gateway</a:t>
                </a:r>
              </a:p>
            </p:txBody>
          </p:sp>
          <p:pic>
            <p:nvPicPr>
              <p:cNvPr id="143" name="Picture 142">
                <a:extLst>
                  <a:ext uri="{FF2B5EF4-FFF2-40B4-BE49-F238E27FC236}">
                    <a16:creationId xmlns:a16="http://schemas.microsoft.com/office/drawing/2014/main" id="{813981BE-63BF-414A-B2D3-8C5AC5959C3A}"/>
                  </a:ext>
                </a:extLst>
              </p:cNvPr>
              <p:cNvPicPr>
                <a:picLocks noChangeAspect="1"/>
              </p:cNvPicPr>
              <p:nvPr/>
            </p:nvPicPr>
            <p:blipFill>
              <a:blip r:embed="rId18"/>
              <a:stretch>
                <a:fillRect/>
              </a:stretch>
            </p:blipFill>
            <p:spPr>
              <a:xfrm>
                <a:off x="2226557" y="4356248"/>
                <a:ext cx="707143" cy="507536"/>
              </a:xfrm>
              <a:prstGeom prst="rect">
                <a:avLst/>
              </a:prstGeom>
            </p:spPr>
          </p:pic>
        </p:grpSp>
        <p:grpSp>
          <p:nvGrpSpPr>
            <p:cNvPr id="133" name="Group 132">
              <a:extLst>
                <a:ext uri="{FF2B5EF4-FFF2-40B4-BE49-F238E27FC236}">
                  <a16:creationId xmlns:a16="http://schemas.microsoft.com/office/drawing/2014/main" id="{A4827443-D84A-44CA-AC4B-1E5ADCBB4D28}"/>
                </a:ext>
              </a:extLst>
            </p:cNvPr>
            <p:cNvGrpSpPr/>
            <p:nvPr/>
          </p:nvGrpSpPr>
          <p:grpSpPr>
            <a:xfrm>
              <a:off x="7157018" y="5622765"/>
              <a:ext cx="1652356" cy="773252"/>
              <a:chOff x="5887432" y="1455632"/>
              <a:chExt cx="2096198" cy="980958"/>
            </a:xfrm>
            <a:effectLst>
              <a:glow rad="101600">
                <a:schemeClr val="accent6">
                  <a:satMod val="175000"/>
                  <a:alpha val="40000"/>
                </a:schemeClr>
              </a:glow>
            </a:effectLst>
          </p:grpSpPr>
          <p:grpSp>
            <p:nvGrpSpPr>
              <p:cNvPr id="138" name="Group 137">
                <a:extLst>
                  <a:ext uri="{FF2B5EF4-FFF2-40B4-BE49-F238E27FC236}">
                    <a16:creationId xmlns:a16="http://schemas.microsoft.com/office/drawing/2014/main" id="{3125732F-CDF3-4DFB-B0CA-9144A7C1FABC}"/>
                  </a:ext>
                </a:extLst>
              </p:cNvPr>
              <p:cNvGrpSpPr/>
              <p:nvPr/>
            </p:nvGrpSpPr>
            <p:grpSpPr>
              <a:xfrm>
                <a:off x="5887432" y="1455632"/>
                <a:ext cx="2096198" cy="980958"/>
                <a:chOff x="5887432" y="1455632"/>
                <a:chExt cx="2096198" cy="980958"/>
              </a:xfrm>
            </p:grpSpPr>
            <p:sp>
              <p:nvSpPr>
                <p:cNvPr id="140" name="Field gateway">
                  <a:extLst>
                    <a:ext uri="{FF2B5EF4-FFF2-40B4-BE49-F238E27FC236}">
                      <a16:creationId xmlns:a16="http://schemas.microsoft.com/office/drawing/2014/main" id="{B05BBC09-8D76-47C6-A33E-3D61CBF76AB3}"/>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vattenfall.</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microServiceBus.com</a:t>
                  </a:r>
                </a:p>
              </p:txBody>
            </p:sp>
            <p:pic>
              <p:nvPicPr>
                <p:cNvPr id="141" name="Picture 140">
                  <a:extLst>
                    <a:ext uri="{FF2B5EF4-FFF2-40B4-BE49-F238E27FC236}">
                      <a16:creationId xmlns:a16="http://schemas.microsoft.com/office/drawing/2014/main" id="{2526FCAC-83D0-48F2-B969-DC0D548B6265}"/>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070476" y="1589760"/>
                  <a:ext cx="492246" cy="492246"/>
                </a:xfrm>
                <a:prstGeom prst="rect">
                  <a:avLst/>
                </a:prstGeom>
              </p:spPr>
            </p:pic>
          </p:grpSp>
          <p:sp>
            <p:nvSpPr>
              <p:cNvPr id="139" name="TextBox 138">
                <a:extLst>
                  <a:ext uri="{FF2B5EF4-FFF2-40B4-BE49-F238E27FC236}">
                    <a16:creationId xmlns:a16="http://schemas.microsoft.com/office/drawing/2014/main" id="{C1ECDAFE-01D8-43D4-BF0E-92CED89656DE}"/>
                  </a:ext>
                </a:extLst>
              </p:cNvPr>
              <p:cNvSpPr txBox="1"/>
              <p:nvPr/>
            </p:nvSpPr>
            <p:spPr>
              <a:xfrm>
                <a:off x="6442088" y="1479274"/>
                <a:ext cx="1534131" cy="761377"/>
              </a:xfrm>
              <a:prstGeom prst="rect">
                <a:avLst/>
              </a:prstGeom>
              <a:noFill/>
            </p:spPr>
            <p:txBody>
              <a:bodyPr wrap="square" lIns="182880" tIns="146304" rIns="182880" bIns="146304" rtlCol="0">
                <a:spAutoFit/>
              </a:bodyPr>
              <a:lstStyle/>
              <a:p>
                <a:pPr>
                  <a:lnSpc>
                    <a:spcPct val="90000"/>
                  </a:lnSpc>
                  <a:spcAft>
                    <a:spcPts val="600"/>
                  </a:spcAft>
                </a:pPr>
                <a:r>
                  <a:rPr lang="sv-SE" sz="1100" dirty="0" err="1">
                    <a:gradFill>
                      <a:gsLst>
                        <a:gs pos="2917">
                          <a:schemeClr val="tx1"/>
                        </a:gs>
                        <a:gs pos="30000">
                          <a:schemeClr val="tx1"/>
                        </a:gs>
                      </a:gsLst>
                      <a:lin ang="5400000" scaled="0"/>
                    </a:gradFill>
                  </a:rPr>
                  <a:t>Device</a:t>
                </a:r>
                <a:r>
                  <a:rPr lang="sv-SE" sz="1100" dirty="0">
                    <a:gradFill>
                      <a:gsLst>
                        <a:gs pos="2917">
                          <a:schemeClr val="tx1"/>
                        </a:gs>
                        <a:gs pos="30000">
                          <a:schemeClr val="tx1"/>
                        </a:gs>
                      </a:gsLst>
                      <a:lin ang="5400000" scaled="0"/>
                    </a:gradFill>
                  </a:rPr>
                  <a:t> Management</a:t>
                </a:r>
                <a:endParaRPr lang="sv-SE" sz="2000" dirty="0">
                  <a:gradFill>
                    <a:gsLst>
                      <a:gs pos="2917">
                        <a:schemeClr val="tx1"/>
                      </a:gs>
                      <a:gs pos="30000">
                        <a:schemeClr val="tx1"/>
                      </a:gs>
                    </a:gsLst>
                    <a:lin ang="5400000" scaled="0"/>
                  </a:gradFill>
                </a:endParaRPr>
              </a:p>
            </p:txBody>
          </p:sp>
        </p:grpSp>
        <p:cxnSp>
          <p:nvCxnSpPr>
            <p:cNvPr id="134" name="Connector: Elbow 133">
              <a:extLst>
                <a:ext uri="{FF2B5EF4-FFF2-40B4-BE49-F238E27FC236}">
                  <a16:creationId xmlns:a16="http://schemas.microsoft.com/office/drawing/2014/main" id="{57E74E4F-8141-452B-B01E-506D06A6B37C}"/>
                </a:ext>
              </a:extLst>
            </p:cNvPr>
            <p:cNvCxnSpPr>
              <a:stCxn id="140" idx="2"/>
              <a:endCxn id="142" idx="2"/>
            </p:cNvCxnSpPr>
            <p:nvPr/>
          </p:nvCxnSpPr>
          <p:spPr>
            <a:xfrm rot="5400000" flipH="1">
              <a:off x="5787619" y="4200445"/>
              <a:ext cx="278119" cy="4113034"/>
            </a:xfrm>
            <a:prstGeom prst="bentConnector3">
              <a:avLst>
                <a:gd name="adj1" fmla="val -82195"/>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5" name="Connector: Elbow 134">
              <a:extLst>
                <a:ext uri="{FF2B5EF4-FFF2-40B4-BE49-F238E27FC236}">
                  <a16:creationId xmlns:a16="http://schemas.microsoft.com/office/drawing/2014/main" id="{34FDA7A2-3063-4992-852A-129381B4495A}"/>
                </a:ext>
              </a:extLst>
            </p:cNvPr>
            <p:cNvCxnSpPr>
              <a:cxnSpLocks/>
              <a:endCxn id="131" idx="3"/>
            </p:cNvCxnSpPr>
            <p:nvPr/>
          </p:nvCxnSpPr>
          <p:spPr>
            <a:xfrm rot="10800000" flipV="1">
              <a:off x="4234107" y="3842281"/>
              <a:ext cx="1217473" cy="1573143"/>
            </a:xfrm>
            <a:prstGeom prst="bentConnector3">
              <a:avLst>
                <a:gd name="adj1" fmla="val 50000"/>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6" name="Straight Arrow Connector 135">
              <a:extLst>
                <a:ext uri="{FF2B5EF4-FFF2-40B4-BE49-F238E27FC236}">
                  <a16:creationId xmlns:a16="http://schemas.microsoft.com/office/drawing/2014/main" id="{28FB50F6-3C34-4231-91FC-8B5EECE9A52A}"/>
                </a:ext>
              </a:extLst>
            </p:cNvPr>
            <p:cNvCxnSpPr>
              <a:cxnSpLocks/>
              <a:stCxn id="140" idx="1"/>
            </p:cNvCxnSpPr>
            <p:nvPr/>
          </p:nvCxnSpPr>
          <p:spPr>
            <a:xfrm flipH="1">
              <a:off x="6693881" y="6009391"/>
              <a:ext cx="463137"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7" name="Connector: Elbow 136">
              <a:extLst>
                <a:ext uri="{FF2B5EF4-FFF2-40B4-BE49-F238E27FC236}">
                  <a16:creationId xmlns:a16="http://schemas.microsoft.com/office/drawing/2014/main" id="{8E80CA8F-3C2B-45AB-A87C-B7E90C1E3830}"/>
                </a:ext>
              </a:extLst>
            </p:cNvPr>
            <p:cNvCxnSpPr>
              <a:endCxn id="150" idx="1"/>
            </p:cNvCxnSpPr>
            <p:nvPr/>
          </p:nvCxnSpPr>
          <p:spPr>
            <a:xfrm flipV="1">
              <a:off x="4243522" y="5237892"/>
              <a:ext cx="1208057" cy="403509"/>
            </a:xfrm>
            <a:prstGeom prst="bentConnector3">
              <a:avLst>
                <a:gd name="adj1" fmla="val 69114"/>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67" name="Group 166">
            <a:extLst>
              <a:ext uri="{FF2B5EF4-FFF2-40B4-BE49-F238E27FC236}">
                <a16:creationId xmlns:a16="http://schemas.microsoft.com/office/drawing/2014/main" id="{07D70416-D633-4CAD-B584-C9020C64D510}"/>
              </a:ext>
            </a:extLst>
          </p:cNvPr>
          <p:cNvGrpSpPr/>
          <p:nvPr/>
        </p:nvGrpSpPr>
        <p:grpSpPr>
          <a:xfrm>
            <a:off x="6693881" y="4616814"/>
            <a:ext cx="2138137" cy="793702"/>
            <a:chOff x="6693881" y="4616814"/>
            <a:chExt cx="2138137" cy="793702"/>
          </a:xfrm>
        </p:grpSpPr>
        <p:grpSp>
          <p:nvGrpSpPr>
            <p:cNvPr id="166" name="Group 165">
              <a:extLst>
                <a:ext uri="{FF2B5EF4-FFF2-40B4-BE49-F238E27FC236}">
                  <a16:creationId xmlns:a16="http://schemas.microsoft.com/office/drawing/2014/main" id="{4D0B2F40-B16F-45D0-8096-7B672715DD0E}"/>
                </a:ext>
              </a:extLst>
            </p:cNvPr>
            <p:cNvGrpSpPr/>
            <p:nvPr/>
          </p:nvGrpSpPr>
          <p:grpSpPr>
            <a:xfrm>
              <a:off x="7125133" y="4616814"/>
              <a:ext cx="1706885" cy="793702"/>
              <a:chOff x="7125133" y="4616814"/>
              <a:chExt cx="1706885" cy="793702"/>
            </a:xfrm>
          </p:grpSpPr>
          <p:sp>
            <p:nvSpPr>
              <p:cNvPr id="38" name="Rectangle 37">
                <a:extLst>
                  <a:ext uri="{FF2B5EF4-FFF2-40B4-BE49-F238E27FC236}">
                    <a16:creationId xmlns:a16="http://schemas.microsoft.com/office/drawing/2014/main" id="{F2A494BC-9439-47A7-B238-CD8EC838E9B2}"/>
                  </a:ext>
                </a:extLst>
              </p:cNvPr>
              <p:cNvSpPr/>
              <p:nvPr/>
            </p:nvSpPr>
            <p:spPr>
              <a:xfrm>
                <a:off x="7125133" y="4616814"/>
                <a:ext cx="1706885" cy="793702"/>
              </a:xfrm>
              <a:prstGeom prst="rect">
                <a:avLst/>
              </a:prstGeom>
              <a:solidFill>
                <a:srgbClr val="00162E"/>
              </a:solidFill>
              <a:ln w="3175">
                <a:solidFill>
                  <a:schemeClr val="accent3"/>
                </a:solidFill>
                <a:headEnd type="none" w="med" len="med"/>
                <a:tailEnd type="none" w="med" len="med"/>
              </a:ln>
              <a:effectLst>
                <a:glow rad="101600">
                  <a:schemeClr val="accent6">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DES Event processing</a:t>
                </a:r>
              </a:p>
            </p:txBody>
          </p:sp>
          <p:pic>
            <p:nvPicPr>
              <p:cNvPr id="36" name="Picture 35">
                <a:extLst>
                  <a:ext uri="{FF2B5EF4-FFF2-40B4-BE49-F238E27FC236}">
                    <a16:creationId xmlns:a16="http://schemas.microsoft.com/office/drawing/2014/main" id="{BF181F52-BF65-4333-98AE-16E4EAAEA3CE}"/>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7208207" y="4733191"/>
                <a:ext cx="414714" cy="414714"/>
              </a:xfrm>
              <a:prstGeom prst="rect">
                <a:avLst/>
              </a:prstGeom>
            </p:spPr>
          </p:pic>
          <p:pic>
            <p:nvPicPr>
              <p:cNvPr id="4100" name="Picture 4099">
                <a:extLst>
                  <a:ext uri="{FF2B5EF4-FFF2-40B4-BE49-F238E27FC236}">
                    <a16:creationId xmlns:a16="http://schemas.microsoft.com/office/drawing/2014/main" id="{64FC8FC2-8740-49E8-A685-8C8B365F7D71}"/>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7727543" y="4741011"/>
                <a:ext cx="414714" cy="414714"/>
              </a:xfrm>
              <a:prstGeom prst="rect">
                <a:avLst/>
              </a:prstGeom>
            </p:spPr>
          </p:pic>
          <p:pic>
            <p:nvPicPr>
              <p:cNvPr id="4106" name="Picture 4105">
                <a:extLst>
                  <a:ext uri="{FF2B5EF4-FFF2-40B4-BE49-F238E27FC236}">
                    <a16:creationId xmlns:a16="http://schemas.microsoft.com/office/drawing/2014/main" id="{AA07A54F-4B86-4A1A-8E36-98A38963216A}"/>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8201377" y="4690117"/>
                <a:ext cx="531495" cy="531495"/>
              </a:xfrm>
              <a:prstGeom prst="rect">
                <a:avLst/>
              </a:prstGeom>
            </p:spPr>
          </p:pic>
        </p:grpSp>
        <p:cxnSp>
          <p:nvCxnSpPr>
            <p:cNvPr id="4113" name="Connector: Elbow 4112">
              <a:extLst>
                <a:ext uri="{FF2B5EF4-FFF2-40B4-BE49-F238E27FC236}">
                  <a16:creationId xmlns:a16="http://schemas.microsoft.com/office/drawing/2014/main" id="{758D9C5A-4057-4467-B9A6-FDFB2BC3C726}"/>
                </a:ext>
              </a:extLst>
            </p:cNvPr>
            <p:cNvCxnSpPr>
              <a:stCxn id="150" idx="3"/>
              <a:endCxn id="38" idx="1"/>
            </p:cNvCxnSpPr>
            <p:nvPr/>
          </p:nvCxnSpPr>
          <p:spPr>
            <a:xfrm flipV="1">
              <a:off x="6693881" y="5013665"/>
              <a:ext cx="431252" cy="224227"/>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70" name="Group 169">
            <a:extLst>
              <a:ext uri="{FF2B5EF4-FFF2-40B4-BE49-F238E27FC236}">
                <a16:creationId xmlns:a16="http://schemas.microsoft.com/office/drawing/2014/main" id="{44B60298-DE28-401B-88D9-9F62C6E6F706}"/>
              </a:ext>
            </a:extLst>
          </p:cNvPr>
          <p:cNvGrpSpPr/>
          <p:nvPr/>
        </p:nvGrpSpPr>
        <p:grpSpPr>
          <a:xfrm>
            <a:off x="8832018" y="3696011"/>
            <a:ext cx="2924756" cy="1317654"/>
            <a:chOff x="8832018" y="3696011"/>
            <a:chExt cx="2924756" cy="1317654"/>
          </a:xfrm>
        </p:grpSpPr>
        <p:grpSp>
          <p:nvGrpSpPr>
            <p:cNvPr id="4127" name="Group 4126">
              <a:extLst>
                <a:ext uri="{FF2B5EF4-FFF2-40B4-BE49-F238E27FC236}">
                  <a16:creationId xmlns:a16="http://schemas.microsoft.com/office/drawing/2014/main" id="{A5FCD8B7-7FB3-48EC-890A-77E623205565}"/>
                </a:ext>
              </a:extLst>
            </p:cNvPr>
            <p:cNvGrpSpPr/>
            <p:nvPr/>
          </p:nvGrpSpPr>
          <p:grpSpPr>
            <a:xfrm>
              <a:off x="10025156" y="3696011"/>
              <a:ext cx="1731618" cy="813857"/>
              <a:chOff x="10248993" y="3117484"/>
              <a:chExt cx="1731618" cy="813857"/>
            </a:xfrm>
          </p:grpSpPr>
          <p:sp>
            <p:nvSpPr>
              <p:cNvPr id="57" name="Rectangle 56">
                <a:extLst>
                  <a:ext uri="{FF2B5EF4-FFF2-40B4-BE49-F238E27FC236}">
                    <a16:creationId xmlns:a16="http://schemas.microsoft.com/office/drawing/2014/main" id="{CBCE8EE8-48B7-42D4-A587-04847DA269C9}"/>
                  </a:ext>
                </a:extLst>
              </p:cNvPr>
              <p:cNvSpPr/>
              <p:nvPr/>
            </p:nvSpPr>
            <p:spPr>
              <a:xfrm>
                <a:off x="10248993" y="3117484"/>
                <a:ext cx="1731618" cy="813857"/>
              </a:xfrm>
              <a:prstGeom prst="rect">
                <a:avLst/>
              </a:prstGeom>
              <a:solidFill>
                <a:srgbClr val="00162E"/>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Analysis storage</a:t>
                </a:r>
              </a:p>
            </p:txBody>
          </p:sp>
          <p:pic>
            <p:nvPicPr>
              <p:cNvPr id="4116" name="Graphic 4115">
                <a:extLst>
                  <a:ext uri="{FF2B5EF4-FFF2-40B4-BE49-F238E27FC236}">
                    <a16:creationId xmlns:a16="http://schemas.microsoft.com/office/drawing/2014/main" id="{308DEB6A-9E71-453A-932B-454E0C0BE026}"/>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11437781" y="3286765"/>
                <a:ext cx="400808" cy="400808"/>
              </a:xfrm>
              <a:prstGeom prst="rect">
                <a:avLst/>
              </a:prstGeom>
            </p:spPr>
          </p:pic>
          <p:pic>
            <p:nvPicPr>
              <p:cNvPr id="4120" name="Picture 4119">
                <a:extLst>
                  <a:ext uri="{FF2B5EF4-FFF2-40B4-BE49-F238E27FC236}">
                    <a16:creationId xmlns:a16="http://schemas.microsoft.com/office/drawing/2014/main" id="{E606BA0F-E85D-475C-8114-3A99B259378B}"/>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10951303" y="3289731"/>
                <a:ext cx="374762" cy="374762"/>
              </a:xfrm>
              <a:prstGeom prst="rect">
                <a:avLst/>
              </a:prstGeom>
            </p:spPr>
          </p:pic>
          <p:pic>
            <p:nvPicPr>
              <p:cNvPr id="4121" name="Graphic 4120">
                <a:extLst>
                  <a:ext uri="{FF2B5EF4-FFF2-40B4-BE49-F238E27FC236}">
                    <a16:creationId xmlns:a16="http://schemas.microsoft.com/office/drawing/2014/main" id="{4A068DF1-C773-4F1F-8F74-C03D32CC2F2A}"/>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10421474" y="3293970"/>
                <a:ext cx="357348" cy="357346"/>
              </a:xfrm>
              <a:prstGeom prst="rect">
                <a:avLst/>
              </a:prstGeom>
            </p:spPr>
          </p:pic>
        </p:grpSp>
        <p:cxnSp>
          <p:nvCxnSpPr>
            <p:cNvPr id="154" name="Connector: Elbow 153">
              <a:extLst>
                <a:ext uri="{FF2B5EF4-FFF2-40B4-BE49-F238E27FC236}">
                  <a16:creationId xmlns:a16="http://schemas.microsoft.com/office/drawing/2014/main" id="{59B44914-7EFF-4E82-8D5E-CC69B7BB9F1F}"/>
                </a:ext>
              </a:extLst>
            </p:cNvPr>
            <p:cNvCxnSpPr>
              <a:stCxn id="38" idx="3"/>
              <a:endCxn id="57" idx="1"/>
            </p:cNvCxnSpPr>
            <p:nvPr/>
          </p:nvCxnSpPr>
          <p:spPr>
            <a:xfrm flipV="1">
              <a:off x="8832018" y="4102940"/>
              <a:ext cx="1193138" cy="910725"/>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68" name="Group 167">
            <a:extLst>
              <a:ext uri="{FF2B5EF4-FFF2-40B4-BE49-F238E27FC236}">
                <a16:creationId xmlns:a16="http://schemas.microsoft.com/office/drawing/2014/main" id="{D44601AB-D976-46AD-9181-7F820599BAC4}"/>
              </a:ext>
            </a:extLst>
          </p:cNvPr>
          <p:cNvGrpSpPr/>
          <p:nvPr/>
        </p:nvGrpSpPr>
        <p:grpSpPr>
          <a:xfrm>
            <a:off x="8832018" y="4606703"/>
            <a:ext cx="2924756" cy="813857"/>
            <a:chOff x="8832018" y="4606703"/>
            <a:chExt cx="2924756" cy="813857"/>
          </a:xfrm>
        </p:grpSpPr>
        <p:grpSp>
          <p:nvGrpSpPr>
            <p:cNvPr id="4126" name="Group 4125">
              <a:extLst>
                <a:ext uri="{FF2B5EF4-FFF2-40B4-BE49-F238E27FC236}">
                  <a16:creationId xmlns:a16="http://schemas.microsoft.com/office/drawing/2014/main" id="{FAED60F5-F3B5-4871-881C-E3FAE0DD381C}"/>
                </a:ext>
              </a:extLst>
            </p:cNvPr>
            <p:cNvGrpSpPr/>
            <p:nvPr/>
          </p:nvGrpSpPr>
          <p:grpSpPr>
            <a:xfrm>
              <a:off x="10025156" y="4606703"/>
              <a:ext cx="1731618" cy="813857"/>
              <a:chOff x="10272875" y="4024639"/>
              <a:chExt cx="1731618" cy="813857"/>
            </a:xfrm>
          </p:grpSpPr>
          <p:sp>
            <p:nvSpPr>
              <p:cNvPr id="180" name="Rectangle 179">
                <a:extLst>
                  <a:ext uri="{FF2B5EF4-FFF2-40B4-BE49-F238E27FC236}">
                    <a16:creationId xmlns:a16="http://schemas.microsoft.com/office/drawing/2014/main" id="{72FF6FEC-A0F5-46ED-9827-5C372959EBCB}"/>
                  </a:ext>
                </a:extLst>
              </p:cNvPr>
              <p:cNvSpPr/>
              <p:nvPr/>
            </p:nvSpPr>
            <p:spPr>
              <a:xfrm>
                <a:off x="10272875" y="4024639"/>
                <a:ext cx="1731618" cy="813857"/>
              </a:xfrm>
              <a:prstGeom prst="rect">
                <a:avLst/>
              </a:prstGeom>
              <a:solidFill>
                <a:srgbClr val="00162E"/>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Cold storage</a:t>
                </a:r>
              </a:p>
            </p:txBody>
          </p:sp>
          <p:pic>
            <p:nvPicPr>
              <p:cNvPr id="4115" name="Picture 4114">
                <a:extLst>
                  <a:ext uri="{FF2B5EF4-FFF2-40B4-BE49-F238E27FC236}">
                    <a16:creationId xmlns:a16="http://schemas.microsoft.com/office/drawing/2014/main" id="{A7EADE83-908C-4B8D-9B42-7E7B2C9D4C3A}"/>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10386045" y="4154076"/>
                <a:ext cx="419452" cy="419452"/>
              </a:xfrm>
              <a:prstGeom prst="rect">
                <a:avLst/>
              </a:prstGeom>
            </p:spPr>
          </p:pic>
        </p:grpSp>
        <p:cxnSp>
          <p:nvCxnSpPr>
            <p:cNvPr id="156" name="Connector: Elbow 155">
              <a:extLst>
                <a:ext uri="{FF2B5EF4-FFF2-40B4-BE49-F238E27FC236}">
                  <a16:creationId xmlns:a16="http://schemas.microsoft.com/office/drawing/2014/main" id="{428EC008-65D7-4370-8983-809745DC1047}"/>
                </a:ext>
              </a:extLst>
            </p:cNvPr>
            <p:cNvCxnSpPr>
              <a:stCxn id="38" idx="3"/>
              <a:endCxn id="180" idx="1"/>
            </p:cNvCxnSpPr>
            <p:nvPr/>
          </p:nvCxnSpPr>
          <p:spPr>
            <a:xfrm flipV="1">
              <a:off x="8832018" y="5013632"/>
              <a:ext cx="1193138" cy="33"/>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69" name="Group 168">
            <a:extLst>
              <a:ext uri="{FF2B5EF4-FFF2-40B4-BE49-F238E27FC236}">
                <a16:creationId xmlns:a16="http://schemas.microsoft.com/office/drawing/2014/main" id="{6227EE03-5511-4CFD-8F47-18AFAC9281C3}"/>
              </a:ext>
            </a:extLst>
          </p:cNvPr>
          <p:cNvGrpSpPr/>
          <p:nvPr/>
        </p:nvGrpSpPr>
        <p:grpSpPr>
          <a:xfrm>
            <a:off x="8832018" y="5013665"/>
            <a:ext cx="2924756" cy="1317587"/>
            <a:chOff x="8832018" y="5013665"/>
            <a:chExt cx="2924756" cy="1317587"/>
          </a:xfrm>
        </p:grpSpPr>
        <p:grpSp>
          <p:nvGrpSpPr>
            <p:cNvPr id="4125" name="Group 4124">
              <a:extLst>
                <a:ext uri="{FF2B5EF4-FFF2-40B4-BE49-F238E27FC236}">
                  <a16:creationId xmlns:a16="http://schemas.microsoft.com/office/drawing/2014/main" id="{66FD1CDE-0956-4C88-9C37-6A142A809ED8}"/>
                </a:ext>
              </a:extLst>
            </p:cNvPr>
            <p:cNvGrpSpPr/>
            <p:nvPr/>
          </p:nvGrpSpPr>
          <p:grpSpPr>
            <a:xfrm>
              <a:off x="10025156" y="5517395"/>
              <a:ext cx="1731618" cy="813857"/>
              <a:chOff x="10272875" y="4938868"/>
              <a:chExt cx="1731618" cy="813857"/>
            </a:xfrm>
          </p:grpSpPr>
          <p:sp>
            <p:nvSpPr>
              <p:cNvPr id="181" name="Rectangle 180">
                <a:extLst>
                  <a:ext uri="{FF2B5EF4-FFF2-40B4-BE49-F238E27FC236}">
                    <a16:creationId xmlns:a16="http://schemas.microsoft.com/office/drawing/2014/main" id="{E5F64285-E138-4649-BF90-7D913D615523}"/>
                  </a:ext>
                </a:extLst>
              </p:cNvPr>
              <p:cNvSpPr/>
              <p:nvPr/>
            </p:nvSpPr>
            <p:spPr>
              <a:xfrm>
                <a:off x="10272875" y="4938868"/>
                <a:ext cx="1731618" cy="813857"/>
              </a:xfrm>
              <a:prstGeom prst="rect">
                <a:avLst/>
              </a:prstGeom>
              <a:solidFill>
                <a:srgbClr val="00162E"/>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Application</a:t>
                </a:r>
              </a:p>
            </p:txBody>
          </p:sp>
          <p:pic>
            <p:nvPicPr>
              <p:cNvPr id="59" name="Picture 58">
                <a:extLst>
                  <a:ext uri="{FF2B5EF4-FFF2-40B4-BE49-F238E27FC236}">
                    <a16:creationId xmlns:a16="http://schemas.microsoft.com/office/drawing/2014/main" id="{70B4A89A-F89B-481D-8229-2F669AA4A467}"/>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10421474" y="5060587"/>
                <a:ext cx="389817" cy="389816"/>
              </a:xfrm>
              <a:prstGeom prst="rect">
                <a:avLst/>
              </a:prstGeom>
            </p:spPr>
          </p:pic>
          <p:pic>
            <p:nvPicPr>
              <p:cNvPr id="171" name="Picture 170">
                <a:extLst>
                  <a:ext uri="{FF2B5EF4-FFF2-40B4-BE49-F238E27FC236}">
                    <a16:creationId xmlns:a16="http://schemas.microsoft.com/office/drawing/2014/main" id="{B3C72A14-A9D5-4469-BB94-D7809CD7D79A}"/>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10951303" y="5060587"/>
                <a:ext cx="358481" cy="358481"/>
              </a:xfrm>
              <a:prstGeom prst="rect">
                <a:avLst/>
              </a:prstGeom>
            </p:spPr>
          </p:pic>
        </p:grpSp>
        <p:cxnSp>
          <p:nvCxnSpPr>
            <p:cNvPr id="158" name="Connector: Elbow 157">
              <a:extLst>
                <a:ext uri="{FF2B5EF4-FFF2-40B4-BE49-F238E27FC236}">
                  <a16:creationId xmlns:a16="http://schemas.microsoft.com/office/drawing/2014/main" id="{84B5477B-BDB9-40F0-9F5D-D8A694F981AB}"/>
                </a:ext>
              </a:extLst>
            </p:cNvPr>
            <p:cNvCxnSpPr>
              <a:stCxn id="38" idx="3"/>
              <a:endCxn id="181" idx="1"/>
            </p:cNvCxnSpPr>
            <p:nvPr/>
          </p:nvCxnSpPr>
          <p:spPr>
            <a:xfrm>
              <a:off x="8832018" y="5013665"/>
              <a:ext cx="1193138" cy="910659"/>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cxnSp>
        <p:nvCxnSpPr>
          <p:cNvPr id="160" name="Connector: Elbow 159">
            <a:extLst>
              <a:ext uri="{FF2B5EF4-FFF2-40B4-BE49-F238E27FC236}">
                <a16:creationId xmlns:a16="http://schemas.microsoft.com/office/drawing/2014/main" id="{B16EEA51-3690-452A-8DF8-E78E88507817}"/>
              </a:ext>
            </a:extLst>
          </p:cNvPr>
          <p:cNvCxnSpPr>
            <a:stCxn id="17" idx="2"/>
            <a:endCxn id="142" idx="1"/>
          </p:cNvCxnSpPr>
          <p:nvPr/>
        </p:nvCxnSpPr>
        <p:spPr>
          <a:xfrm rot="16200000" flipH="1">
            <a:off x="2290308" y="4437815"/>
            <a:ext cx="859193" cy="1553795"/>
          </a:xfrm>
          <a:prstGeom prst="bentConnector2">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7" name="Callout: Line with Accent Bar 206">
            <a:extLst>
              <a:ext uri="{FF2B5EF4-FFF2-40B4-BE49-F238E27FC236}">
                <a16:creationId xmlns:a16="http://schemas.microsoft.com/office/drawing/2014/main" id="{F55366E5-38D6-4DD4-9BD8-995EAE61E2AD}"/>
              </a:ext>
            </a:extLst>
          </p:cNvPr>
          <p:cNvSpPr/>
          <p:nvPr/>
        </p:nvSpPr>
        <p:spPr bwMode="auto">
          <a:xfrm>
            <a:off x="75577" y="5702074"/>
            <a:ext cx="1612899" cy="488905"/>
          </a:xfrm>
          <a:prstGeom prst="accentCallout1">
            <a:avLst>
              <a:gd name="adj1" fmla="val 49922"/>
              <a:gd name="adj2" fmla="val 102788"/>
              <a:gd name="adj3" fmla="val -12349"/>
              <a:gd name="adj4" fmla="val 129856"/>
            </a:avLst>
          </a:prstGeom>
          <a:noFill/>
          <a:ln>
            <a:solidFill>
              <a:srgbClr val="FFFF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r" defTabSz="932472" fontAlgn="base">
              <a:spcBef>
                <a:spcPct val="0"/>
              </a:spcBef>
              <a:spcAft>
                <a:spcPct val="0"/>
              </a:spcAft>
            </a:pPr>
            <a:r>
              <a:rPr lang="en-US" sz="2000" dirty="0">
                <a:solidFill>
                  <a:schemeClr val="tx1"/>
                </a:solidFill>
                <a:latin typeface="+mj-lt"/>
              </a:rPr>
              <a:t> {</a:t>
            </a:r>
            <a:r>
              <a:rPr lang="en-US" sz="2000" dirty="0" err="1">
                <a:solidFill>
                  <a:schemeClr val="tx1"/>
                </a:solidFill>
                <a:latin typeface="+mj-lt"/>
              </a:rPr>
              <a:t>modbus</a:t>
            </a:r>
            <a:r>
              <a:rPr lang="en-US" sz="2000" dirty="0">
                <a:solidFill>
                  <a:schemeClr val="tx1"/>
                </a:solidFill>
                <a:latin typeface="+mj-lt"/>
              </a:rPr>
              <a:t>}  </a:t>
            </a:r>
          </a:p>
        </p:txBody>
      </p:sp>
      <p:sp>
        <p:nvSpPr>
          <p:cNvPr id="208" name="Callout: Line with Accent Bar 207">
            <a:extLst>
              <a:ext uri="{FF2B5EF4-FFF2-40B4-BE49-F238E27FC236}">
                <a16:creationId xmlns:a16="http://schemas.microsoft.com/office/drawing/2014/main" id="{5237B3AD-D891-4061-B459-36AAA75713C8}"/>
              </a:ext>
            </a:extLst>
          </p:cNvPr>
          <p:cNvSpPr/>
          <p:nvPr/>
        </p:nvSpPr>
        <p:spPr bwMode="auto">
          <a:xfrm>
            <a:off x="9601045" y="3830898"/>
            <a:ext cx="1612899" cy="784877"/>
          </a:xfrm>
          <a:prstGeom prst="accentCallout1">
            <a:avLst>
              <a:gd name="adj1" fmla="val 54880"/>
              <a:gd name="adj2" fmla="val -5480"/>
              <a:gd name="adj3" fmla="val 99299"/>
              <a:gd name="adj4" fmla="val -39830"/>
            </a:avLst>
          </a:prstGeom>
          <a:noFill/>
          <a:ln>
            <a:solidFill>
              <a:srgbClr val="FFFF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defTabSz="932472" fontAlgn="base">
              <a:spcBef>
                <a:spcPct val="0"/>
              </a:spcBef>
              <a:spcAft>
                <a:spcPct val="0"/>
              </a:spcAft>
            </a:pPr>
            <a:r>
              <a:rPr lang="en-US" sz="1600" dirty="0">
                <a:solidFill>
                  <a:schemeClr val="tx1"/>
                </a:solidFill>
                <a:latin typeface="+mj-lt"/>
              </a:rPr>
              <a:t>- decrypt</a:t>
            </a:r>
          </a:p>
          <a:p>
            <a:pPr defTabSz="932472" fontAlgn="base">
              <a:spcBef>
                <a:spcPct val="0"/>
              </a:spcBef>
              <a:spcAft>
                <a:spcPct val="0"/>
              </a:spcAft>
            </a:pPr>
            <a:r>
              <a:rPr lang="en-US" sz="1600" dirty="0">
                <a:solidFill>
                  <a:schemeClr val="tx1"/>
                </a:solidFill>
                <a:latin typeface="+mj-lt"/>
              </a:rPr>
              <a:t>- de-batch</a:t>
            </a:r>
          </a:p>
          <a:p>
            <a:pPr defTabSz="932472" fontAlgn="base">
              <a:spcBef>
                <a:spcPct val="0"/>
              </a:spcBef>
              <a:spcAft>
                <a:spcPct val="0"/>
              </a:spcAft>
            </a:pPr>
            <a:r>
              <a:rPr lang="en-US" sz="1600" dirty="0">
                <a:solidFill>
                  <a:schemeClr val="tx1"/>
                </a:solidFill>
                <a:latin typeface="+mj-lt"/>
              </a:rPr>
              <a:t>- ingest</a:t>
            </a:r>
            <a:r>
              <a:rPr lang="en-US" sz="2000" dirty="0">
                <a:solidFill>
                  <a:schemeClr val="tx1"/>
                </a:solidFill>
                <a:latin typeface="+mj-lt"/>
              </a:rPr>
              <a:t>  </a:t>
            </a:r>
          </a:p>
        </p:txBody>
      </p:sp>
      <p:sp>
        <p:nvSpPr>
          <p:cNvPr id="209" name="Rectangle 208">
            <a:extLst>
              <a:ext uri="{FF2B5EF4-FFF2-40B4-BE49-F238E27FC236}">
                <a16:creationId xmlns:a16="http://schemas.microsoft.com/office/drawing/2014/main" id="{F469C218-1145-4A9C-A421-7021FE8AB702}"/>
              </a:ext>
            </a:extLst>
          </p:cNvPr>
          <p:cNvSpPr/>
          <p:nvPr/>
        </p:nvSpPr>
        <p:spPr bwMode="auto">
          <a:xfrm>
            <a:off x="897321" y="354277"/>
            <a:ext cx="1281825"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spTree>
    <p:extLst>
      <p:ext uri="{BB962C8B-B14F-4D97-AF65-F5344CB8AC3E}">
        <p14:creationId xmlns:p14="http://schemas.microsoft.com/office/powerpoint/2010/main" val="11681588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3"/>
                                        </p:tgtEl>
                                        <p:attrNameLst>
                                          <p:attrName>style.visibility</p:attrName>
                                        </p:attrNameLst>
                                      </p:cBhvr>
                                      <p:to>
                                        <p:strVal val="visible"/>
                                      </p:to>
                                    </p:set>
                                    <p:animEffect transition="in" filter="fade">
                                      <p:cBhvr>
                                        <p:cTn id="7" dur="500"/>
                                        <p:tgtEl>
                                          <p:spTgt spid="16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72"/>
                                        </p:tgtEl>
                                        <p:attrNameLst>
                                          <p:attrName>style.visibility</p:attrName>
                                        </p:attrNameLst>
                                      </p:cBhvr>
                                      <p:to>
                                        <p:strVal val="visible"/>
                                      </p:to>
                                    </p:set>
                                    <p:animEffect transition="in" filter="fade">
                                      <p:cBhvr>
                                        <p:cTn id="12" dur="500"/>
                                        <p:tgtEl>
                                          <p:spTgt spid="17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65"/>
                                        </p:tgtEl>
                                        <p:attrNameLst>
                                          <p:attrName>style.visibility</p:attrName>
                                        </p:attrNameLst>
                                      </p:cBhvr>
                                      <p:to>
                                        <p:strVal val="visible"/>
                                      </p:to>
                                    </p:set>
                                    <p:animEffect transition="in" filter="fade">
                                      <p:cBhvr>
                                        <p:cTn id="17" dur="500"/>
                                        <p:tgtEl>
                                          <p:spTgt spid="16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60"/>
                                        </p:tgtEl>
                                        <p:attrNameLst>
                                          <p:attrName>style.visibility</p:attrName>
                                        </p:attrNameLst>
                                      </p:cBhvr>
                                      <p:to>
                                        <p:strVal val="visible"/>
                                      </p:to>
                                    </p:set>
                                    <p:animEffect transition="in" filter="fade">
                                      <p:cBhvr>
                                        <p:cTn id="22" dur="500"/>
                                        <p:tgtEl>
                                          <p:spTgt spid="160"/>
                                        </p:tgtEl>
                                      </p:cBhvr>
                                    </p:animEffect>
                                  </p:childTnLst>
                                </p:cTn>
                              </p:par>
                            </p:childTnLst>
                          </p:cTn>
                        </p:par>
                        <p:par>
                          <p:cTn id="23" fill="hold">
                            <p:stCondLst>
                              <p:cond delay="500"/>
                            </p:stCondLst>
                            <p:childTnLst>
                              <p:par>
                                <p:cTn id="24" presetID="10" presetClass="entr" presetSubtype="0" fill="hold" grpId="0" nodeType="afterEffect">
                                  <p:stCondLst>
                                    <p:cond delay="0"/>
                                  </p:stCondLst>
                                  <p:childTnLst>
                                    <p:set>
                                      <p:cBhvr>
                                        <p:cTn id="25" dur="1" fill="hold">
                                          <p:stCondLst>
                                            <p:cond delay="0"/>
                                          </p:stCondLst>
                                        </p:cTn>
                                        <p:tgtEl>
                                          <p:spTgt spid="207"/>
                                        </p:tgtEl>
                                        <p:attrNameLst>
                                          <p:attrName>style.visibility</p:attrName>
                                        </p:attrNameLst>
                                      </p:cBhvr>
                                      <p:to>
                                        <p:strVal val="visible"/>
                                      </p:to>
                                    </p:set>
                                    <p:animEffect transition="in" filter="fade">
                                      <p:cBhvr>
                                        <p:cTn id="26" dur="500"/>
                                        <p:tgtEl>
                                          <p:spTgt spid="207"/>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67"/>
                                        </p:tgtEl>
                                        <p:attrNameLst>
                                          <p:attrName>style.visibility</p:attrName>
                                        </p:attrNameLst>
                                      </p:cBhvr>
                                      <p:to>
                                        <p:strVal val="visible"/>
                                      </p:to>
                                    </p:set>
                                    <p:animEffect transition="in" filter="fade">
                                      <p:cBhvr>
                                        <p:cTn id="31" dur="500"/>
                                        <p:tgtEl>
                                          <p:spTgt spid="167"/>
                                        </p:tgtEl>
                                      </p:cBhvr>
                                    </p:animEffect>
                                  </p:childTnLst>
                                </p:cTn>
                              </p:par>
                            </p:childTnLst>
                          </p:cTn>
                        </p:par>
                        <p:par>
                          <p:cTn id="32" fill="hold">
                            <p:stCondLst>
                              <p:cond delay="500"/>
                            </p:stCondLst>
                            <p:childTnLst>
                              <p:par>
                                <p:cTn id="33" presetID="10" presetClass="entr" presetSubtype="0" fill="hold" grpId="0" nodeType="afterEffect">
                                  <p:stCondLst>
                                    <p:cond delay="0"/>
                                  </p:stCondLst>
                                  <p:childTnLst>
                                    <p:set>
                                      <p:cBhvr>
                                        <p:cTn id="34" dur="1" fill="hold">
                                          <p:stCondLst>
                                            <p:cond delay="0"/>
                                          </p:stCondLst>
                                        </p:cTn>
                                        <p:tgtEl>
                                          <p:spTgt spid="208"/>
                                        </p:tgtEl>
                                        <p:attrNameLst>
                                          <p:attrName>style.visibility</p:attrName>
                                        </p:attrNameLst>
                                      </p:cBhvr>
                                      <p:to>
                                        <p:strVal val="visible"/>
                                      </p:to>
                                    </p:set>
                                    <p:animEffect transition="in" filter="fade">
                                      <p:cBhvr>
                                        <p:cTn id="35" dur="500"/>
                                        <p:tgtEl>
                                          <p:spTgt spid="208"/>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xit" presetSubtype="0" fill="hold" grpId="1" nodeType="clickEffect">
                                  <p:stCondLst>
                                    <p:cond delay="0"/>
                                  </p:stCondLst>
                                  <p:childTnLst>
                                    <p:animEffect transition="out" filter="fade">
                                      <p:cBhvr>
                                        <p:cTn id="39" dur="500"/>
                                        <p:tgtEl>
                                          <p:spTgt spid="208"/>
                                        </p:tgtEl>
                                      </p:cBhvr>
                                    </p:animEffect>
                                    <p:set>
                                      <p:cBhvr>
                                        <p:cTn id="40" dur="1" fill="hold">
                                          <p:stCondLst>
                                            <p:cond delay="499"/>
                                          </p:stCondLst>
                                        </p:cTn>
                                        <p:tgtEl>
                                          <p:spTgt spid="208"/>
                                        </p:tgtEl>
                                        <p:attrNameLst>
                                          <p:attrName>style.visibility</p:attrName>
                                        </p:attrNameLst>
                                      </p:cBhvr>
                                      <p:to>
                                        <p:strVal val="hidden"/>
                                      </p:to>
                                    </p:se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168"/>
                                        </p:tgtEl>
                                        <p:attrNameLst>
                                          <p:attrName>style.visibility</p:attrName>
                                        </p:attrNameLst>
                                      </p:cBhvr>
                                      <p:to>
                                        <p:strVal val="visible"/>
                                      </p:to>
                                    </p:set>
                                    <p:animEffect transition="in" filter="fade">
                                      <p:cBhvr>
                                        <p:cTn id="45" dur="500"/>
                                        <p:tgtEl>
                                          <p:spTgt spid="168"/>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169"/>
                                        </p:tgtEl>
                                        <p:attrNameLst>
                                          <p:attrName>style.visibility</p:attrName>
                                        </p:attrNameLst>
                                      </p:cBhvr>
                                      <p:to>
                                        <p:strVal val="visible"/>
                                      </p:to>
                                    </p:set>
                                    <p:animEffect transition="in" filter="fade">
                                      <p:cBhvr>
                                        <p:cTn id="50" dur="500"/>
                                        <p:tgtEl>
                                          <p:spTgt spid="169"/>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170"/>
                                        </p:tgtEl>
                                        <p:attrNameLst>
                                          <p:attrName>style.visibility</p:attrName>
                                        </p:attrNameLst>
                                      </p:cBhvr>
                                      <p:to>
                                        <p:strVal val="visible"/>
                                      </p:to>
                                    </p:set>
                                    <p:animEffect transition="in" filter="fade">
                                      <p:cBhvr>
                                        <p:cTn id="55" dur="500"/>
                                        <p:tgtEl>
                                          <p:spTgt spid="1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7" grpId="0" animBg="1"/>
      <p:bldP spid="208" grpId="0" animBg="1"/>
      <p:bldP spid="208" grpId="1" animBg="1"/>
    </p:bldLst>
  </p:timing>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emf"/></Relationships>
</file>

<file path=ppt/theme/_rels/theme10.xml.rels><?xml version="1.0" encoding="UTF-8" standalone="yes"?>
<Relationships xmlns="http://schemas.openxmlformats.org/package/2006/relationships"><Relationship Id="rId1" Type="http://schemas.openxmlformats.org/officeDocument/2006/relationships/image" Target="../media/image1.emf"/></Relationships>
</file>

<file path=ppt/theme/_rels/theme3.xml.rels><?xml version="1.0" encoding="UTF-8" standalone="yes"?>
<Relationships xmlns="http://schemas.openxmlformats.org/package/2006/relationships"><Relationship Id="rId1" Type="http://schemas.openxmlformats.org/officeDocument/2006/relationships/image" Target="../media/image1.emf"/></Relationships>
</file>

<file path=ppt/theme/theme1.xml><?xml version="1.0" encoding="utf-8"?>
<a:theme xmlns:a="http://schemas.openxmlformats.org/drawingml/2006/main" name="1_Template 16/9 Actemium">
  <a:themeElements>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fontScheme name="Actemium">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180975" indent="-180975">
          <a:buFontTx/>
          <a:buBlip>
            <a:blip xmlns:r="http://schemas.openxmlformats.org/officeDocument/2006/relationships" r:embed="rId1"/>
          </a:buBlip>
          <a:defRPr sz="1200" dirty="0" smtClean="0"/>
        </a:defPPr>
      </a:lstStyle>
    </a:txDef>
  </a:objectDefaults>
  <a:extraClrSchemeLst/>
</a:theme>
</file>

<file path=ppt/theme/theme10.xml><?xml version="1.0" encoding="utf-8"?>
<a:theme xmlns:a="http://schemas.openxmlformats.org/drawingml/2006/main" name="3_Template 16/9 Actemium">
  <a:themeElements>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fontScheme name="Actemium">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180975" indent="-180975">
          <a:buFontTx/>
          <a:buBlip>
            <a:blip xmlns:r="http://schemas.openxmlformats.org/officeDocument/2006/relationships" r:embed="rId1"/>
          </a:buBlip>
          <a:defRPr sz="1200" dirty="0" smtClean="0"/>
        </a:defPPr>
      </a:lstStyle>
    </a:txDef>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ambria-Calibri">
      <a:majorFont>
        <a:latin typeface="Cambria" panose="02040503050406030204"/>
        <a:ea typeface=""/>
        <a:cs typeface=""/>
        <a:font script="Jpan" typeface="ＭＳ Ｐゴシック"/>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xians">
  <a:themeElements>
    <a:clrScheme name="axians">
      <a:dk1>
        <a:srgbClr val="005EB8"/>
      </a:dk1>
      <a:lt1>
        <a:srgbClr val="FFFFFF"/>
      </a:lt1>
      <a:dk2>
        <a:srgbClr val="672483"/>
      </a:dk2>
      <a:lt2>
        <a:srgbClr val="87888A"/>
      </a:lt2>
      <a:accent1>
        <a:srgbClr val="A20067"/>
      </a:accent1>
      <a:accent2>
        <a:srgbClr val="00B1EB"/>
      </a:accent2>
      <a:accent3>
        <a:srgbClr val="E50051"/>
      </a:accent3>
      <a:accent4>
        <a:srgbClr val="EC6726"/>
      </a:accent4>
      <a:accent5>
        <a:srgbClr val="E6007E"/>
      </a:accent5>
      <a:accent6>
        <a:srgbClr val="95C11F"/>
      </a:accent6>
      <a:hlink>
        <a:srgbClr val="97663D"/>
      </a:hlink>
      <a:folHlink>
        <a:srgbClr val="FFCC0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alpha val="60000"/>
          </a:schemeClr>
        </a:solidFill>
        <a:ln w="12700" cap="flat" cmpd="sng">
          <a:noFill/>
          <a:prstDash val="solid"/>
          <a:round/>
          <a:headEnd/>
          <a:tailEnd/>
        </a:ln>
        <a:effectLst/>
      </a:spPr>
      <a:bodyPr vert="horz" wrap="square" lIns="91440" tIns="45720" rIns="91440" bIns="45720" numCol="1" anchor="ctr" anchorCtr="0" compatLnSpc="1">
        <a:prstTxWarp prst="textNoShape">
          <a:avLst/>
        </a:prstTxWarp>
      </a:bodyPr>
      <a:lstStyle>
        <a:defPPr>
          <a:defRPr dirty="0"/>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xians_Powerpoint_16_9_Arial" id="{7C69E39E-CBB0-4589-AF3A-D9ADC59E4163}" vid="{46263554-7A8D-478B-BAFB-853BE879A579}"/>
    </a:ext>
  </a:extLst>
</a:theme>
</file>

<file path=ppt/theme/theme3.xml><?xml version="1.0" encoding="utf-8"?>
<a:theme xmlns:a="http://schemas.openxmlformats.org/drawingml/2006/main" name="2_Template 16/9 Actemium">
  <a:themeElements>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fontScheme name="Actemium">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180975" indent="-180975">
          <a:buFontTx/>
          <a:buBlip>
            <a:blip xmlns:r="http://schemas.openxmlformats.org/officeDocument/2006/relationships" r:embed="rId1"/>
          </a:buBlip>
          <a:defRPr sz="1200" dirty="0" smtClean="0"/>
        </a:defPPr>
      </a:lstStyle>
    </a:txDef>
  </a:objectDefaults>
  <a:extraClrSchemeLst/>
</a:theme>
</file>

<file path=ppt/theme/theme4.xml><?xml version="1.0" encoding="utf-8"?>
<a:theme xmlns:a="http://schemas.openxmlformats.org/drawingml/2006/main" name="8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5.xml><?xml version="1.0" encoding="utf-8"?>
<a:theme xmlns:a="http://schemas.openxmlformats.org/drawingml/2006/main" name="5_Anpassad formgivning">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npassad formgivning">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9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8.xml><?xml version="1.0" encoding="utf-8"?>
<a:theme xmlns:a="http://schemas.openxmlformats.org/drawingml/2006/main" name="1_Axians">
  <a:themeElements>
    <a:clrScheme name="axians">
      <a:dk1>
        <a:srgbClr val="005EB8"/>
      </a:dk1>
      <a:lt1>
        <a:srgbClr val="FFFFFF"/>
      </a:lt1>
      <a:dk2>
        <a:srgbClr val="672483"/>
      </a:dk2>
      <a:lt2>
        <a:srgbClr val="87888A"/>
      </a:lt2>
      <a:accent1>
        <a:srgbClr val="A20067"/>
      </a:accent1>
      <a:accent2>
        <a:srgbClr val="00B1EB"/>
      </a:accent2>
      <a:accent3>
        <a:srgbClr val="E50051"/>
      </a:accent3>
      <a:accent4>
        <a:srgbClr val="EC6726"/>
      </a:accent4>
      <a:accent5>
        <a:srgbClr val="E6007E"/>
      </a:accent5>
      <a:accent6>
        <a:srgbClr val="95C11F"/>
      </a:accent6>
      <a:hlink>
        <a:srgbClr val="97663D"/>
      </a:hlink>
      <a:folHlink>
        <a:srgbClr val="FFCC0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alpha val="60000"/>
          </a:schemeClr>
        </a:solidFill>
        <a:ln w="12700" cap="flat" cmpd="sng">
          <a:noFill/>
          <a:prstDash val="solid"/>
          <a:round/>
          <a:headEnd/>
          <a:tailEnd/>
        </a:ln>
        <a:effectLst/>
      </a:spPr>
      <a:bodyPr vert="horz" wrap="square" lIns="91440" tIns="45720" rIns="91440" bIns="45720" numCol="1" anchor="ctr" anchorCtr="0" compatLnSpc="1">
        <a:prstTxWarp prst="textNoShape">
          <a:avLst/>
        </a:prstTxWarp>
      </a:bodyPr>
      <a:lstStyle>
        <a:defPPr>
          <a:defRPr dirty="0"/>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xians_Powerpoint_16_9_Arial" id="{7C69E39E-CBB0-4589-AF3A-D9ADC59E4163}" vid="{46263554-7A8D-478B-BAFB-853BE879A579}"/>
    </a:ext>
  </a:extLst>
</a:theme>
</file>

<file path=ppt/theme/theme9.xml><?xml version="1.0" encoding="utf-8"?>
<a:theme xmlns:a="http://schemas.openxmlformats.org/drawingml/2006/main" name="10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Override1.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10.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2.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3.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4.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5.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6.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7.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8.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9.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otalTime>50744</TotalTime>
  <Words>2025</Words>
  <Application>Microsoft Office PowerPoint</Application>
  <PresentationFormat>Widescreen</PresentationFormat>
  <Paragraphs>512</Paragraphs>
  <Slides>56</Slides>
  <Notes>9</Notes>
  <HiddenSlides>1</HiddenSlides>
  <MMClips>0</MMClips>
  <ScaleCrop>false</ScaleCrop>
  <HeadingPairs>
    <vt:vector size="8" baseType="variant">
      <vt:variant>
        <vt:lpstr>Fonts Used</vt:lpstr>
      </vt:variant>
      <vt:variant>
        <vt:i4>11</vt:i4>
      </vt:variant>
      <vt:variant>
        <vt:lpstr>Theme</vt:lpstr>
      </vt:variant>
      <vt:variant>
        <vt:i4>11</vt:i4>
      </vt:variant>
      <vt:variant>
        <vt:lpstr>Embedded OLE Servers</vt:lpstr>
      </vt:variant>
      <vt:variant>
        <vt:i4>1</vt:i4>
      </vt:variant>
      <vt:variant>
        <vt:lpstr>Slide Titles</vt:lpstr>
      </vt:variant>
      <vt:variant>
        <vt:i4>56</vt:i4>
      </vt:variant>
    </vt:vector>
  </HeadingPairs>
  <TitlesOfParts>
    <vt:vector size="79" baseType="lpstr">
      <vt:lpstr>Arial</vt:lpstr>
      <vt:lpstr>Calibri</vt:lpstr>
      <vt:lpstr>Calibri Light</vt:lpstr>
      <vt:lpstr>Consolas</vt:lpstr>
      <vt:lpstr>Lucida Grande</vt:lpstr>
      <vt:lpstr>Segoe Semibold</vt:lpstr>
      <vt:lpstr>Segoe UI</vt:lpstr>
      <vt:lpstr>Segoe UI Light</vt:lpstr>
      <vt:lpstr>Segoe UI Semibold</vt:lpstr>
      <vt:lpstr>Webdings</vt:lpstr>
      <vt:lpstr>Wingdings</vt:lpstr>
      <vt:lpstr>1_Template 16/9 Actemium</vt:lpstr>
      <vt:lpstr>Axians</vt:lpstr>
      <vt:lpstr>2_Template 16/9 Actemium</vt:lpstr>
      <vt:lpstr>8_3-30680_Worldwide Partner Conference 2015 </vt:lpstr>
      <vt:lpstr>5_Anpassad formgivning</vt:lpstr>
      <vt:lpstr>Anpassad formgivning</vt:lpstr>
      <vt:lpstr>9_3-30680_Worldwide Partner Conference 2015 </vt:lpstr>
      <vt:lpstr>1_Axians</vt:lpstr>
      <vt:lpstr>10_3-30680_Worldwide Partner Conference 2015 </vt:lpstr>
      <vt:lpstr>3_Template 16/9 Actemium</vt:lpstr>
      <vt:lpstr>Office Theme</vt:lpstr>
      <vt:lpstr>think-cell Slide</vt:lpstr>
      <vt:lpstr>PowerPoint Presentation</vt:lpstr>
      <vt:lpstr>IoT Device Management - using microServiceBus.com</vt:lpstr>
      <vt:lpstr>PowerPoint Presentation</vt:lpstr>
      <vt:lpstr>PowerPoint Presentation</vt:lpstr>
      <vt:lpstr>PowerPoint Presentation</vt:lpstr>
      <vt:lpstr>PowerPoint Presentation</vt:lpstr>
      <vt:lpstr>PowerPoint Presentation</vt:lpstr>
      <vt:lpstr>DES Business Platform</vt:lpstr>
      <vt:lpstr>PowerPoint Presentation</vt:lpstr>
      <vt:lpstr>PowerPoint Presentation</vt:lpstr>
      <vt:lpstr>PowerPoint Presentation</vt:lpstr>
      <vt:lpstr>PowerPoint Presentation</vt:lpstr>
      <vt:lpstr>PowerPoint Presentation</vt:lpstr>
      <vt:lpstr>SANDVIK INTELLIGENT TUBE</vt:lpstr>
      <vt:lpstr>PowerPoint Presentation</vt:lpstr>
      <vt:lpstr>PowerPoint Presentation</vt:lpstr>
      <vt:lpstr>PowerPoint Presentation</vt:lpstr>
      <vt:lpstr>PowerPoint Presentation</vt:lpstr>
      <vt:lpstr>PowerPoint Presentation</vt:lpstr>
      <vt:lpstr>So how does microServiceBus.com fit in?</vt:lpstr>
      <vt:lpstr>microServiceBus.com - Device Management </vt:lpstr>
      <vt:lpstr>microServiceBus.com - Device Management </vt:lpstr>
      <vt:lpstr>microServiceBus.com - Device Management </vt:lpstr>
      <vt:lpstr>microServiceBus.com - Device Management </vt:lpstr>
      <vt:lpstr>microServiceBus.com - Device Management </vt:lpstr>
      <vt:lpstr>microServiceBus.com - Device Management </vt:lpstr>
      <vt:lpstr>microServiceBus.com - Device Management </vt:lpstr>
      <vt:lpstr>microServiceBus.com - Device Management </vt:lpstr>
      <vt:lpstr>Axians – IoT Operation</vt:lpstr>
      <vt:lpstr>Axians – IoT Operation</vt:lpstr>
      <vt:lpstr>Axians – IoT Operation</vt:lpstr>
      <vt:lpstr>IoT platforms</vt:lpstr>
      <vt:lpstr>General Device Architecture</vt:lpstr>
      <vt:lpstr>microServiceBus Architecture (node.js)</vt:lpstr>
      <vt:lpstr>Ubuntu Core/Docker Device Architecture</vt:lpstr>
      <vt:lpstr>Yocto Device Architecture</vt:lpstr>
      <vt:lpstr>GitHub Repos:</vt:lpstr>
      <vt:lpstr>microServiceBus.com and related projects are property of Vinci-Energies!</vt:lpstr>
      <vt:lpstr>PowerPoint Presentation</vt:lpstr>
      <vt:lpstr>microServiceBus.com DOCS  https://docs.microservicebus.com/</vt:lpstr>
      <vt:lpstr>Let’s begin  https://github.com/axians/microservicebus-tutorial</vt:lpstr>
      <vt:lpstr>(very) Short introduction to Node.js</vt:lpstr>
      <vt:lpstr>What is Node.js?</vt:lpstr>
      <vt:lpstr>What is Node.js?</vt:lpstr>
      <vt:lpstr>What is JavaScript?</vt:lpstr>
      <vt:lpstr>Node Package Manager (NPM)</vt:lpstr>
      <vt:lpstr>Demo!</vt:lpstr>
      <vt:lpstr>microServiceBus.com - Key concepts</vt:lpstr>
      <vt:lpstr>Demo!</vt:lpstr>
      <vt:lpstr>microServiceBus Architecture </vt:lpstr>
      <vt:lpstr>ServiceNow integration</vt:lpstr>
      <vt:lpstr>microServiceBus Architecture </vt:lpstr>
      <vt:lpstr>On-boarding</vt:lpstr>
      <vt:lpstr>Getting Started</vt:lpstr>
      <vt:lpstr>Lab time!</vt:lpstr>
      <vt:lpstr>Lab tim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xians IoT Nordic</dc:title>
  <dc:creator>Jan Hellgren</dc:creator>
  <cp:lastModifiedBy>Mikael Håkansson</cp:lastModifiedBy>
  <cp:revision>192</cp:revision>
  <dcterms:modified xsi:type="dcterms:W3CDTF">2019-05-01T23:02:11Z</dcterms:modified>
</cp:coreProperties>
</file>